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7"/>
  </p:notesMasterIdLst>
  <p:sldIdLst>
    <p:sldId id="409" r:id="rId2"/>
    <p:sldId id="337" r:id="rId3"/>
    <p:sldId id="381" r:id="rId4"/>
    <p:sldId id="408" r:id="rId5"/>
    <p:sldId id="407" r:id="rId6"/>
    <p:sldId id="393" r:id="rId7"/>
    <p:sldId id="368" r:id="rId8"/>
    <p:sldId id="350" r:id="rId9"/>
    <p:sldId id="382" r:id="rId10"/>
    <p:sldId id="380" r:id="rId11"/>
    <p:sldId id="404" r:id="rId12"/>
    <p:sldId id="405" r:id="rId13"/>
    <p:sldId id="406" r:id="rId14"/>
    <p:sldId id="367" r:id="rId15"/>
    <p:sldId id="383" r:id="rId16"/>
    <p:sldId id="347" r:id="rId17"/>
    <p:sldId id="394" r:id="rId18"/>
    <p:sldId id="396" r:id="rId19"/>
    <p:sldId id="398" r:id="rId20"/>
    <p:sldId id="384" r:id="rId21"/>
    <p:sldId id="399" r:id="rId22"/>
    <p:sldId id="400" r:id="rId23"/>
    <p:sldId id="402" r:id="rId24"/>
    <p:sldId id="397" r:id="rId25"/>
    <p:sldId id="403" r:id="rId26"/>
  </p:sldIdLst>
  <p:sldSz cx="12188825" cy="6858000"/>
  <p:notesSz cx="6858000" cy="9144000"/>
  <p:custDataLst>
    <p:tags r:id="rId28"/>
  </p:custDataLst>
  <p:defaultText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8565" algn="l" defTabSz="1218565" rtl="0" eaLnBrk="1" latinLnBrk="0" hangingPunct="1">
      <a:defRPr sz="2400" kern="1200">
        <a:solidFill>
          <a:schemeClr val="tx1"/>
        </a:solidFill>
        <a:latin typeface="+mn-lt"/>
        <a:ea typeface="+mn-ea"/>
        <a:cs typeface="+mn-cs"/>
      </a:defRPr>
    </a:lvl3pPr>
    <a:lvl4pPr marL="1828165" algn="l" defTabSz="1218565" rtl="0" eaLnBrk="1" latinLnBrk="0" hangingPunct="1">
      <a:defRPr sz="2400" kern="1200">
        <a:solidFill>
          <a:schemeClr val="tx1"/>
        </a:solidFill>
        <a:latin typeface="+mn-lt"/>
        <a:ea typeface="+mn-ea"/>
        <a:cs typeface="+mn-cs"/>
      </a:defRPr>
    </a:lvl4pPr>
    <a:lvl5pPr marL="2437765" algn="l" defTabSz="1218565" rtl="0" eaLnBrk="1" latinLnBrk="0" hangingPunct="1">
      <a:defRPr sz="2400" kern="1200">
        <a:solidFill>
          <a:schemeClr val="tx1"/>
        </a:solidFill>
        <a:latin typeface="+mn-lt"/>
        <a:ea typeface="+mn-ea"/>
        <a:cs typeface="+mn-cs"/>
      </a:defRPr>
    </a:lvl5pPr>
    <a:lvl6pPr marL="3046730" algn="l" defTabSz="1218565" rtl="0" eaLnBrk="1" latinLnBrk="0" hangingPunct="1">
      <a:defRPr sz="2400" kern="1200">
        <a:solidFill>
          <a:schemeClr val="tx1"/>
        </a:solidFill>
        <a:latin typeface="+mn-lt"/>
        <a:ea typeface="+mn-ea"/>
        <a:cs typeface="+mn-cs"/>
      </a:defRPr>
    </a:lvl6pPr>
    <a:lvl7pPr marL="3656330" algn="l" defTabSz="1218565" rtl="0" eaLnBrk="1" latinLnBrk="0" hangingPunct="1">
      <a:defRPr sz="2400" kern="1200">
        <a:solidFill>
          <a:schemeClr val="tx1"/>
        </a:solidFill>
        <a:latin typeface="+mn-lt"/>
        <a:ea typeface="+mn-ea"/>
        <a:cs typeface="+mn-cs"/>
      </a:defRPr>
    </a:lvl7pPr>
    <a:lvl8pPr marL="4265930" algn="l" defTabSz="1218565" rtl="0" eaLnBrk="1" latinLnBrk="0" hangingPunct="1">
      <a:defRPr sz="2400" kern="1200">
        <a:solidFill>
          <a:schemeClr val="tx1"/>
        </a:solidFill>
        <a:latin typeface="+mn-lt"/>
        <a:ea typeface="+mn-ea"/>
        <a:cs typeface="+mn-cs"/>
      </a:defRPr>
    </a:lvl8pPr>
    <a:lvl9pPr marL="4875530" algn="l" defTabSz="121856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3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BD7D"/>
    <a:srgbClr val="82B864"/>
    <a:srgbClr val="EAF4EC"/>
    <a:srgbClr val="FBFFF7"/>
    <a:srgbClr val="FFFFFF"/>
    <a:srgbClr val="F7FFEF"/>
    <a:srgbClr val="E6E6E6"/>
    <a:srgbClr val="483517"/>
    <a:srgbClr val="E83B3A"/>
    <a:srgbClr val="5846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46" autoAdjust="0"/>
    <p:restoredTop sz="94660"/>
  </p:normalViewPr>
  <p:slideViewPr>
    <p:cSldViewPr>
      <p:cViewPr varScale="1">
        <p:scale>
          <a:sx n="92" d="100"/>
          <a:sy n="92" d="100"/>
        </p:scale>
        <p:origin x="306" y="84"/>
      </p:cViewPr>
      <p:guideLst>
        <p:guide orient="horz" pos="2161"/>
        <p:guide pos="3839"/>
      </p:guideLst>
    </p:cSldViewPr>
  </p:slideViewPr>
  <p:notesTextViewPr>
    <p:cViewPr>
      <p:scale>
        <a:sx n="100" d="100"/>
        <a:sy n="100" d="100"/>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7FFCF0-DD59-4612-9D71-417719DC0377}" type="datetimeFigureOut">
              <a:rPr lang="zh-CN" altLang="en-US" smtClean="0"/>
              <a:t>2023-01-10</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DAA1E2-0BCB-498F-B666-E5E40D25323B}"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1218565" rtl="0" eaLnBrk="1" latinLnBrk="0" hangingPunct="1">
      <a:defRPr sz="1600" kern="1200">
        <a:solidFill>
          <a:schemeClr val="tx1"/>
        </a:solidFill>
        <a:latin typeface="+mn-lt"/>
        <a:ea typeface="+mn-ea"/>
        <a:cs typeface="+mn-cs"/>
      </a:defRPr>
    </a:lvl1pPr>
    <a:lvl2pPr marL="609600" algn="l" defTabSz="1218565" rtl="0" eaLnBrk="1" latinLnBrk="0" hangingPunct="1">
      <a:defRPr sz="1600" kern="1200">
        <a:solidFill>
          <a:schemeClr val="tx1"/>
        </a:solidFill>
        <a:latin typeface="+mn-lt"/>
        <a:ea typeface="+mn-ea"/>
        <a:cs typeface="+mn-cs"/>
      </a:defRPr>
    </a:lvl2pPr>
    <a:lvl3pPr marL="1218565" algn="l" defTabSz="1218565" rtl="0" eaLnBrk="1" latinLnBrk="0" hangingPunct="1">
      <a:defRPr sz="1600" kern="1200">
        <a:solidFill>
          <a:schemeClr val="tx1"/>
        </a:solidFill>
        <a:latin typeface="+mn-lt"/>
        <a:ea typeface="+mn-ea"/>
        <a:cs typeface="+mn-cs"/>
      </a:defRPr>
    </a:lvl3pPr>
    <a:lvl4pPr marL="1828165" algn="l" defTabSz="1218565" rtl="0" eaLnBrk="1" latinLnBrk="0" hangingPunct="1">
      <a:defRPr sz="1600" kern="1200">
        <a:solidFill>
          <a:schemeClr val="tx1"/>
        </a:solidFill>
        <a:latin typeface="+mn-lt"/>
        <a:ea typeface="+mn-ea"/>
        <a:cs typeface="+mn-cs"/>
      </a:defRPr>
    </a:lvl4pPr>
    <a:lvl5pPr marL="2437765" algn="l" defTabSz="1218565" rtl="0" eaLnBrk="1" latinLnBrk="0" hangingPunct="1">
      <a:defRPr sz="1600" kern="1200">
        <a:solidFill>
          <a:schemeClr val="tx1"/>
        </a:solidFill>
        <a:latin typeface="+mn-lt"/>
        <a:ea typeface="+mn-ea"/>
        <a:cs typeface="+mn-cs"/>
      </a:defRPr>
    </a:lvl5pPr>
    <a:lvl6pPr marL="3046730" algn="l" defTabSz="1218565" rtl="0" eaLnBrk="1" latinLnBrk="0" hangingPunct="1">
      <a:defRPr sz="1600" kern="1200">
        <a:solidFill>
          <a:schemeClr val="tx1"/>
        </a:solidFill>
        <a:latin typeface="+mn-lt"/>
        <a:ea typeface="+mn-ea"/>
        <a:cs typeface="+mn-cs"/>
      </a:defRPr>
    </a:lvl6pPr>
    <a:lvl7pPr marL="3656330" algn="l" defTabSz="1218565" rtl="0" eaLnBrk="1" latinLnBrk="0" hangingPunct="1">
      <a:defRPr sz="1600" kern="1200">
        <a:solidFill>
          <a:schemeClr val="tx1"/>
        </a:solidFill>
        <a:latin typeface="+mn-lt"/>
        <a:ea typeface="+mn-ea"/>
        <a:cs typeface="+mn-cs"/>
      </a:defRPr>
    </a:lvl7pPr>
    <a:lvl8pPr marL="4265930" algn="l" defTabSz="1218565" rtl="0" eaLnBrk="1" latinLnBrk="0" hangingPunct="1">
      <a:defRPr sz="1600" kern="1200">
        <a:solidFill>
          <a:schemeClr val="tx1"/>
        </a:solidFill>
        <a:latin typeface="+mn-lt"/>
        <a:ea typeface="+mn-ea"/>
        <a:cs typeface="+mn-cs"/>
      </a:defRPr>
    </a:lvl8pPr>
    <a:lvl9pPr marL="4875530" algn="l" defTabSz="12185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77E94B9-1F08-48DF-B7B6-E879767F1CA5}"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2588" y="685800"/>
            <a:ext cx="6092825" cy="3429000"/>
          </a:xfrm>
        </p:spPr>
      </p:sp>
      <p:sp>
        <p:nvSpPr>
          <p:cNvPr id="3" name="备注占位符 2"/>
          <p:cNvSpPr>
            <a:spLocks noGrp="1"/>
          </p:cNvSpPr>
          <p:nvPr>
            <p:ph type="body" idx="1"/>
          </p:nvPr>
        </p:nvSpPr>
        <p:spPr>
          <a:xfrm>
            <a:off x="685800" y="4343400"/>
            <a:ext cx="5486400" cy="4114800"/>
          </a:xfrm>
          <a:prstGeom prst="rect">
            <a:avLst/>
          </a:prstGeom>
        </p:spPr>
        <p:txBody>
          <a:bodyPr/>
          <a:lstStyle/>
          <a:p>
            <a:endParaRPr lang="zh-CN" altLang="en-US"/>
          </a:p>
        </p:txBody>
      </p:sp>
      <p:sp>
        <p:nvSpPr>
          <p:cNvPr id="4" name="灯片编号占位符 3"/>
          <p:cNvSpPr>
            <a:spLocks noGrp="1"/>
          </p:cNvSpPr>
          <p:nvPr>
            <p:ph type="sldNum" sz="quarter" idx="10"/>
          </p:nvPr>
        </p:nvSpPr>
        <p:spPr/>
        <p:txBody>
          <a:bodyPr/>
          <a:lstStyle/>
          <a:p>
            <a:fld id="{5711C0B8-ACC3-4D91-8B38-72ED5A969CBF}" type="slidenum">
              <a:rPr lang="zh-CN" altLang="en-US" smtClean="0"/>
              <a:t>16</a:t>
            </a:fld>
            <a:endParaRPr lang="en-US" sz="1200">
              <a:latin typeface="Arial" panose="020B0604020202020204" pitchFamily="34" charset="0"/>
              <a:ea typeface="宋体" panose="02010600030101010101" pitchFamily="2" charset="-122"/>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t>18</a:t>
            </a:fld>
            <a:endParaRPr lang="zh-CN" alt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26B02EC-97C0-4E19-AA45-E904FCC1D11E}" type="slidenum">
              <a:rPr lang="en-GB" smtClean="0"/>
              <a:t>21</a:t>
            </a:fld>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25</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4D398E3-16CD-4F8A-A268-FE366D8E7381}"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1143000"/>
            <a:ext cx="5483225"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74D1495A-DD81-44F4-9F54-1F39867BF2D9}" type="slidenum">
              <a:rPr lang="en-US" smtClean="0"/>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0DAA1E2-0BCB-498F-B666-E5E40D25323B}"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5" name="图片 14"/>
          <p:cNvPicPr>
            <a:picLocks noChangeAspect="1"/>
          </p:cNvPicPr>
          <p:nvPr userDrawn="1"/>
        </p:nvPicPr>
        <p:blipFill rotWithShape="1">
          <a:blip r:embed="rId3">
            <a:extLst>
              <a:ext uri="{28A0092B-C50C-407E-A947-70E740481C1C}">
                <a14:useLocalDpi xmlns:a14="http://schemas.microsoft.com/office/drawing/2010/main" val="0"/>
              </a:ext>
            </a:extLst>
          </a:blip>
          <a:srcRect t="5387" b="20876"/>
          <a:stretch>
            <a:fillRect/>
          </a:stretch>
        </p:blipFill>
        <p:spPr>
          <a:xfrm>
            <a:off x="0" y="3520440"/>
            <a:ext cx="12192000" cy="3337560"/>
          </a:xfrm>
          <a:prstGeom prst="rect">
            <a:avLst/>
          </a:prstGeom>
        </p:spPr>
      </p:pic>
      <p:pic>
        <p:nvPicPr>
          <p:cNvPr id="16" name="图片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2419108"/>
            <a:ext cx="5885077" cy="4438891"/>
          </a:xfrm>
          <a:prstGeom prst="rect">
            <a:avLst/>
          </a:prstGeom>
        </p:spPr>
      </p:pic>
      <p:pic>
        <p:nvPicPr>
          <p:cNvPr id="17" name="图片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42807" y="670559"/>
            <a:ext cx="2949193" cy="6187440"/>
          </a:xfrm>
          <a:prstGeom prst="rect">
            <a:avLst/>
          </a:prstGeom>
        </p:spPr>
      </p:pic>
      <p:pic>
        <p:nvPicPr>
          <p:cNvPr id="18" name="图片 1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9" name="图片 1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1"/>
            <a:ext cx="3403714" cy="2124634"/>
          </a:xfrm>
          <a:prstGeom prst="rect">
            <a:avLst/>
          </a:prstGeom>
        </p:spPr>
      </p:pic>
      <p:pic>
        <p:nvPicPr>
          <p:cNvPr id="20" name="图片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296111" y="836707"/>
            <a:ext cx="5562111" cy="2755154"/>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000"/>
                                        <p:tgtEl>
                                          <p:spTgt spid="16"/>
                                        </p:tgtEl>
                                      </p:cBhvr>
                                    </p:animEffect>
                                    <p:anim calcmode="lin" valueType="num">
                                      <p:cBhvr>
                                        <p:cTn id="14" dur="1000" fill="hold"/>
                                        <p:tgtEl>
                                          <p:spTgt spid="16"/>
                                        </p:tgtEl>
                                        <p:attrNameLst>
                                          <p:attrName>ppt_x</p:attrName>
                                        </p:attrNameLst>
                                      </p:cBhvr>
                                      <p:tavLst>
                                        <p:tav tm="0">
                                          <p:val>
                                            <p:strVal val="#ppt_x"/>
                                          </p:val>
                                        </p:tav>
                                        <p:tav tm="100000">
                                          <p:val>
                                            <p:strVal val="#ppt_x"/>
                                          </p:val>
                                        </p:tav>
                                      </p:tavLst>
                                    </p:anim>
                                    <p:anim calcmode="lin" valueType="num">
                                      <p:cBhvr>
                                        <p:cTn id="15" dur="1000" fill="hold"/>
                                        <p:tgtEl>
                                          <p:spTgt spid="1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500"/>
                                        <p:tgtEl>
                                          <p:spTgt spid="17"/>
                                        </p:tgtEl>
                                      </p:cBhvr>
                                    </p:animEffect>
                                  </p:childTnLst>
                                </p:cTn>
                              </p:par>
                            </p:childTnLst>
                          </p:cTn>
                        </p:par>
                        <p:par>
                          <p:cTn id="20" fill="hold">
                            <p:stCondLst>
                              <p:cond delay="2500"/>
                            </p:stCondLst>
                            <p:childTnLst>
                              <p:par>
                                <p:cTn id="21" presetID="22" presetClass="entr" presetSubtype="1" fill="hold"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up)">
                                      <p:cBhvr>
                                        <p:cTn id="23" dur="500"/>
                                        <p:tgtEl>
                                          <p:spTgt spid="19"/>
                                        </p:tgtEl>
                                      </p:cBhvr>
                                    </p:animEffect>
                                  </p:childTnLst>
                                </p:cTn>
                              </p:par>
                              <p:par>
                                <p:cTn id="24" presetID="22" presetClass="entr" presetSubtype="4"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down)">
                                      <p:cBhvr>
                                        <p:cTn id="26" dur="500"/>
                                        <p:tgtEl>
                                          <p:spTgt spid="18"/>
                                        </p:tgtEl>
                                      </p:cBhvr>
                                    </p:animEffect>
                                  </p:childTnLst>
                                </p:cTn>
                              </p:par>
                            </p:childTnLst>
                          </p:cTn>
                        </p:par>
                        <p:par>
                          <p:cTn id="27" fill="hold">
                            <p:stCondLst>
                              <p:cond delay="3000"/>
                            </p:stCondLst>
                            <p:childTnLst>
                              <p:par>
                                <p:cTn id="28" presetID="53" presetClass="entr" presetSubtype="16"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 calcmode="lin" valueType="num">
                                      <p:cBhvr>
                                        <p:cTn id="30" dur="500" fill="hold"/>
                                        <p:tgtEl>
                                          <p:spTgt spid="20"/>
                                        </p:tgtEl>
                                        <p:attrNameLst>
                                          <p:attrName>ppt_w</p:attrName>
                                        </p:attrNameLst>
                                      </p:cBhvr>
                                      <p:tavLst>
                                        <p:tav tm="0">
                                          <p:val>
                                            <p:fltVal val="0"/>
                                          </p:val>
                                        </p:tav>
                                        <p:tav tm="100000">
                                          <p:val>
                                            <p:strVal val="#ppt_w"/>
                                          </p:val>
                                        </p:tav>
                                      </p:tavLst>
                                    </p:anim>
                                    <p:anim calcmode="lin" valueType="num">
                                      <p:cBhvr>
                                        <p:cTn id="31" dur="500" fill="hold"/>
                                        <p:tgtEl>
                                          <p:spTgt spid="20"/>
                                        </p:tgtEl>
                                        <p:attrNameLst>
                                          <p:attrName>ppt_h</p:attrName>
                                        </p:attrNameLst>
                                      </p:cBhvr>
                                      <p:tavLst>
                                        <p:tav tm="0">
                                          <p:val>
                                            <p:fltVal val="0"/>
                                          </p:val>
                                        </p:tav>
                                        <p:tav tm="100000">
                                          <p:val>
                                            <p:strVal val="#ppt_h"/>
                                          </p:val>
                                        </p:tav>
                                      </p:tavLst>
                                    </p:anim>
                                    <p:animEffect transition="in" filter="fade">
                                      <p:cBhvr>
                                        <p:cTn id="3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5_空白">
    <p:bg>
      <p:bgPr>
        <a:blipFill rotWithShape="1">
          <a:blip r:embed="rId2"/>
          <a:stretch>
            <a:fillRect/>
          </a:stretch>
        </a:blipFill>
        <a:effectLst/>
      </p:bgPr>
    </p:bg>
    <p:spTree>
      <p:nvGrpSpPr>
        <p:cNvPr id="1" name=""/>
        <p:cNvGrpSpPr/>
        <p:nvPr/>
      </p:nvGrpSpPr>
      <p:grpSpPr>
        <a:xfrm>
          <a:off x="0" y="0"/>
          <a:ext cx="0" cy="0"/>
          <a:chOff x="0" y="0"/>
          <a:chExt cx="0" cy="0"/>
        </a:xfrm>
      </p:grpSpPr>
    </p:spTree>
  </p:cSld>
  <p:clrMapOvr>
    <a:masterClrMapping/>
  </p:clrMapOvr>
  <p:transition spd="slow" advClick="0" advTm="3000">
    <p:push dir="u"/>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2CFBF030-126A-44E1-A291-CE0450786A5D}"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FD591CF7-6230-429B-A18C-78A12BF27C28}" type="slidenum">
              <a:rPr lang="zh-CN" altLang="en-US" smtClean="0"/>
              <a:t>‹#›</a:t>
            </a:fld>
            <a:endParaRPr lang="zh-CN" altLang="en-US"/>
          </a:p>
        </p:txBody>
      </p:sp>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图片 5"/>
          <p:cNvPicPr>
            <a:picLocks noChangeAspect="1"/>
          </p:cNvPicPr>
          <p:nvPr userDrawn="1"/>
        </p:nvPicPr>
        <p:blipFill rotWithShape="1">
          <a:blip r:embed="rId3">
            <a:extLst>
              <a:ext uri="{28A0092B-C50C-407E-A947-70E740481C1C}">
                <a14:useLocalDpi xmlns:a14="http://schemas.microsoft.com/office/drawing/2010/main" val="0"/>
              </a:ext>
            </a:extLst>
          </a:blip>
          <a:srcRect t="5387" b="20876"/>
          <a:stretch>
            <a:fillRect/>
          </a:stretch>
        </p:blipFill>
        <p:spPr>
          <a:xfrm>
            <a:off x="0" y="3520440"/>
            <a:ext cx="12192000" cy="3337560"/>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2419108"/>
            <a:ext cx="5885077" cy="4438891"/>
          </a:xfrm>
          <a:prstGeom prst="rect">
            <a:avLst/>
          </a:prstGeom>
        </p:spPr>
      </p:pic>
      <p:pic>
        <p:nvPicPr>
          <p:cNvPr id="8" name="图片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42807" y="670559"/>
            <a:ext cx="2949193" cy="6187440"/>
          </a:xfrm>
          <a:prstGeom prst="rect">
            <a:avLst/>
          </a:prstGeom>
        </p:spPr>
      </p:pic>
      <p:pic>
        <p:nvPicPr>
          <p:cNvPr id="9" name="图片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0" name="图片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1"/>
            <a:ext cx="3403714" cy="2124634"/>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down)">
                                      <p:cBhvr>
                                        <p:cTn id="19" dur="500"/>
                                        <p:tgtEl>
                                          <p:spTgt spid="8"/>
                                        </p:tgtEl>
                                      </p:cBhvr>
                                    </p:animEffect>
                                  </p:childTnLst>
                                </p:cTn>
                              </p:par>
                            </p:childTnLst>
                          </p:cTn>
                        </p:par>
                        <p:par>
                          <p:cTn id="20" fill="hold">
                            <p:stCondLst>
                              <p:cond delay="2500"/>
                            </p:stCondLst>
                            <p:childTnLst>
                              <p:par>
                                <p:cTn id="21" presetID="22" presetClass="entr" presetSubtype="1"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par>
                                <p:cTn id="24" presetID="22" presetClass="entr" presetSubtype="4"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down)">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507A946E-B064-4211-A11D-E702AF025A18}"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347ECCD5-501B-4F30-908A-642832F21398}" type="slidenum">
              <a:rPr lang="zh-CN" altLang="en-US" smtClean="0"/>
              <a:t>‹#›</a:t>
            </a:fld>
            <a:endParaRPr lang="zh-CN" altLang="en-US"/>
          </a:p>
        </p:txBody>
      </p:sp>
      <p:sp>
        <p:nvSpPr>
          <p:cNvPr id="5" name="矩形 4"/>
          <p:cNvSpPr/>
          <p:nvPr userDrawn="1"/>
        </p:nvSpPr>
        <p:spPr>
          <a:xfrm>
            <a:off x="0" y="406611"/>
            <a:ext cx="191294" cy="527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5" b="1">
              <a:solidFill>
                <a:schemeClr val="tx1"/>
              </a:solidFill>
            </a:endParaRPr>
          </a:p>
        </p:txBody>
      </p:sp>
      <p:sp>
        <p:nvSpPr>
          <p:cNvPr id="6" name="TextBox 5"/>
          <p:cNvSpPr txBox="1"/>
          <p:nvPr userDrawn="1"/>
        </p:nvSpPr>
        <p:spPr>
          <a:xfrm>
            <a:off x="239288" y="476274"/>
            <a:ext cx="2095445" cy="379463"/>
          </a:xfrm>
          <a:prstGeom prst="rect">
            <a:avLst/>
          </a:prstGeom>
          <a:noFill/>
        </p:spPr>
        <p:txBody>
          <a:bodyPr wrap="none" rtlCol="0">
            <a:spAutoFit/>
          </a:bodyPr>
          <a:lstStyle/>
          <a:p>
            <a:pPr lvl="0"/>
            <a:r>
              <a:rPr lang="zh-CN" altLang="en-US" sz="1865" b="0" dirty="0">
                <a:solidFill>
                  <a:schemeClr val="accent1"/>
                </a:solidFill>
                <a:latin typeface="微软雅黑" panose="020B0503020204020204" pitchFamily="34" charset="-122"/>
                <a:ea typeface="微软雅黑" panose="020B0503020204020204" pitchFamily="34" charset="-122"/>
              </a:rPr>
              <a:t>单击此处添加标题</a:t>
            </a:r>
            <a:endParaRPr lang="zh-CN" altLang="zh-CN" sz="1865" b="0" dirty="0">
              <a:solidFill>
                <a:schemeClr val="accent1"/>
              </a:solidFill>
              <a:latin typeface="微软雅黑" panose="020B0503020204020204" pitchFamily="34" charset="-122"/>
              <a:ea typeface="微软雅黑" panose="020B0503020204020204" pitchFamily="34" charset="-122"/>
            </a:endParaRPr>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65858" y="2816931"/>
            <a:ext cx="1926142" cy="4041067"/>
          </a:xfrm>
          <a:prstGeom prst="rect">
            <a:avLst/>
          </a:prstGeom>
        </p:spPr>
      </p:pic>
      <p:pic>
        <p:nvPicPr>
          <p:cNvPr id="9" name="图片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spTree>
  </p:cSld>
  <p:clrMapOvr>
    <a:masterClrMapping/>
  </p:clrMapOvr>
  <p:transition spd="slow" advClick="0" advTm="3000">
    <p:push dir="u"/>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507A946E-B064-4211-A11D-E702AF025A18}"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347ECCD5-501B-4F30-908A-642832F21398}" type="slidenum">
              <a:rPr lang="zh-CN" altLang="en-US" smtClean="0"/>
              <a:t>‹#›</a:t>
            </a:fld>
            <a:endParaRPr lang="zh-CN" altLang="en-US"/>
          </a:p>
        </p:txBody>
      </p:sp>
      <p:sp>
        <p:nvSpPr>
          <p:cNvPr id="5" name="矩形 4"/>
          <p:cNvSpPr/>
          <p:nvPr userDrawn="1"/>
        </p:nvSpPr>
        <p:spPr>
          <a:xfrm>
            <a:off x="0" y="261626"/>
            <a:ext cx="191294" cy="527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5" b="1">
              <a:solidFill>
                <a:schemeClr val="tx1"/>
              </a:solidFill>
            </a:endParaRPr>
          </a:p>
        </p:txBody>
      </p:sp>
      <p:sp>
        <p:nvSpPr>
          <p:cNvPr id="6" name="TextBox 5"/>
          <p:cNvSpPr txBox="1"/>
          <p:nvPr userDrawn="1"/>
        </p:nvSpPr>
        <p:spPr>
          <a:xfrm>
            <a:off x="239287" y="331289"/>
            <a:ext cx="2095445" cy="379463"/>
          </a:xfrm>
          <a:prstGeom prst="rect">
            <a:avLst/>
          </a:prstGeom>
          <a:noFill/>
        </p:spPr>
        <p:txBody>
          <a:bodyPr wrap="none" rtlCol="0">
            <a:spAutoFit/>
          </a:bodyPr>
          <a:lstStyle/>
          <a:p>
            <a:pPr lvl="0"/>
            <a:r>
              <a:rPr lang="zh-CN" altLang="en-US" sz="1865" b="0" dirty="0" smtClean="0">
                <a:solidFill>
                  <a:schemeClr val="accent1"/>
                </a:solidFill>
                <a:latin typeface="微软雅黑" panose="020B0503020204020204" pitchFamily="34" charset="-122"/>
                <a:ea typeface="微软雅黑" panose="020B0503020204020204" pitchFamily="34" charset="-122"/>
              </a:rPr>
              <a:t>单击此处添加标题</a:t>
            </a:r>
            <a:endParaRPr lang="zh-CN" altLang="zh-CN" sz="1865" b="0" dirty="0">
              <a:solidFill>
                <a:schemeClr val="accent1"/>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65858" y="2816931"/>
            <a:ext cx="1926142" cy="4041067"/>
          </a:xfrm>
          <a:prstGeom prst="rect">
            <a:avLst/>
          </a:prstGeom>
        </p:spPr>
      </p:pic>
    </p:spTree>
  </p:cSld>
  <p:clrMapOvr>
    <a:masterClrMapping/>
  </p:clrMapOvr>
  <p:transition spd="slow" advClick="0" advTm="3000">
    <p:push dir="u"/>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507A946E-B064-4211-A11D-E702AF025A18}"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347ECCD5-501B-4F30-908A-642832F21398}" type="slidenum">
              <a:rPr lang="zh-CN" altLang="en-US" smtClean="0"/>
              <a:t>‹#›</a:t>
            </a:fld>
            <a:endParaRPr lang="zh-CN" altLang="en-US"/>
          </a:p>
        </p:txBody>
      </p:sp>
      <p:sp>
        <p:nvSpPr>
          <p:cNvPr id="5" name="矩形 4"/>
          <p:cNvSpPr/>
          <p:nvPr userDrawn="1"/>
        </p:nvSpPr>
        <p:spPr>
          <a:xfrm>
            <a:off x="0" y="261626"/>
            <a:ext cx="191294" cy="527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5" b="1">
              <a:solidFill>
                <a:schemeClr val="tx1"/>
              </a:solidFill>
            </a:endParaRPr>
          </a:p>
        </p:txBody>
      </p:sp>
      <p:sp>
        <p:nvSpPr>
          <p:cNvPr id="6" name="TextBox 5"/>
          <p:cNvSpPr txBox="1"/>
          <p:nvPr userDrawn="1"/>
        </p:nvSpPr>
        <p:spPr>
          <a:xfrm>
            <a:off x="239287" y="331289"/>
            <a:ext cx="2095445" cy="379463"/>
          </a:xfrm>
          <a:prstGeom prst="rect">
            <a:avLst/>
          </a:prstGeom>
          <a:noFill/>
        </p:spPr>
        <p:txBody>
          <a:bodyPr wrap="none" rtlCol="0">
            <a:spAutoFit/>
          </a:bodyPr>
          <a:lstStyle/>
          <a:p>
            <a:pPr lvl="0"/>
            <a:r>
              <a:rPr lang="zh-CN" altLang="en-US" sz="1865" b="0" dirty="0" smtClean="0">
                <a:solidFill>
                  <a:schemeClr val="accent1"/>
                </a:solidFill>
                <a:latin typeface="微软雅黑" panose="020B0503020204020204" pitchFamily="34" charset="-122"/>
                <a:ea typeface="微软雅黑" panose="020B0503020204020204" pitchFamily="34" charset="-122"/>
              </a:rPr>
              <a:t>单击此处添加标题</a:t>
            </a:r>
            <a:endParaRPr lang="zh-CN" altLang="zh-CN" sz="1865" b="0" dirty="0">
              <a:solidFill>
                <a:schemeClr val="accent1"/>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65858" y="2816931"/>
            <a:ext cx="1926142" cy="4041067"/>
          </a:xfrm>
          <a:prstGeom prst="rect">
            <a:avLst/>
          </a:prstGeom>
        </p:spPr>
      </p:pic>
    </p:spTree>
  </p:cSld>
  <p:clrMapOvr>
    <a:masterClrMapping/>
  </p:clrMapOvr>
  <p:transition spd="slow" advClick="0" advTm="3000">
    <p:push dir="u"/>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507A946E-B064-4211-A11D-E702AF025A18}"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347ECCD5-501B-4F30-908A-642832F21398}" type="slidenum">
              <a:rPr lang="zh-CN" altLang="en-US" smtClean="0"/>
              <a:t>‹#›</a:t>
            </a:fld>
            <a:endParaRPr lang="zh-CN" altLang="en-US"/>
          </a:p>
        </p:txBody>
      </p:sp>
      <p:sp>
        <p:nvSpPr>
          <p:cNvPr id="5" name="矩形 4"/>
          <p:cNvSpPr/>
          <p:nvPr userDrawn="1"/>
        </p:nvSpPr>
        <p:spPr>
          <a:xfrm>
            <a:off x="0" y="261626"/>
            <a:ext cx="191294" cy="527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45" b="1">
              <a:solidFill>
                <a:schemeClr val="tx1"/>
              </a:solidFill>
            </a:endParaRPr>
          </a:p>
        </p:txBody>
      </p:sp>
      <p:sp>
        <p:nvSpPr>
          <p:cNvPr id="6" name="TextBox 5"/>
          <p:cNvSpPr txBox="1"/>
          <p:nvPr userDrawn="1"/>
        </p:nvSpPr>
        <p:spPr>
          <a:xfrm>
            <a:off x="239287" y="331289"/>
            <a:ext cx="2095445" cy="379463"/>
          </a:xfrm>
          <a:prstGeom prst="rect">
            <a:avLst/>
          </a:prstGeom>
          <a:noFill/>
        </p:spPr>
        <p:txBody>
          <a:bodyPr wrap="none" rtlCol="0">
            <a:spAutoFit/>
          </a:bodyPr>
          <a:lstStyle/>
          <a:p>
            <a:pPr lvl="0"/>
            <a:r>
              <a:rPr lang="zh-CN" altLang="en-US" sz="1865" b="0" dirty="0" smtClean="0">
                <a:solidFill>
                  <a:schemeClr val="accent1"/>
                </a:solidFill>
                <a:latin typeface="微软雅黑" panose="020B0503020204020204" pitchFamily="34" charset="-122"/>
                <a:ea typeface="微软雅黑" panose="020B0503020204020204" pitchFamily="34" charset="-122"/>
              </a:rPr>
              <a:t>单击此处添加标题</a:t>
            </a:r>
            <a:endParaRPr lang="zh-CN" altLang="zh-CN" sz="1865" b="0" dirty="0">
              <a:solidFill>
                <a:schemeClr val="accent1"/>
              </a:solidFill>
              <a:latin typeface="微软雅黑" panose="020B0503020204020204" pitchFamily="34" charset="-122"/>
              <a:ea typeface="微软雅黑" panose="020B0503020204020204" pitchFamily="34" charset="-122"/>
            </a:endParaRPr>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0" name="图片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65858" y="2816931"/>
            <a:ext cx="1926142" cy="4041067"/>
          </a:xfrm>
          <a:prstGeom prst="rect">
            <a:avLst/>
          </a:prstGeom>
        </p:spPr>
      </p:pic>
    </p:spTree>
  </p:cSld>
  <p:clrMapOvr>
    <a:masterClrMapping/>
  </p:clrMapOvr>
  <p:transition spd="slow" advClick="0" advTm="3000">
    <p:push dir="u"/>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6_标题和内容">
    <p:bg>
      <p:bgPr>
        <a:solidFill>
          <a:srgbClr val="FCFCFC"/>
        </a:soli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09441" y="6356351"/>
            <a:ext cx="2844059" cy="365125"/>
          </a:xfrm>
          <a:prstGeom prst="rect">
            <a:avLst/>
          </a:prstGeom>
        </p:spPr>
        <p:txBody>
          <a:bodyPr/>
          <a:lstStyle/>
          <a:p>
            <a:fld id="{2CFBF030-126A-44E1-A291-CE0450786A5D}" type="datetimeFigureOut">
              <a:rPr lang="zh-CN" altLang="en-US" smtClean="0"/>
              <a:t>2023-01-10</a:t>
            </a:fld>
            <a:endParaRPr lang="zh-CN" altLang="en-US"/>
          </a:p>
        </p:txBody>
      </p:sp>
      <p:sp>
        <p:nvSpPr>
          <p:cNvPr id="3" name="页脚占位符 2"/>
          <p:cNvSpPr>
            <a:spLocks noGrp="1"/>
          </p:cNvSpPr>
          <p:nvPr>
            <p:ph type="ftr" sz="quarter" idx="11"/>
          </p:nvPr>
        </p:nvSpPr>
        <p:spPr>
          <a:xfrm>
            <a:off x="4164515" y="6356351"/>
            <a:ext cx="3859795"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735325" y="6356351"/>
            <a:ext cx="2844059" cy="365125"/>
          </a:xfrm>
          <a:prstGeom prst="rect">
            <a:avLst/>
          </a:prstGeom>
        </p:spPr>
        <p:txBody>
          <a:bodyPr/>
          <a:lstStyle/>
          <a:p>
            <a:fld id="{FD591CF7-6230-429B-A18C-78A12BF27C28}" type="slidenum">
              <a:rPr lang="zh-CN" altLang="en-US" smtClean="0"/>
              <a:t>‹#›</a:t>
            </a:fld>
            <a:endParaRPr lang="zh-CN" altLang="en-US"/>
          </a:p>
        </p:txBody>
      </p:sp>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图片 5"/>
          <p:cNvPicPr>
            <a:picLocks noChangeAspect="1"/>
          </p:cNvPicPr>
          <p:nvPr userDrawn="1"/>
        </p:nvPicPr>
        <p:blipFill rotWithShape="1">
          <a:blip r:embed="rId3">
            <a:extLst>
              <a:ext uri="{28A0092B-C50C-407E-A947-70E740481C1C}">
                <a14:useLocalDpi xmlns:a14="http://schemas.microsoft.com/office/drawing/2010/main" val="0"/>
              </a:ext>
            </a:extLst>
          </a:blip>
          <a:srcRect t="5387" b="20876"/>
          <a:stretch>
            <a:fillRect/>
          </a:stretch>
        </p:blipFill>
        <p:spPr>
          <a:xfrm>
            <a:off x="0" y="3520440"/>
            <a:ext cx="12192000" cy="3337560"/>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2419108"/>
            <a:ext cx="5885077" cy="4438891"/>
          </a:xfrm>
          <a:prstGeom prst="rect">
            <a:avLst/>
          </a:prstGeom>
        </p:spPr>
      </p:pic>
      <p:pic>
        <p:nvPicPr>
          <p:cNvPr id="8" name="图片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42807" y="670559"/>
            <a:ext cx="2949193" cy="6187440"/>
          </a:xfrm>
          <a:prstGeom prst="rect">
            <a:avLst/>
          </a:prstGeom>
        </p:spPr>
      </p:pic>
      <p:pic>
        <p:nvPicPr>
          <p:cNvPr id="9" name="图片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859942" y="0"/>
            <a:ext cx="3332058" cy="2124635"/>
          </a:xfrm>
          <a:prstGeom prst="rect">
            <a:avLst/>
          </a:prstGeom>
        </p:spPr>
      </p:pic>
      <p:pic>
        <p:nvPicPr>
          <p:cNvPr id="10" name="图片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 y="1"/>
            <a:ext cx="3403714" cy="2124634"/>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down)">
                                      <p:cBhvr>
                                        <p:cTn id="19" dur="500"/>
                                        <p:tgtEl>
                                          <p:spTgt spid="8"/>
                                        </p:tgtEl>
                                      </p:cBhvr>
                                    </p:animEffect>
                                  </p:childTnLst>
                                </p:cTn>
                              </p:par>
                            </p:childTnLst>
                          </p:cTn>
                        </p:par>
                        <p:par>
                          <p:cTn id="20" fill="hold">
                            <p:stCondLst>
                              <p:cond delay="2500"/>
                            </p:stCondLst>
                            <p:childTnLst>
                              <p:par>
                                <p:cTn id="21" presetID="22" presetClass="entr" presetSubtype="1"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up)">
                                      <p:cBhvr>
                                        <p:cTn id="23" dur="500"/>
                                        <p:tgtEl>
                                          <p:spTgt spid="10"/>
                                        </p:tgtEl>
                                      </p:cBhvr>
                                    </p:animEffect>
                                  </p:childTnLst>
                                </p:cTn>
                              </p:par>
                              <p:par>
                                <p:cTn id="24" presetID="22" presetClass="entr" presetSubtype="4"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down)">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ransition spd="slow" advClick="0" advTm="3000">
    <p:push dir="u"/>
  </p:transition>
  <p:txStyles>
    <p:titleStyle>
      <a:lvl1pPr algn="ctr" defTabSz="1218565"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8565"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89965" indent="-381000" algn="l" defTabSz="1218565" rtl="0" eaLnBrk="1" latinLnBrk="0" hangingPunct="1">
        <a:spcBef>
          <a:spcPct val="20000"/>
        </a:spcBef>
        <a:buFont typeface="Arial" panose="020B0604020202020204" pitchFamily="34" charset="0"/>
        <a:buChar char="–"/>
        <a:defRPr sz="3730" kern="1200">
          <a:solidFill>
            <a:schemeClr val="tx1"/>
          </a:solidFill>
          <a:latin typeface="+mn-lt"/>
          <a:ea typeface="+mn-ea"/>
          <a:cs typeface="+mn-cs"/>
        </a:defRPr>
      </a:lvl2pPr>
      <a:lvl3pPr marL="1523365" indent="-304800" algn="l" defTabSz="121856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2965"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2565"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153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113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0730"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79695" indent="-304800" algn="l" defTabSz="1218565"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8565" algn="l" defTabSz="1218565" rtl="0" eaLnBrk="1" latinLnBrk="0" hangingPunct="1">
        <a:defRPr sz="2400" kern="1200">
          <a:solidFill>
            <a:schemeClr val="tx1"/>
          </a:solidFill>
          <a:latin typeface="+mn-lt"/>
          <a:ea typeface="+mn-ea"/>
          <a:cs typeface="+mn-cs"/>
        </a:defRPr>
      </a:lvl3pPr>
      <a:lvl4pPr marL="1828165" algn="l" defTabSz="1218565" rtl="0" eaLnBrk="1" latinLnBrk="0" hangingPunct="1">
        <a:defRPr sz="2400" kern="1200">
          <a:solidFill>
            <a:schemeClr val="tx1"/>
          </a:solidFill>
          <a:latin typeface="+mn-lt"/>
          <a:ea typeface="+mn-ea"/>
          <a:cs typeface="+mn-cs"/>
        </a:defRPr>
      </a:lvl4pPr>
      <a:lvl5pPr marL="2437765" algn="l" defTabSz="1218565" rtl="0" eaLnBrk="1" latinLnBrk="0" hangingPunct="1">
        <a:defRPr sz="2400" kern="1200">
          <a:solidFill>
            <a:schemeClr val="tx1"/>
          </a:solidFill>
          <a:latin typeface="+mn-lt"/>
          <a:ea typeface="+mn-ea"/>
          <a:cs typeface="+mn-cs"/>
        </a:defRPr>
      </a:lvl5pPr>
      <a:lvl6pPr marL="3046730" algn="l" defTabSz="1218565" rtl="0" eaLnBrk="1" latinLnBrk="0" hangingPunct="1">
        <a:defRPr sz="2400" kern="1200">
          <a:solidFill>
            <a:schemeClr val="tx1"/>
          </a:solidFill>
          <a:latin typeface="+mn-lt"/>
          <a:ea typeface="+mn-ea"/>
          <a:cs typeface="+mn-cs"/>
        </a:defRPr>
      </a:lvl6pPr>
      <a:lvl7pPr marL="3656330" algn="l" defTabSz="1218565" rtl="0" eaLnBrk="1" latinLnBrk="0" hangingPunct="1">
        <a:defRPr sz="2400" kern="1200">
          <a:solidFill>
            <a:schemeClr val="tx1"/>
          </a:solidFill>
          <a:latin typeface="+mn-lt"/>
          <a:ea typeface="+mn-ea"/>
          <a:cs typeface="+mn-cs"/>
        </a:defRPr>
      </a:lvl7pPr>
      <a:lvl8pPr marL="4265930" algn="l" defTabSz="1218565" rtl="0" eaLnBrk="1" latinLnBrk="0" hangingPunct="1">
        <a:defRPr sz="2400" kern="1200">
          <a:solidFill>
            <a:schemeClr val="tx1"/>
          </a:solidFill>
          <a:latin typeface="+mn-lt"/>
          <a:ea typeface="+mn-ea"/>
          <a:cs typeface="+mn-cs"/>
        </a:defRPr>
      </a:lvl8pPr>
      <a:lvl9pPr marL="487553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notesSlide" Target="../notesSlides/notesSlide1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slideLayout" Target="../slideLayouts/slideLayout6.xml"/><Relationship Id="rId2" Type="http://schemas.openxmlformats.org/officeDocument/2006/relationships/tags" Target="../tags/tag23.xml"/><Relationship Id="rId16" Type="http://schemas.openxmlformats.org/officeDocument/2006/relationships/tags" Target="../tags/tag37.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3" Type="http://schemas.openxmlformats.org/officeDocument/2006/relationships/tags" Target="../tags/tag40.xml"/><Relationship Id="rId21" Type="http://schemas.openxmlformats.org/officeDocument/2006/relationships/slideLayout" Target="../slideLayouts/slideLayout7.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347233" y="3320988"/>
            <a:ext cx="7494359" cy="923330"/>
          </a:xfrm>
          <a:prstGeom prst="rect">
            <a:avLst/>
          </a:prstGeom>
          <a:noFill/>
        </p:spPr>
        <p:txBody>
          <a:bodyPr wrap="none" lIns="91440" tIns="45720" rIns="91440" bIns="45720">
            <a:spAutoFit/>
          </a:bodyPr>
          <a:lstStyle/>
          <a:p>
            <a:pPr algn="ctr"/>
            <a:r>
              <a:rPr lang="zh-CN" altLang="en-US" sz="54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rPr>
              <a:t>清明节缅怀先烈</a:t>
            </a:r>
            <a:r>
              <a:rPr lang="en-US" altLang="zh-CN" sz="5400" b="1" dirty="0" err="1">
                <a:ln w="13462">
                  <a:solidFill>
                    <a:schemeClr val="bg1"/>
                  </a:solidFill>
                  <a:prstDash val="solid"/>
                </a:ln>
                <a:solidFill>
                  <a:schemeClr val="tx1">
                    <a:lumMod val="85000"/>
                    <a:lumOff val="15000"/>
                  </a:schemeClr>
                </a:solidFill>
                <a:effectLst>
                  <a:outerShdw dist="38100" dir="2700000" algn="bl" rotWithShape="0">
                    <a:schemeClr val="accent5"/>
                  </a:outerShdw>
                </a:effectLst>
              </a:rPr>
              <a:t>ppt</a:t>
            </a:r>
            <a:r>
              <a:rPr lang="zh-CN" altLang="en-US" sz="54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rPr>
              <a:t>模板</a:t>
            </a:r>
            <a:endParaRPr lang="zh-CN" altLang="en-US" sz="5400" b="1" cap="none" spc="0" dirty="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Tree>
  </p:cSld>
  <p:clrMapOvr>
    <a:masterClrMapping/>
  </p:clrMapOvr>
  <p:transition spd="slow" advClick="0" advTm="3000">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10"/>
          <p:cNvGrpSpPr/>
          <p:nvPr/>
        </p:nvGrpSpPr>
        <p:grpSpPr bwMode="auto">
          <a:xfrm>
            <a:off x="1789273" y="4855584"/>
            <a:ext cx="2163481" cy="1754983"/>
            <a:chOff x="0" y="0"/>
            <a:chExt cx="2726" cy="2211"/>
          </a:xfrm>
        </p:grpSpPr>
        <p:sp>
          <p:nvSpPr>
            <p:cNvPr id="9" name="Rectangle 11"/>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fontAlgn="base">
                <a:lnSpc>
                  <a:spcPct val="90000"/>
                </a:lnSpc>
                <a:spcBef>
                  <a:spcPct val="0"/>
                </a:spcBef>
                <a:spcAft>
                  <a:spcPct val="0"/>
                </a:spcAft>
              </a:pPr>
              <a:r>
                <a:rPr lang="zh-CN" altLang="en-US" sz="1800" dirty="0">
                  <a:solidFill>
                    <a:schemeClr val="tx1">
                      <a:lumMod val="50000"/>
                      <a:lumOff val="50000"/>
                    </a:schemeClr>
                  </a:solidFill>
                  <a:cs typeface="+mn-ea"/>
                  <a:sym typeface="+mn-lt"/>
                </a:rPr>
                <a:t>单击此处添加标题</a:t>
              </a:r>
              <a:endParaRPr lang="en-US" sz="1800" dirty="0">
                <a:solidFill>
                  <a:schemeClr val="tx1">
                    <a:lumMod val="50000"/>
                    <a:lumOff val="50000"/>
                  </a:schemeClr>
                </a:solidFill>
                <a:cs typeface="+mn-ea"/>
                <a:sym typeface="+mn-lt"/>
              </a:endParaRPr>
            </a:p>
          </p:txBody>
        </p:sp>
        <p:sp>
          <p:nvSpPr>
            <p:cNvPr id="10" name="Rectangle 12"/>
            <p:cNvSpPr/>
            <p:nvPr/>
          </p:nvSpPr>
          <p:spPr bwMode="auto">
            <a:xfrm>
              <a:off x="0" y="416"/>
              <a:ext cx="2726" cy="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fontAlgn="base">
                <a:lnSpc>
                  <a:spcPct val="125000"/>
                </a:lnSpc>
                <a:spcBef>
                  <a:spcPct val="0"/>
                </a:spcBef>
                <a:spcAft>
                  <a:spcPct val="0"/>
                </a:spcAft>
              </a:pPr>
              <a:r>
                <a:rPr lang="zh-CN" altLang="en-US" sz="1050" dirty="0">
                  <a:solidFill>
                    <a:schemeClr val="tx1">
                      <a:lumMod val="50000"/>
                      <a:lumOff val="50000"/>
                    </a:schemeClr>
                  </a:solidFill>
                  <a:cs typeface="+mn-ea"/>
                  <a:sym typeface="+mn-lt"/>
                </a:rPr>
                <a:t>此处添加详细文本描述，建议与标题相关并符合整体语言风格，语言描述尽量简洁生动。尽量将</a:t>
              </a:r>
              <a:endParaRPr lang="en-US" altLang="zh-CN" sz="1050" dirty="0">
                <a:solidFill>
                  <a:schemeClr val="tx1">
                    <a:lumMod val="50000"/>
                    <a:lumOff val="50000"/>
                  </a:schemeClr>
                </a:solidFill>
                <a:cs typeface="+mn-ea"/>
                <a:sym typeface="+mn-lt"/>
              </a:endParaRPr>
            </a:p>
          </p:txBody>
        </p:sp>
      </p:grpSp>
      <p:grpSp>
        <p:nvGrpSpPr>
          <p:cNvPr id="11" name="Group 13"/>
          <p:cNvGrpSpPr/>
          <p:nvPr/>
        </p:nvGrpSpPr>
        <p:grpSpPr bwMode="auto">
          <a:xfrm>
            <a:off x="1118643" y="4838585"/>
            <a:ext cx="464283" cy="463550"/>
            <a:chOff x="0" y="0"/>
            <a:chExt cx="584" cy="584"/>
          </a:xfrm>
        </p:grpSpPr>
        <p:sp>
          <p:nvSpPr>
            <p:cNvPr id="12" name="Oval 14"/>
            <p:cNvSpPr/>
            <p:nvPr/>
          </p:nvSpPr>
          <p:spPr bwMode="auto">
            <a:xfrm>
              <a:off x="0" y="0"/>
              <a:ext cx="584" cy="584"/>
            </a:xfrm>
            <a:prstGeom prst="ellipse">
              <a:avLst/>
            </a:prstGeom>
            <a:solidFill>
              <a:srgbClr val="82B864"/>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defRPr/>
              </a:pPr>
              <a:endParaRPr lang="en-US" sz="2800" kern="0">
                <a:solidFill>
                  <a:srgbClr val="000000"/>
                </a:solidFill>
                <a:cs typeface="+mn-ea"/>
                <a:sym typeface="+mn-lt"/>
              </a:endParaRPr>
            </a:p>
          </p:txBody>
        </p:sp>
        <p:sp>
          <p:nvSpPr>
            <p:cNvPr id="13" name="Rectangle 15"/>
            <p:cNvSpPr/>
            <p:nvPr/>
          </p:nvSpPr>
          <p:spPr bwMode="auto">
            <a:xfrm>
              <a:off x="0" y="8"/>
              <a:ext cx="584"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defRPr/>
              </a:pPr>
              <a:r>
                <a:rPr lang="en-US" sz="2100" kern="0" dirty="0">
                  <a:solidFill>
                    <a:srgbClr val="FFFFFF"/>
                  </a:solidFill>
                  <a:cs typeface="+mn-ea"/>
                  <a:sym typeface="+mn-lt"/>
                </a:rPr>
                <a:t>1</a:t>
              </a:r>
            </a:p>
          </p:txBody>
        </p:sp>
      </p:grpSp>
      <p:grpSp>
        <p:nvGrpSpPr>
          <p:cNvPr id="14" name="Group 4"/>
          <p:cNvGrpSpPr/>
          <p:nvPr/>
        </p:nvGrpSpPr>
        <p:grpSpPr>
          <a:xfrm>
            <a:off x="969536" y="4270220"/>
            <a:ext cx="9791812" cy="284515"/>
            <a:chOff x="899592" y="2852807"/>
            <a:chExt cx="7344815" cy="213386"/>
          </a:xfrm>
          <a:solidFill>
            <a:srgbClr val="969696"/>
          </a:solidFill>
        </p:grpSpPr>
        <p:sp>
          <p:nvSpPr>
            <p:cNvPr id="15" name="Rectangle 61"/>
            <p:cNvSpPr/>
            <p:nvPr/>
          </p:nvSpPr>
          <p:spPr bwMode="auto">
            <a:xfrm>
              <a:off x="899592" y="2852807"/>
              <a:ext cx="7344815" cy="32031"/>
            </a:xfrm>
            <a:prstGeom prst="rect">
              <a:avLst/>
            </a:pr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1219200" fontAlgn="base">
                <a:spcBef>
                  <a:spcPct val="0"/>
                </a:spcBef>
                <a:spcAft>
                  <a:spcPct val="0"/>
                </a:spcAft>
                <a:defRPr/>
              </a:pPr>
              <a:endParaRPr lang="en-US" sz="6600" kern="0">
                <a:solidFill>
                  <a:srgbClr val="000000"/>
                </a:solidFill>
                <a:cs typeface="+mn-ea"/>
                <a:sym typeface="+mn-lt"/>
              </a:endParaRPr>
            </a:p>
          </p:txBody>
        </p:sp>
        <p:sp>
          <p:nvSpPr>
            <p:cNvPr id="16" name="Flowchart: Merge 3"/>
            <p:cNvSpPr/>
            <p:nvPr/>
          </p:nvSpPr>
          <p:spPr bwMode="auto">
            <a:xfrm>
              <a:off x="1099027" y="2874792"/>
              <a:ext cx="210541" cy="191401"/>
            </a:xfrm>
            <a:prstGeom prst="flowChartMerge">
              <a:avLst/>
            </a:pr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1219200" fontAlgn="base">
                <a:spcBef>
                  <a:spcPct val="0"/>
                </a:spcBef>
                <a:spcAft>
                  <a:spcPct val="0"/>
                </a:spcAft>
                <a:defRPr/>
              </a:pPr>
              <a:endParaRPr lang="en-US" sz="6600" kern="0">
                <a:solidFill>
                  <a:srgbClr val="000000"/>
                </a:solidFill>
                <a:cs typeface="+mn-ea"/>
                <a:sym typeface="+mn-lt"/>
              </a:endParaRPr>
            </a:p>
          </p:txBody>
        </p:sp>
        <p:sp>
          <p:nvSpPr>
            <p:cNvPr id="17" name="Flowchart: Merge 64"/>
            <p:cNvSpPr/>
            <p:nvPr/>
          </p:nvSpPr>
          <p:spPr bwMode="auto">
            <a:xfrm>
              <a:off x="3708663" y="2874792"/>
              <a:ext cx="210541" cy="191401"/>
            </a:xfrm>
            <a:prstGeom prst="flowChartMerge">
              <a:avLst/>
            </a:pr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1219200" fontAlgn="base">
                <a:spcBef>
                  <a:spcPct val="0"/>
                </a:spcBef>
                <a:spcAft>
                  <a:spcPct val="0"/>
                </a:spcAft>
                <a:defRPr/>
              </a:pPr>
              <a:endParaRPr lang="en-US" sz="6600" kern="0">
                <a:solidFill>
                  <a:srgbClr val="000000"/>
                </a:solidFill>
                <a:cs typeface="+mn-ea"/>
                <a:sym typeface="+mn-lt"/>
              </a:endParaRPr>
            </a:p>
          </p:txBody>
        </p:sp>
        <p:sp>
          <p:nvSpPr>
            <p:cNvPr id="18" name="Flowchart: Merge 65"/>
            <p:cNvSpPr/>
            <p:nvPr/>
          </p:nvSpPr>
          <p:spPr bwMode="auto">
            <a:xfrm>
              <a:off x="6174461" y="2874792"/>
              <a:ext cx="210541" cy="191401"/>
            </a:xfrm>
            <a:prstGeom prst="flowChartMerge">
              <a:avLst/>
            </a:pr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1219200" fontAlgn="base">
                <a:spcBef>
                  <a:spcPct val="0"/>
                </a:spcBef>
                <a:spcAft>
                  <a:spcPct val="0"/>
                </a:spcAft>
                <a:defRPr/>
              </a:pPr>
              <a:endParaRPr lang="en-US" sz="6600" kern="0">
                <a:solidFill>
                  <a:srgbClr val="000000"/>
                </a:solidFill>
                <a:cs typeface="+mn-ea"/>
                <a:sym typeface="+mn-lt"/>
              </a:endParaRPr>
            </a:p>
          </p:txBody>
        </p:sp>
      </p:grpSp>
      <p:grpSp>
        <p:nvGrpSpPr>
          <p:cNvPr id="19" name="Group 10"/>
          <p:cNvGrpSpPr/>
          <p:nvPr/>
        </p:nvGrpSpPr>
        <p:grpSpPr bwMode="auto">
          <a:xfrm>
            <a:off x="5293308" y="4855584"/>
            <a:ext cx="2163481" cy="1754983"/>
            <a:chOff x="0" y="0"/>
            <a:chExt cx="2726" cy="2211"/>
          </a:xfrm>
        </p:grpSpPr>
        <p:sp>
          <p:nvSpPr>
            <p:cNvPr id="20" name="Rectangle 11"/>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fontAlgn="base">
                <a:lnSpc>
                  <a:spcPct val="90000"/>
                </a:lnSpc>
                <a:spcBef>
                  <a:spcPct val="0"/>
                </a:spcBef>
                <a:spcAft>
                  <a:spcPct val="0"/>
                </a:spcAft>
              </a:pPr>
              <a:r>
                <a:rPr lang="zh-CN" altLang="en-US" sz="1800" dirty="0">
                  <a:solidFill>
                    <a:schemeClr val="tx1">
                      <a:lumMod val="50000"/>
                      <a:lumOff val="50000"/>
                    </a:schemeClr>
                  </a:solidFill>
                  <a:cs typeface="+mn-ea"/>
                  <a:sym typeface="+mn-lt"/>
                </a:rPr>
                <a:t>单击此处添加标题</a:t>
              </a:r>
              <a:endParaRPr lang="en-US" sz="1800" dirty="0">
                <a:solidFill>
                  <a:schemeClr val="tx1">
                    <a:lumMod val="50000"/>
                    <a:lumOff val="50000"/>
                  </a:schemeClr>
                </a:solidFill>
                <a:cs typeface="+mn-ea"/>
                <a:sym typeface="+mn-lt"/>
              </a:endParaRPr>
            </a:p>
          </p:txBody>
        </p:sp>
        <p:sp>
          <p:nvSpPr>
            <p:cNvPr id="21" name="Rectangle 12"/>
            <p:cNvSpPr/>
            <p:nvPr/>
          </p:nvSpPr>
          <p:spPr bwMode="auto">
            <a:xfrm>
              <a:off x="0" y="416"/>
              <a:ext cx="2726" cy="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fontAlgn="base">
                <a:lnSpc>
                  <a:spcPct val="125000"/>
                </a:lnSpc>
                <a:spcBef>
                  <a:spcPct val="0"/>
                </a:spcBef>
                <a:spcAft>
                  <a:spcPct val="0"/>
                </a:spcAft>
              </a:pPr>
              <a:r>
                <a:rPr lang="zh-CN" altLang="en-US" sz="1050" dirty="0">
                  <a:solidFill>
                    <a:schemeClr val="tx1">
                      <a:lumMod val="50000"/>
                      <a:lumOff val="50000"/>
                    </a:schemeClr>
                  </a:solidFill>
                  <a:cs typeface="+mn-ea"/>
                  <a:sym typeface="+mn-lt"/>
                </a:rPr>
                <a:t>此处添加详细文本描述，建议与标题相关并符合整体语言风格，语言描述尽量简洁生动。尽量将</a:t>
              </a:r>
              <a:endParaRPr lang="en-US" altLang="zh-CN" sz="1050" dirty="0">
                <a:solidFill>
                  <a:schemeClr val="tx1">
                    <a:lumMod val="50000"/>
                    <a:lumOff val="50000"/>
                  </a:schemeClr>
                </a:solidFill>
                <a:cs typeface="+mn-ea"/>
                <a:sym typeface="+mn-lt"/>
              </a:endParaRPr>
            </a:p>
          </p:txBody>
        </p:sp>
      </p:grpSp>
      <p:grpSp>
        <p:nvGrpSpPr>
          <p:cNvPr id="22" name="Group 13"/>
          <p:cNvGrpSpPr/>
          <p:nvPr/>
        </p:nvGrpSpPr>
        <p:grpSpPr bwMode="auto">
          <a:xfrm>
            <a:off x="4622677" y="4838585"/>
            <a:ext cx="464283" cy="463550"/>
            <a:chOff x="0" y="0"/>
            <a:chExt cx="584" cy="584"/>
          </a:xfrm>
        </p:grpSpPr>
        <p:sp>
          <p:nvSpPr>
            <p:cNvPr id="23" name="Oval 14"/>
            <p:cNvSpPr/>
            <p:nvPr/>
          </p:nvSpPr>
          <p:spPr bwMode="auto">
            <a:xfrm>
              <a:off x="0" y="0"/>
              <a:ext cx="584" cy="584"/>
            </a:xfrm>
            <a:prstGeom prst="ellipse">
              <a:avLst/>
            </a:prstGeom>
            <a:solidFill>
              <a:srgbClr val="A3CB8D"/>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defRPr/>
              </a:pPr>
              <a:endParaRPr lang="en-US" sz="2800" kern="0">
                <a:solidFill>
                  <a:srgbClr val="000000"/>
                </a:solidFill>
                <a:cs typeface="+mn-ea"/>
                <a:sym typeface="+mn-lt"/>
              </a:endParaRPr>
            </a:p>
          </p:txBody>
        </p:sp>
        <p:sp>
          <p:nvSpPr>
            <p:cNvPr id="24" name="Rectangle 15"/>
            <p:cNvSpPr/>
            <p:nvPr/>
          </p:nvSpPr>
          <p:spPr bwMode="auto">
            <a:xfrm>
              <a:off x="0" y="8"/>
              <a:ext cx="584" cy="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defRPr/>
              </a:pPr>
              <a:r>
                <a:rPr lang="en-US" sz="2100" kern="0" dirty="0">
                  <a:solidFill>
                    <a:srgbClr val="FFFFFF"/>
                  </a:solidFill>
                  <a:cs typeface="+mn-ea"/>
                  <a:sym typeface="+mn-lt"/>
                </a:rPr>
                <a:t>2</a:t>
              </a:r>
            </a:p>
          </p:txBody>
        </p:sp>
      </p:grpSp>
      <p:grpSp>
        <p:nvGrpSpPr>
          <p:cNvPr id="25" name="Group 10"/>
          <p:cNvGrpSpPr/>
          <p:nvPr/>
        </p:nvGrpSpPr>
        <p:grpSpPr bwMode="auto">
          <a:xfrm>
            <a:off x="8609821" y="4855584"/>
            <a:ext cx="2163481" cy="1754983"/>
            <a:chOff x="0" y="0"/>
            <a:chExt cx="2726" cy="2211"/>
          </a:xfrm>
        </p:grpSpPr>
        <p:sp>
          <p:nvSpPr>
            <p:cNvPr id="26" name="Rectangle 11"/>
            <p:cNvSpPr/>
            <p:nvPr/>
          </p:nvSpPr>
          <p:spPr bwMode="auto">
            <a:xfrm>
              <a:off x="0" y="0"/>
              <a:ext cx="2440"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fontAlgn="base">
                <a:lnSpc>
                  <a:spcPct val="90000"/>
                </a:lnSpc>
                <a:spcBef>
                  <a:spcPct val="0"/>
                </a:spcBef>
                <a:spcAft>
                  <a:spcPct val="0"/>
                </a:spcAft>
              </a:pPr>
              <a:r>
                <a:rPr lang="zh-CN" altLang="en-US" sz="1800" dirty="0">
                  <a:solidFill>
                    <a:schemeClr val="tx1">
                      <a:lumMod val="50000"/>
                      <a:lumOff val="50000"/>
                    </a:schemeClr>
                  </a:solidFill>
                  <a:cs typeface="+mn-ea"/>
                  <a:sym typeface="+mn-lt"/>
                </a:rPr>
                <a:t>单击此处添加标题</a:t>
              </a:r>
              <a:endParaRPr lang="en-US" sz="1800" dirty="0">
                <a:solidFill>
                  <a:schemeClr val="tx1">
                    <a:lumMod val="50000"/>
                    <a:lumOff val="50000"/>
                  </a:schemeClr>
                </a:solidFill>
                <a:cs typeface="+mn-ea"/>
                <a:sym typeface="+mn-lt"/>
              </a:endParaRPr>
            </a:p>
          </p:txBody>
        </p:sp>
        <p:sp>
          <p:nvSpPr>
            <p:cNvPr id="27" name="Rectangle 12"/>
            <p:cNvSpPr/>
            <p:nvPr/>
          </p:nvSpPr>
          <p:spPr bwMode="auto">
            <a:xfrm>
              <a:off x="0" y="416"/>
              <a:ext cx="2726" cy="1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fontAlgn="base">
                <a:lnSpc>
                  <a:spcPct val="125000"/>
                </a:lnSpc>
                <a:spcBef>
                  <a:spcPct val="0"/>
                </a:spcBef>
                <a:spcAft>
                  <a:spcPct val="0"/>
                </a:spcAft>
              </a:pPr>
              <a:r>
                <a:rPr lang="zh-CN" altLang="en-US" sz="1050" dirty="0">
                  <a:solidFill>
                    <a:schemeClr val="tx1">
                      <a:lumMod val="50000"/>
                      <a:lumOff val="50000"/>
                    </a:schemeClr>
                  </a:solidFill>
                  <a:cs typeface="+mn-ea"/>
                  <a:sym typeface="+mn-lt"/>
                </a:rPr>
                <a:t>此处添加详细文本描述，建议与标题相关并符合整体语言风格，语言描述尽量简洁生动。尽量</a:t>
              </a:r>
              <a:r>
                <a:rPr lang="zh-CN" altLang="en-US" sz="1050" dirty="0" smtClean="0">
                  <a:solidFill>
                    <a:schemeClr val="tx1">
                      <a:lumMod val="50000"/>
                      <a:lumOff val="50000"/>
                    </a:schemeClr>
                  </a:solidFill>
                  <a:cs typeface="+mn-ea"/>
                  <a:sym typeface="+mn-lt"/>
                </a:rPr>
                <a:t>将</a:t>
              </a:r>
              <a:endParaRPr lang="en-US" sz="1050" dirty="0">
                <a:solidFill>
                  <a:schemeClr val="tx1">
                    <a:lumMod val="50000"/>
                    <a:lumOff val="50000"/>
                  </a:schemeClr>
                </a:solidFill>
                <a:cs typeface="+mn-ea"/>
                <a:sym typeface="+mn-lt"/>
              </a:endParaRPr>
            </a:p>
          </p:txBody>
        </p:sp>
      </p:grpSp>
      <p:grpSp>
        <p:nvGrpSpPr>
          <p:cNvPr id="28" name="Group 13"/>
          <p:cNvGrpSpPr/>
          <p:nvPr/>
        </p:nvGrpSpPr>
        <p:grpSpPr bwMode="auto">
          <a:xfrm>
            <a:off x="7955089" y="4838586"/>
            <a:ext cx="464284" cy="463550"/>
            <a:chOff x="20" y="0"/>
            <a:chExt cx="584" cy="584"/>
          </a:xfrm>
        </p:grpSpPr>
        <p:sp>
          <p:nvSpPr>
            <p:cNvPr id="29" name="Oval 14"/>
            <p:cNvSpPr/>
            <p:nvPr/>
          </p:nvSpPr>
          <p:spPr bwMode="auto">
            <a:xfrm>
              <a:off x="20" y="0"/>
              <a:ext cx="584" cy="584"/>
            </a:xfrm>
            <a:prstGeom prst="ellipse">
              <a:avLst/>
            </a:prstGeom>
            <a:solidFill>
              <a:srgbClr val="82B864"/>
            </a:solidFill>
            <a:ln>
              <a:noFill/>
            </a:ln>
            <a:extLst>
              <a:ext uri="{91240B29-F687-4F45-9708-019B960494DF}">
                <a14:hiddenLine xmlns:a14="http://schemas.microsoft.com/office/drawing/2010/main" w="25400">
                  <a:solidFill>
                    <a:schemeClr val="tx1"/>
                  </a:solidFill>
                  <a:miter lim="800000"/>
                  <a:headEnd type="none" w="med" len="med"/>
                  <a:tailEnd type="none" w="med" len="med"/>
                </a14:hiddenLine>
              </a:ext>
            </a:extLst>
          </p:spPr>
          <p:txBody>
            <a:bodyPr lIns="0" tIns="0" rIns="0" bIns="0"/>
            <a:lstStyle/>
            <a:p>
              <a:pPr algn="ctr" fontAlgn="base">
                <a:spcBef>
                  <a:spcPct val="0"/>
                </a:spcBef>
                <a:spcAft>
                  <a:spcPct val="0"/>
                </a:spcAft>
                <a:defRPr/>
              </a:pPr>
              <a:endParaRPr lang="en-US" sz="2800" kern="0">
                <a:solidFill>
                  <a:srgbClr val="000000"/>
                </a:solidFill>
                <a:cs typeface="+mn-ea"/>
                <a:sym typeface="+mn-lt"/>
              </a:endParaRPr>
            </a:p>
          </p:txBody>
        </p:sp>
        <p:sp>
          <p:nvSpPr>
            <p:cNvPr id="30" name="Rectangle 15"/>
            <p:cNvSpPr/>
            <p:nvPr/>
          </p:nvSpPr>
          <p:spPr bwMode="auto">
            <a:xfrm>
              <a:off x="20" y="45"/>
              <a:ext cx="584" cy="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ctr"/>
            <a:lstStyle/>
            <a:p>
              <a:pPr algn="ctr" fontAlgn="base">
                <a:spcBef>
                  <a:spcPct val="0"/>
                </a:spcBef>
                <a:spcAft>
                  <a:spcPct val="0"/>
                </a:spcAft>
                <a:defRPr/>
              </a:pPr>
              <a:r>
                <a:rPr lang="en-US" sz="2100" kern="0" dirty="0">
                  <a:solidFill>
                    <a:srgbClr val="FFFFFF"/>
                  </a:solidFill>
                  <a:cs typeface="+mn-ea"/>
                  <a:sym typeface="+mn-lt"/>
                </a:rPr>
                <a:t>3</a:t>
              </a:r>
            </a:p>
          </p:txBody>
        </p:sp>
      </p:grpSp>
      <p:sp>
        <p:nvSpPr>
          <p:cNvPr id="31" name="Rectangle 59"/>
          <p:cNvSpPr/>
          <p:nvPr/>
        </p:nvSpPr>
        <p:spPr bwMode="auto">
          <a:xfrm>
            <a:off x="1377888" y="1196752"/>
            <a:ext cx="8975108" cy="2942188"/>
          </a:xfrm>
          <a:prstGeom prst="rect">
            <a:avLst/>
          </a:prstGeom>
          <a:blipFill>
            <a:blip r:embed="rId3"/>
            <a:srcRect/>
            <a:stretch>
              <a:fillRect/>
            </a:stretch>
          </a:blipFill>
          <a:ln w="25400" cap="flat" cmpd="sng" algn="ctr">
            <a:noFill/>
            <a:prstDash val="solid"/>
            <a:round/>
            <a:headEnd type="none" w="med" len="med"/>
            <a:tailEnd type="none" w="med" len="med"/>
          </a:ln>
          <a:effectLst/>
        </p:spPr>
        <p:txBody>
          <a:bodyPr vert="horz" wrap="square" lIns="121908" tIns="60954" rIns="121908" bIns="60954" numCol="1" rtlCol="0" anchor="t" anchorCtr="0" compatLnSpc="1"/>
          <a:lstStyle/>
          <a:p>
            <a:pPr defTabSz="1219200"/>
            <a:endParaRPr lang="en-US" sz="7500">
              <a:solidFill>
                <a:srgbClr val="FFFFFF"/>
              </a:solidFill>
              <a:cs typeface="+mn-ea"/>
              <a:sym typeface="+mn-lt"/>
            </a:endParaRP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barn(outVertical)">
                                      <p:cBhvr>
                                        <p:cTn id="7" dur="200"/>
                                        <p:tgtEl>
                                          <p:spTgt spid="3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200"/>
                                        <p:tgtEl>
                                          <p:spTgt spid="14"/>
                                        </p:tgtEl>
                                      </p:cBhvr>
                                    </p:animEffect>
                                  </p:childTnLst>
                                </p:cTn>
                              </p:par>
                              <p:par>
                                <p:cTn id="12" presetID="23" presetClass="entr" presetSubtype="16"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200" fill="hold"/>
                                        <p:tgtEl>
                                          <p:spTgt spid="11"/>
                                        </p:tgtEl>
                                        <p:attrNameLst>
                                          <p:attrName>ppt_w</p:attrName>
                                        </p:attrNameLst>
                                      </p:cBhvr>
                                      <p:tavLst>
                                        <p:tav tm="0">
                                          <p:val>
                                            <p:fltVal val="0"/>
                                          </p:val>
                                        </p:tav>
                                        <p:tav tm="100000">
                                          <p:val>
                                            <p:strVal val="#ppt_w"/>
                                          </p:val>
                                        </p:tav>
                                      </p:tavLst>
                                    </p:anim>
                                    <p:anim calcmode="lin" valueType="num">
                                      <p:cBhvr>
                                        <p:cTn id="15" dur="200" fill="hold"/>
                                        <p:tgtEl>
                                          <p:spTgt spid="11"/>
                                        </p:tgtEl>
                                        <p:attrNameLst>
                                          <p:attrName>ppt_h</p:attrName>
                                        </p:attrNameLst>
                                      </p:cBhvr>
                                      <p:tavLst>
                                        <p:tav tm="0">
                                          <p:val>
                                            <p:fltVal val="0"/>
                                          </p:val>
                                        </p:tav>
                                        <p:tav tm="100000">
                                          <p:val>
                                            <p:strVal val="#ppt_h"/>
                                          </p:val>
                                        </p:tav>
                                      </p:tavLst>
                                    </p:anim>
                                  </p:childTnLst>
                                </p:cTn>
                              </p:par>
                            </p:childTnLst>
                          </p:cTn>
                        </p:par>
                        <p:par>
                          <p:cTn id="16" fill="hold">
                            <p:stCondLst>
                              <p:cond delay="1000"/>
                            </p:stCondLst>
                            <p:childTnLst>
                              <p:par>
                                <p:cTn id="17" presetID="22" presetClass="entr" presetSubtype="8"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left)">
                                      <p:cBhvr>
                                        <p:cTn id="19" dur="200"/>
                                        <p:tgtEl>
                                          <p:spTgt spid="8"/>
                                        </p:tgtEl>
                                      </p:cBhvr>
                                    </p:animEffect>
                                  </p:childTnLst>
                                </p:cTn>
                              </p:par>
                              <p:par>
                                <p:cTn id="20" presetID="23" presetClass="entr" presetSubtype="16"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p:cTn id="22" dur="200" fill="hold"/>
                                        <p:tgtEl>
                                          <p:spTgt spid="22"/>
                                        </p:tgtEl>
                                        <p:attrNameLst>
                                          <p:attrName>ppt_w</p:attrName>
                                        </p:attrNameLst>
                                      </p:cBhvr>
                                      <p:tavLst>
                                        <p:tav tm="0">
                                          <p:val>
                                            <p:fltVal val="0"/>
                                          </p:val>
                                        </p:tav>
                                        <p:tav tm="100000">
                                          <p:val>
                                            <p:strVal val="#ppt_w"/>
                                          </p:val>
                                        </p:tav>
                                      </p:tavLst>
                                    </p:anim>
                                    <p:anim calcmode="lin" valueType="num">
                                      <p:cBhvr>
                                        <p:cTn id="23" dur="200" fill="hold"/>
                                        <p:tgtEl>
                                          <p:spTgt spid="22"/>
                                        </p:tgtEl>
                                        <p:attrNameLst>
                                          <p:attrName>ppt_h</p:attrName>
                                        </p:attrNameLst>
                                      </p:cBhvr>
                                      <p:tavLst>
                                        <p:tav tm="0">
                                          <p:val>
                                            <p:fltVal val="0"/>
                                          </p:val>
                                        </p:tav>
                                        <p:tav tm="100000">
                                          <p:val>
                                            <p:strVal val="#ppt_h"/>
                                          </p:val>
                                        </p:tav>
                                      </p:tavLst>
                                    </p:anim>
                                  </p:childTnLst>
                                </p:cTn>
                              </p:par>
                            </p:childTnLst>
                          </p:cTn>
                        </p:par>
                        <p:par>
                          <p:cTn id="24" fill="hold">
                            <p:stCondLst>
                              <p:cond delay="1500"/>
                            </p:stCondLst>
                            <p:childTnLst>
                              <p:par>
                                <p:cTn id="25" presetID="22" presetClass="entr" presetSubtype="8"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200"/>
                                        <p:tgtEl>
                                          <p:spTgt spid="19"/>
                                        </p:tgtEl>
                                      </p:cBhvr>
                                    </p:animEffect>
                                  </p:childTnLst>
                                </p:cTn>
                              </p:par>
                              <p:par>
                                <p:cTn id="28" presetID="23" presetClass="entr" presetSubtype="16"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 calcmode="lin" valueType="num">
                                      <p:cBhvr>
                                        <p:cTn id="30" dur="200" fill="hold"/>
                                        <p:tgtEl>
                                          <p:spTgt spid="28"/>
                                        </p:tgtEl>
                                        <p:attrNameLst>
                                          <p:attrName>ppt_w</p:attrName>
                                        </p:attrNameLst>
                                      </p:cBhvr>
                                      <p:tavLst>
                                        <p:tav tm="0">
                                          <p:val>
                                            <p:fltVal val="0"/>
                                          </p:val>
                                        </p:tav>
                                        <p:tav tm="100000">
                                          <p:val>
                                            <p:strVal val="#ppt_w"/>
                                          </p:val>
                                        </p:tav>
                                      </p:tavLst>
                                    </p:anim>
                                    <p:anim calcmode="lin" valueType="num">
                                      <p:cBhvr>
                                        <p:cTn id="31" dur="200" fill="hold"/>
                                        <p:tgtEl>
                                          <p:spTgt spid="28"/>
                                        </p:tgtEl>
                                        <p:attrNameLst>
                                          <p:attrName>ppt_h</p:attrName>
                                        </p:attrNameLst>
                                      </p:cBhvr>
                                      <p:tavLst>
                                        <p:tav tm="0">
                                          <p:val>
                                            <p:fltVal val="0"/>
                                          </p:val>
                                        </p:tav>
                                        <p:tav tm="100000">
                                          <p:val>
                                            <p:strVal val="#ppt_h"/>
                                          </p:val>
                                        </p:tav>
                                      </p:tavLst>
                                    </p:anim>
                                  </p:childTnLst>
                                </p:cTn>
                              </p:par>
                            </p:childTnLst>
                          </p:cTn>
                        </p:par>
                        <p:par>
                          <p:cTn id="32" fill="hold">
                            <p:stCondLst>
                              <p:cond delay="2000"/>
                            </p:stCondLst>
                            <p:childTnLst>
                              <p:par>
                                <p:cTn id="33" presetID="22" presetClass="entr" presetSubtype="8"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left)">
                                      <p:cBhvr>
                                        <p:cTn id="35" dur="2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 name="TextBox 2"/>
          <p:cNvSpPr txBox="1"/>
          <p:nvPr/>
        </p:nvSpPr>
        <p:spPr>
          <a:xfrm>
            <a:off x="549796" y="2348880"/>
            <a:ext cx="2687950" cy="492430"/>
          </a:xfrm>
          <a:prstGeom prst="rect">
            <a:avLst/>
          </a:prstGeom>
          <a:solidFill>
            <a:srgbClr val="82B864"/>
          </a:solidFill>
        </p:spPr>
        <p:txBody>
          <a:bodyPr wrap="square" lIns="121908" tIns="60954" rIns="121908" bIns="60954" rtlCol="0">
            <a:spAutoFit/>
          </a:bodyPr>
          <a:lstStyle/>
          <a:p>
            <a:pPr algn="ctr"/>
            <a:r>
              <a:rPr lang="zh-CN" altLang="en-US" sz="2400" b="1" dirty="0">
                <a:solidFill>
                  <a:schemeClr val="bg1"/>
                </a:solidFill>
                <a:cs typeface="+mn-ea"/>
                <a:sym typeface="+mn-lt"/>
              </a:rPr>
              <a:t>添加标题</a:t>
            </a:r>
          </a:p>
        </p:txBody>
      </p:sp>
      <p:sp>
        <p:nvSpPr>
          <p:cNvPr id="467" name="TextBox 3"/>
          <p:cNvSpPr txBox="1"/>
          <p:nvPr/>
        </p:nvSpPr>
        <p:spPr>
          <a:xfrm>
            <a:off x="558908" y="3139677"/>
            <a:ext cx="4178305" cy="3031587"/>
          </a:xfrm>
          <a:prstGeom prst="rect">
            <a:avLst/>
          </a:prstGeom>
          <a:noFill/>
        </p:spPr>
        <p:txBody>
          <a:bodyPr wrap="square" lIns="121908" tIns="60954" rIns="121908" bIns="60954" rtlCol="0">
            <a:spAutoFit/>
          </a:bodyPr>
          <a:lstStyle/>
          <a:p>
            <a:pPr>
              <a:lnSpc>
                <a:spcPct val="150000"/>
              </a:lnSpc>
            </a:pPr>
            <a:r>
              <a:rPr lang="zh-CN" altLang="en-US" sz="1400" dirty="0">
                <a:solidFill>
                  <a:schemeClr val="tx1">
                    <a:lumMod val="50000"/>
                    <a:lumOff val="50000"/>
                  </a:schemeClr>
                </a:solidFill>
                <a:cs typeface="+mn-ea"/>
                <a:sym typeface="+mn-lt"/>
              </a:rPr>
              <a:t>文字内容需概括精炼，建议与标题相关并符合整体语言风格，语言描述尽量简洁生动。</a:t>
            </a:r>
            <a:endParaRPr lang="en-US" altLang="zh-CN" sz="1400" dirty="0">
              <a:solidFill>
                <a:schemeClr val="tx1">
                  <a:lumMod val="50000"/>
                  <a:lumOff val="50000"/>
                </a:schemeClr>
              </a:solidFill>
              <a:cs typeface="+mn-ea"/>
              <a:sym typeface="+mn-lt"/>
            </a:endParaRPr>
          </a:p>
          <a:p>
            <a:pPr>
              <a:lnSpc>
                <a:spcPct val="150000"/>
              </a:lnSpc>
            </a:pPr>
            <a:r>
              <a:rPr lang="zh-CN" altLang="en-US" sz="1400" dirty="0">
                <a:solidFill>
                  <a:schemeClr val="tx1">
                    <a:lumMod val="50000"/>
                    <a:lumOff val="50000"/>
                  </a:schemeClr>
                </a:solidFill>
                <a:cs typeface="+mn-ea"/>
                <a:sym typeface="+mn-lt"/>
              </a:rPr>
              <a:t>文字内容需概括精炼，建议与标题相关并符合整体语言风格，语言描述尽量简洁生动。</a:t>
            </a:r>
          </a:p>
          <a:p>
            <a:pPr>
              <a:lnSpc>
                <a:spcPct val="150000"/>
              </a:lnSpc>
            </a:pPr>
            <a:r>
              <a:rPr lang="zh-CN" altLang="en-US" sz="1400" dirty="0">
                <a:solidFill>
                  <a:schemeClr val="tx1">
                    <a:lumMod val="50000"/>
                    <a:lumOff val="50000"/>
                  </a:schemeClr>
                </a:solidFill>
                <a:cs typeface="+mn-ea"/>
                <a:sym typeface="+mn-lt"/>
              </a:rPr>
              <a:t>文字内容需概括精炼，建议与标题相关并符合整体语言风格，语言描述尽量简洁生动。</a:t>
            </a:r>
          </a:p>
          <a:p>
            <a:pPr>
              <a:lnSpc>
                <a:spcPct val="150000"/>
              </a:lnSpc>
            </a:pPr>
            <a:r>
              <a:rPr lang="zh-CN" altLang="en-US" sz="1400" dirty="0">
                <a:solidFill>
                  <a:schemeClr val="tx1">
                    <a:lumMod val="50000"/>
                    <a:lumOff val="50000"/>
                  </a:schemeClr>
                </a:solidFill>
                <a:cs typeface="+mn-ea"/>
                <a:sym typeface="+mn-lt"/>
              </a:rPr>
              <a:t>文字内容需概括精炼，建议与标题相关并符合整体语言风格，语言描述尽量简洁生动。</a:t>
            </a:r>
          </a:p>
          <a:p>
            <a:pPr>
              <a:lnSpc>
                <a:spcPct val="150000"/>
              </a:lnSpc>
            </a:pPr>
            <a:endParaRPr lang="zh-CN" altLang="en-US" sz="1400" dirty="0">
              <a:solidFill>
                <a:schemeClr val="tx1">
                  <a:lumMod val="50000"/>
                  <a:lumOff val="50000"/>
                </a:schemeClr>
              </a:solidFill>
              <a:cs typeface="+mn-ea"/>
              <a:sym typeface="+mn-lt"/>
            </a:endParaRPr>
          </a:p>
        </p:txBody>
      </p:sp>
      <p:cxnSp>
        <p:nvCxnSpPr>
          <p:cNvPr id="468" name="直接连接符 467"/>
          <p:cNvCxnSpPr/>
          <p:nvPr/>
        </p:nvCxnSpPr>
        <p:spPr>
          <a:xfrm>
            <a:off x="5453883" y="5133189"/>
            <a:ext cx="4991905" cy="0"/>
          </a:xfrm>
          <a:prstGeom prst="line">
            <a:avLst/>
          </a:prstGeom>
          <a:ln w="28575">
            <a:solidFill>
              <a:srgbClr val="800080"/>
            </a:solidFill>
          </a:ln>
        </p:spPr>
        <p:style>
          <a:lnRef idx="1">
            <a:schemeClr val="accent1"/>
          </a:lnRef>
          <a:fillRef idx="0">
            <a:schemeClr val="accent1"/>
          </a:fillRef>
          <a:effectRef idx="0">
            <a:schemeClr val="accent1"/>
          </a:effectRef>
          <a:fontRef idx="minor">
            <a:schemeClr val="tx1"/>
          </a:fontRef>
        </p:style>
      </p:cxnSp>
      <p:sp>
        <p:nvSpPr>
          <p:cNvPr id="469" name="TextBox 16"/>
          <p:cNvSpPr txBox="1"/>
          <p:nvPr/>
        </p:nvSpPr>
        <p:spPr>
          <a:xfrm>
            <a:off x="5951815" y="5145627"/>
            <a:ext cx="4067806" cy="731342"/>
          </a:xfrm>
          <a:prstGeom prst="rect">
            <a:avLst/>
          </a:prstGeom>
          <a:noFill/>
        </p:spPr>
        <p:txBody>
          <a:bodyPr wrap="square" lIns="121908" tIns="60954" rIns="121908" bIns="60954" rtlCol="0">
            <a:spAutoFit/>
          </a:bodyPr>
          <a:lstStyle/>
          <a:p>
            <a:pPr algn="ctr">
              <a:lnSpc>
                <a:spcPct val="150000"/>
              </a:lnSpc>
            </a:pPr>
            <a:r>
              <a:rPr lang="zh-CN" altLang="en-US" sz="1400" dirty="0">
                <a:solidFill>
                  <a:schemeClr val="tx1">
                    <a:lumMod val="50000"/>
                    <a:lumOff val="50000"/>
                  </a:schemeClr>
                </a:solidFill>
                <a:cs typeface="+mn-ea"/>
                <a:sym typeface="+mn-lt"/>
              </a:rPr>
              <a:t>文字内容需概括精炼，建议与标题相关并符合整体语言风格，语言描述尽量简洁生动。</a:t>
            </a:r>
          </a:p>
        </p:txBody>
      </p:sp>
      <p:grpSp>
        <p:nvGrpSpPr>
          <p:cNvPr id="470" name="组合 469"/>
          <p:cNvGrpSpPr/>
          <p:nvPr/>
        </p:nvGrpSpPr>
        <p:grpSpPr>
          <a:xfrm>
            <a:off x="5741877" y="2115888"/>
            <a:ext cx="1373749" cy="1373928"/>
            <a:chOff x="4499992" y="1172870"/>
            <a:chExt cx="1030446" cy="1030446"/>
          </a:xfrm>
          <a:solidFill>
            <a:srgbClr val="82B864"/>
          </a:solidFill>
        </p:grpSpPr>
        <p:sp>
          <p:nvSpPr>
            <p:cNvPr id="471" name="矩形 470"/>
            <p:cNvSpPr/>
            <p:nvPr/>
          </p:nvSpPr>
          <p:spPr>
            <a:xfrm>
              <a:off x="4499992" y="1172870"/>
              <a:ext cx="1030446" cy="1030446"/>
            </a:xfrm>
            <a:prstGeom prst="rect">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cs typeface="+mn-ea"/>
                <a:sym typeface="+mn-lt"/>
              </a:endParaRPr>
            </a:p>
          </p:txBody>
        </p:sp>
        <p:sp>
          <p:nvSpPr>
            <p:cNvPr id="472" name="矩形 471"/>
            <p:cNvSpPr/>
            <p:nvPr/>
          </p:nvSpPr>
          <p:spPr>
            <a:xfrm>
              <a:off x="4753572" y="1388894"/>
              <a:ext cx="523288" cy="530915"/>
            </a:xfrm>
            <a:prstGeom prst="rect">
              <a:avLst/>
            </a:prstGeom>
            <a:grpFill/>
          </p:spPr>
          <p:txBody>
            <a:bodyPr wrap="none">
              <a:spAutoFit/>
            </a:bodyPr>
            <a:lstStyle/>
            <a:p>
              <a:pPr algn="ctr"/>
              <a:r>
                <a:rPr lang="zh-CN" altLang="en-US" sz="2000" b="1" dirty="0">
                  <a:solidFill>
                    <a:schemeClr val="bg1"/>
                  </a:solidFill>
                  <a:cs typeface="+mn-ea"/>
                  <a:sym typeface="+mn-lt"/>
                </a:rPr>
                <a:t>添加</a:t>
              </a:r>
              <a:endParaRPr lang="en-US" altLang="zh-CN" sz="2000" b="1" dirty="0">
                <a:solidFill>
                  <a:schemeClr val="bg1"/>
                </a:solidFill>
                <a:cs typeface="+mn-ea"/>
                <a:sym typeface="+mn-lt"/>
              </a:endParaRPr>
            </a:p>
            <a:p>
              <a:pPr algn="ctr"/>
              <a:r>
                <a:rPr lang="zh-CN" altLang="en-US" sz="2000" b="1" dirty="0">
                  <a:solidFill>
                    <a:schemeClr val="bg1"/>
                  </a:solidFill>
                  <a:cs typeface="+mn-ea"/>
                  <a:sym typeface="+mn-lt"/>
                </a:rPr>
                <a:t>文字</a:t>
              </a:r>
            </a:p>
          </p:txBody>
        </p:sp>
      </p:grpSp>
      <p:grpSp>
        <p:nvGrpSpPr>
          <p:cNvPr id="473" name="组合 472"/>
          <p:cNvGrpSpPr/>
          <p:nvPr/>
        </p:nvGrpSpPr>
        <p:grpSpPr>
          <a:xfrm>
            <a:off x="8834815" y="2115888"/>
            <a:ext cx="1373749" cy="1373928"/>
            <a:chOff x="6819997" y="1172870"/>
            <a:chExt cx="1030446" cy="1030446"/>
          </a:xfrm>
        </p:grpSpPr>
        <p:sp>
          <p:nvSpPr>
            <p:cNvPr id="474" name="矩形 473"/>
            <p:cNvSpPr/>
            <p:nvPr/>
          </p:nvSpPr>
          <p:spPr>
            <a:xfrm>
              <a:off x="6819997" y="1172870"/>
              <a:ext cx="1030446" cy="1030446"/>
            </a:xfrm>
            <a:prstGeom prst="rect">
              <a:avLst/>
            </a:prstGeom>
            <a:solidFill>
              <a:srgbClr val="82B86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cs typeface="+mn-ea"/>
                <a:sym typeface="+mn-lt"/>
              </a:endParaRPr>
            </a:p>
          </p:txBody>
        </p:sp>
        <p:sp>
          <p:nvSpPr>
            <p:cNvPr id="475" name="矩形 474"/>
            <p:cNvSpPr/>
            <p:nvPr/>
          </p:nvSpPr>
          <p:spPr>
            <a:xfrm>
              <a:off x="7073574" y="1334150"/>
              <a:ext cx="523288" cy="530915"/>
            </a:xfrm>
            <a:prstGeom prst="rect">
              <a:avLst/>
            </a:prstGeom>
          </p:spPr>
          <p:txBody>
            <a:bodyPr wrap="none">
              <a:spAutoFit/>
            </a:bodyPr>
            <a:lstStyle/>
            <a:p>
              <a:pPr algn="ctr"/>
              <a:r>
                <a:rPr lang="zh-CN" altLang="en-US" sz="2000" b="1" dirty="0">
                  <a:solidFill>
                    <a:schemeClr val="bg1"/>
                  </a:solidFill>
                  <a:cs typeface="+mn-ea"/>
                  <a:sym typeface="+mn-lt"/>
                </a:rPr>
                <a:t>添加</a:t>
              </a:r>
              <a:endParaRPr lang="en-US" altLang="zh-CN" sz="2000" b="1" dirty="0">
                <a:solidFill>
                  <a:schemeClr val="bg1"/>
                </a:solidFill>
                <a:cs typeface="+mn-ea"/>
                <a:sym typeface="+mn-lt"/>
              </a:endParaRPr>
            </a:p>
            <a:p>
              <a:pPr algn="ctr"/>
              <a:r>
                <a:rPr lang="zh-CN" altLang="en-US" sz="2000" b="1" dirty="0">
                  <a:solidFill>
                    <a:schemeClr val="bg1"/>
                  </a:solidFill>
                  <a:cs typeface="+mn-ea"/>
                  <a:sym typeface="+mn-lt"/>
                </a:rPr>
                <a:t>文字</a:t>
              </a:r>
            </a:p>
          </p:txBody>
        </p:sp>
      </p:grpSp>
      <p:grpSp>
        <p:nvGrpSpPr>
          <p:cNvPr id="476" name="组合 475"/>
          <p:cNvGrpSpPr/>
          <p:nvPr/>
        </p:nvGrpSpPr>
        <p:grpSpPr>
          <a:xfrm>
            <a:off x="7298844" y="3591485"/>
            <a:ext cx="1373749" cy="1373928"/>
            <a:chOff x="5667869" y="2279568"/>
            <a:chExt cx="1030446" cy="1030446"/>
          </a:xfrm>
        </p:grpSpPr>
        <p:sp>
          <p:nvSpPr>
            <p:cNvPr id="477" name="矩形 476"/>
            <p:cNvSpPr/>
            <p:nvPr/>
          </p:nvSpPr>
          <p:spPr>
            <a:xfrm>
              <a:off x="5667869" y="2279568"/>
              <a:ext cx="1030446" cy="1030446"/>
            </a:xfrm>
            <a:prstGeom prst="rect">
              <a:avLst/>
            </a:prstGeom>
            <a:solidFill>
              <a:srgbClr val="82B86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cs typeface="+mn-ea"/>
                <a:sym typeface="+mn-lt"/>
              </a:endParaRPr>
            </a:p>
          </p:txBody>
        </p:sp>
        <p:sp>
          <p:nvSpPr>
            <p:cNvPr id="478" name="矩形 477"/>
            <p:cNvSpPr/>
            <p:nvPr/>
          </p:nvSpPr>
          <p:spPr>
            <a:xfrm>
              <a:off x="5921446" y="2440848"/>
              <a:ext cx="523288" cy="530915"/>
            </a:xfrm>
            <a:prstGeom prst="rect">
              <a:avLst/>
            </a:prstGeom>
          </p:spPr>
          <p:txBody>
            <a:bodyPr wrap="none">
              <a:spAutoFit/>
            </a:bodyPr>
            <a:lstStyle/>
            <a:p>
              <a:pPr algn="ctr"/>
              <a:r>
                <a:rPr lang="zh-CN" altLang="en-US" sz="2000" b="1" dirty="0">
                  <a:solidFill>
                    <a:schemeClr val="bg1"/>
                  </a:solidFill>
                  <a:cs typeface="+mn-ea"/>
                  <a:sym typeface="+mn-lt"/>
                </a:rPr>
                <a:t>添加</a:t>
              </a:r>
              <a:endParaRPr lang="en-US" altLang="zh-CN" sz="2000" b="1" dirty="0">
                <a:solidFill>
                  <a:schemeClr val="bg1"/>
                </a:solidFill>
                <a:cs typeface="+mn-ea"/>
                <a:sym typeface="+mn-lt"/>
              </a:endParaRPr>
            </a:p>
            <a:p>
              <a:pPr algn="ctr"/>
              <a:r>
                <a:rPr lang="zh-CN" altLang="en-US" sz="2000" b="1" dirty="0">
                  <a:solidFill>
                    <a:schemeClr val="bg1"/>
                  </a:solidFill>
                  <a:cs typeface="+mn-ea"/>
                  <a:sym typeface="+mn-lt"/>
                </a:rPr>
                <a:t>文字</a:t>
              </a:r>
            </a:p>
          </p:txBody>
        </p:sp>
      </p:grpSp>
      <p:grpSp>
        <p:nvGrpSpPr>
          <p:cNvPr id="479" name="组合 478"/>
          <p:cNvGrpSpPr/>
          <p:nvPr/>
        </p:nvGrpSpPr>
        <p:grpSpPr>
          <a:xfrm>
            <a:off x="5741877" y="3591485"/>
            <a:ext cx="1373749" cy="1373928"/>
            <a:chOff x="4499992" y="2279568"/>
            <a:chExt cx="1030446" cy="1030446"/>
          </a:xfrm>
        </p:grpSpPr>
        <p:sp>
          <p:nvSpPr>
            <p:cNvPr id="480" name="矩形 479"/>
            <p:cNvSpPr/>
            <p:nvPr/>
          </p:nvSpPr>
          <p:spPr>
            <a:xfrm>
              <a:off x="4499992" y="2279568"/>
              <a:ext cx="1030446" cy="1030446"/>
            </a:xfrm>
            <a:prstGeom prst="rect">
              <a:avLst/>
            </a:prstGeom>
            <a:solidFill>
              <a:srgbClr val="A3CB8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481" name="组合 480"/>
            <p:cNvGrpSpPr/>
            <p:nvPr/>
          </p:nvGrpSpPr>
          <p:grpSpPr>
            <a:xfrm>
              <a:off x="4745340" y="2608983"/>
              <a:ext cx="539750" cy="539751"/>
              <a:chOff x="568325" y="5842000"/>
              <a:chExt cx="539750" cy="539751"/>
            </a:xfrm>
          </p:grpSpPr>
          <p:sp>
            <p:nvSpPr>
              <p:cNvPr id="482" name="Freeform 7"/>
              <p:cNvSpPr/>
              <p:nvPr/>
            </p:nvSpPr>
            <p:spPr bwMode="auto">
              <a:xfrm>
                <a:off x="568325" y="6180138"/>
                <a:ext cx="539750" cy="66675"/>
              </a:xfrm>
              <a:custGeom>
                <a:avLst/>
                <a:gdLst>
                  <a:gd name="T0" fmla="*/ 0 w 192"/>
                  <a:gd name="T1" fmla="*/ 12 h 24"/>
                  <a:gd name="T2" fmla="*/ 13 w 192"/>
                  <a:gd name="T3" fmla="*/ 24 h 24"/>
                  <a:gd name="T4" fmla="*/ 80 w 192"/>
                  <a:gd name="T5" fmla="*/ 24 h 24"/>
                  <a:gd name="T6" fmla="*/ 88 w 192"/>
                  <a:gd name="T7" fmla="*/ 24 h 24"/>
                  <a:gd name="T8" fmla="*/ 104 w 192"/>
                  <a:gd name="T9" fmla="*/ 24 h 24"/>
                  <a:gd name="T10" fmla="*/ 112 w 192"/>
                  <a:gd name="T11" fmla="*/ 24 h 24"/>
                  <a:gd name="T12" fmla="*/ 181 w 192"/>
                  <a:gd name="T13" fmla="*/ 24 h 24"/>
                  <a:gd name="T14" fmla="*/ 192 w 192"/>
                  <a:gd name="T15" fmla="*/ 12 h 24"/>
                  <a:gd name="T16" fmla="*/ 192 w 192"/>
                  <a:gd name="T17" fmla="*/ 0 h 24"/>
                  <a:gd name="T18" fmla="*/ 0 w 192"/>
                  <a:gd name="T19" fmla="*/ 0 h 24"/>
                  <a:gd name="T20" fmla="*/ 0 w 192"/>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4">
                    <a:moveTo>
                      <a:pt x="0" y="12"/>
                    </a:moveTo>
                    <a:cubicBezTo>
                      <a:pt x="0" y="19"/>
                      <a:pt x="6" y="24"/>
                      <a:pt x="13" y="24"/>
                    </a:cubicBezTo>
                    <a:cubicBezTo>
                      <a:pt x="80" y="24"/>
                      <a:pt x="80" y="24"/>
                      <a:pt x="80" y="24"/>
                    </a:cubicBezTo>
                    <a:cubicBezTo>
                      <a:pt x="88" y="24"/>
                      <a:pt x="88" y="24"/>
                      <a:pt x="88" y="24"/>
                    </a:cubicBezTo>
                    <a:cubicBezTo>
                      <a:pt x="104" y="24"/>
                      <a:pt x="104" y="24"/>
                      <a:pt x="104" y="24"/>
                    </a:cubicBezTo>
                    <a:cubicBezTo>
                      <a:pt x="112" y="24"/>
                      <a:pt x="112" y="24"/>
                      <a:pt x="112" y="24"/>
                    </a:cubicBezTo>
                    <a:cubicBezTo>
                      <a:pt x="181" y="24"/>
                      <a:pt x="181" y="24"/>
                      <a:pt x="181" y="24"/>
                    </a:cubicBezTo>
                    <a:cubicBezTo>
                      <a:pt x="187" y="24"/>
                      <a:pt x="192" y="18"/>
                      <a:pt x="192" y="12"/>
                    </a:cubicBezTo>
                    <a:cubicBezTo>
                      <a:pt x="192" y="0"/>
                      <a:pt x="192" y="0"/>
                      <a:pt x="192" y="0"/>
                    </a:cubicBezTo>
                    <a:cubicBezTo>
                      <a:pt x="0" y="0"/>
                      <a:pt x="0" y="0"/>
                      <a:pt x="0" y="0"/>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83" name="Freeform 8"/>
              <p:cNvSpPr/>
              <p:nvPr/>
            </p:nvSpPr>
            <p:spPr bwMode="auto">
              <a:xfrm>
                <a:off x="568325" y="5842000"/>
                <a:ext cx="539750" cy="315913"/>
              </a:xfrm>
              <a:custGeom>
                <a:avLst/>
                <a:gdLst>
                  <a:gd name="T0" fmla="*/ 180 w 192"/>
                  <a:gd name="T1" fmla="*/ 0 h 112"/>
                  <a:gd name="T2" fmla="*/ 12 w 192"/>
                  <a:gd name="T3" fmla="*/ 0 h 112"/>
                  <a:gd name="T4" fmla="*/ 0 w 192"/>
                  <a:gd name="T5" fmla="*/ 12 h 112"/>
                  <a:gd name="T6" fmla="*/ 0 w 192"/>
                  <a:gd name="T7" fmla="*/ 112 h 112"/>
                  <a:gd name="T8" fmla="*/ 192 w 192"/>
                  <a:gd name="T9" fmla="*/ 112 h 112"/>
                  <a:gd name="T10" fmla="*/ 192 w 192"/>
                  <a:gd name="T11" fmla="*/ 12 h 112"/>
                  <a:gd name="T12" fmla="*/ 180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80" y="0"/>
                    </a:moveTo>
                    <a:cubicBezTo>
                      <a:pt x="12" y="0"/>
                      <a:pt x="12" y="0"/>
                      <a:pt x="12" y="0"/>
                    </a:cubicBezTo>
                    <a:cubicBezTo>
                      <a:pt x="6" y="0"/>
                      <a:pt x="0" y="5"/>
                      <a:pt x="0" y="12"/>
                    </a:cubicBezTo>
                    <a:cubicBezTo>
                      <a:pt x="0" y="112"/>
                      <a:pt x="0" y="112"/>
                      <a:pt x="0" y="112"/>
                    </a:cubicBezTo>
                    <a:cubicBezTo>
                      <a:pt x="192" y="112"/>
                      <a:pt x="192" y="112"/>
                      <a:pt x="192" y="112"/>
                    </a:cubicBezTo>
                    <a:cubicBezTo>
                      <a:pt x="192" y="12"/>
                      <a:pt x="192" y="12"/>
                      <a:pt x="192" y="12"/>
                    </a:cubicBezTo>
                    <a:cubicBezTo>
                      <a:pt x="192" y="5"/>
                      <a:pt x="187" y="0"/>
                      <a:pt x="18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84" name="Freeform 9"/>
              <p:cNvSpPr/>
              <p:nvPr/>
            </p:nvSpPr>
            <p:spPr bwMode="auto">
              <a:xfrm>
                <a:off x="725488" y="6269038"/>
                <a:ext cx="225425" cy="112713"/>
              </a:xfrm>
              <a:custGeom>
                <a:avLst/>
                <a:gdLst>
                  <a:gd name="T0" fmla="*/ 56 w 80"/>
                  <a:gd name="T1" fmla="*/ 2 h 40"/>
                  <a:gd name="T2" fmla="*/ 56 w 80"/>
                  <a:gd name="T3" fmla="*/ 2 h 40"/>
                  <a:gd name="T4" fmla="*/ 56 w 80"/>
                  <a:gd name="T5" fmla="*/ 0 h 40"/>
                  <a:gd name="T6" fmla="*/ 48 w 80"/>
                  <a:gd name="T7" fmla="*/ 0 h 40"/>
                  <a:gd name="T8" fmla="*/ 32 w 80"/>
                  <a:gd name="T9" fmla="*/ 0 h 40"/>
                  <a:gd name="T10" fmla="*/ 24 w 80"/>
                  <a:gd name="T11" fmla="*/ 0 h 40"/>
                  <a:gd name="T12" fmla="*/ 24 w 80"/>
                  <a:gd name="T13" fmla="*/ 1 h 40"/>
                  <a:gd name="T14" fmla="*/ 24 w 80"/>
                  <a:gd name="T15" fmla="*/ 1 h 40"/>
                  <a:gd name="T16" fmla="*/ 0 w 80"/>
                  <a:gd name="T17" fmla="*/ 20 h 40"/>
                  <a:gd name="T18" fmla="*/ 13 w 80"/>
                  <a:gd name="T19" fmla="*/ 35 h 40"/>
                  <a:gd name="T20" fmla="*/ 40 w 80"/>
                  <a:gd name="T21" fmla="*/ 40 h 40"/>
                  <a:gd name="T22" fmla="*/ 80 w 80"/>
                  <a:gd name="T23" fmla="*/ 20 h 40"/>
                  <a:gd name="T24" fmla="*/ 80 w 80"/>
                  <a:gd name="T25" fmla="*/ 20 h 40"/>
                  <a:gd name="T26" fmla="*/ 80 w 80"/>
                  <a:gd name="T27" fmla="*/ 20 h 40"/>
                  <a:gd name="T28" fmla="*/ 80 w 80"/>
                  <a:gd name="T29" fmla="*/ 20 h 40"/>
                  <a:gd name="T30" fmla="*/ 80 w 80"/>
                  <a:gd name="T31" fmla="*/ 20 h 40"/>
                  <a:gd name="T32" fmla="*/ 56 w 80"/>
                  <a:gd name="T3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0">
                    <a:moveTo>
                      <a:pt x="56" y="2"/>
                    </a:moveTo>
                    <a:cubicBezTo>
                      <a:pt x="56" y="2"/>
                      <a:pt x="56" y="2"/>
                      <a:pt x="56" y="2"/>
                    </a:cubicBezTo>
                    <a:cubicBezTo>
                      <a:pt x="56" y="0"/>
                      <a:pt x="56" y="0"/>
                      <a:pt x="56" y="0"/>
                    </a:cubicBezTo>
                    <a:cubicBezTo>
                      <a:pt x="48" y="0"/>
                      <a:pt x="48" y="0"/>
                      <a:pt x="48" y="0"/>
                    </a:cubicBezTo>
                    <a:cubicBezTo>
                      <a:pt x="32" y="0"/>
                      <a:pt x="32" y="0"/>
                      <a:pt x="32" y="0"/>
                    </a:cubicBezTo>
                    <a:cubicBezTo>
                      <a:pt x="24" y="0"/>
                      <a:pt x="24" y="0"/>
                      <a:pt x="24" y="0"/>
                    </a:cubicBezTo>
                    <a:cubicBezTo>
                      <a:pt x="24" y="1"/>
                      <a:pt x="24" y="1"/>
                      <a:pt x="24" y="1"/>
                    </a:cubicBezTo>
                    <a:cubicBezTo>
                      <a:pt x="24" y="1"/>
                      <a:pt x="24" y="1"/>
                      <a:pt x="24" y="1"/>
                    </a:cubicBezTo>
                    <a:cubicBezTo>
                      <a:pt x="9" y="5"/>
                      <a:pt x="0" y="11"/>
                      <a:pt x="0" y="20"/>
                    </a:cubicBezTo>
                    <a:cubicBezTo>
                      <a:pt x="0" y="26"/>
                      <a:pt x="5" y="31"/>
                      <a:pt x="13" y="35"/>
                    </a:cubicBezTo>
                    <a:cubicBezTo>
                      <a:pt x="20" y="38"/>
                      <a:pt x="30" y="40"/>
                      <a:pt x="40" y="40"/>
                    </a:cubicBezTo>
                    <a:cubicBezTo>
                      <a:pt x="63" y="40"/>
                      <a:pt x="80" y="31"/>
                      <a:pt x="80" y="20"/>
                    </a:cubicBezTo>
                    <a:cubicBezTo>
                      <a:pt x="80" y="20"/>
                      <a:pt x="80" y="20"/>
                      <a:pt x="80" y="20"/>
                    </a:cubicBezTo>
                    <a:cubicBezTo>
                      <a:pt x="80" y="20"/>
                      <a:pt x="80" y="20"/>
                      <a:pt x="80" y="20"/>
                    </a:cubicBezTo>
                    <a:cubicBezTo>
                      <a:pt x="80" y="20"/>
                      <a:pt x="80" y="20"/>
                      <a:pt x="80" y="20"/>
                    </a:cubicBezTo>
                    <a:cubicBezTo>
                      <a:pt x="80" y="20"/>
                      <a:pt x="80" y="20"/>
                      <a:pt x="80" y="20"/>
                    </a:cubicBezTo>
                    <a:cubicBezTo>
                      <a:pt x="80" y="11"/>
                      <a:pt x="71" y="5"/>
                      <a:pt x="56"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grpSp>
        <p:nvGrpSpPr>
          <p:cNvPr id="485" name="组合 484"/>
          <p:cNvGrpSpPr/>
          <p:nvPr/>
        </p:nvGrpSpPr>
        <p:grpSpPr>
          <a:xfrm>
            <a:off x="8834815" y="3591485"/>
            <a:ext cx="1373749" cy="1373928"/>
            <a:chOff x="6819997" y="2279568"/>
            <a:chExt cx="1030446" cy="1030446"/>
          </a:xfrm>
        </p:grpSpPr>
        <p:sp>
          <p:nvSpPr>
            <p:cNvPr id="486" name="矩形 485"/>
            <p:cNvSpPr/>
            <p:nvPr/>
          </p:nvSpPr>
          <p:spPr>
            <a:xfrm>
              <a:off x="6819997" y="2279568"/>
              <a:ext cx="1030446" cy="1030446"/>
            </a:xfrm>
            <a:prstGeom prst="rect">
              <a:avLst/>
            </a:prstGeom>
            <a:solidFill>
              <a:srgbClr val="A3CB8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87" name="Freeform 11"/>
            <p:cNvSpPr>
              <a:spLocks noEditPoints="1"/>
            </p:cNvSpPr>
            <p:nvPr/>
          </p:nvSpPr>
          <p:spPr bwMode="auto">
            <a:xfrm>
              <a:off x="7065345" y="2664659"/>
              <a:ext cx="539750" cy="404813"/>
            </a:xfrm>
            <a:custGeom>
              <a:avLst/>
              <a:gdLst>
                <a:gd name="T0" fmla="*/ 180 w 192"/>
                <a:gd name="T1" fmla="*/ 0 h 144"/>
                <a:gd name="T2" fmla="*/ 12 w 192"/>
                <a:gd name="T3" fmla="*/ 0 h 144"/>
                <a:gd name="T4" fmla="*/ 0 w 192"/>
                <a:gd name="T5" fmla="*/ 12 h 144"/>
                <a:gd name="T6" fmla="*/ 0 w 192"/>
                <a:gd name="T7" fmla="*/ 116 h 144"/>
                <a:gd name="T8" fmla="*/ 13 w 192"/>
                <a:gd name="T9" fmla="*/ 128 h 144"/>
                <a:gd name="T10" fmla="*/ 78 w 192"/>
                <a:gd name="T11" fmla="*/ 128 h 144"/>
                <a:gd name="T12" fmla="*/ 73 w 192"/>
                <a:gd name="T13" fmla="*/ 138 h 144"/>
                <a:gd name="T14" fmla="*/ 74 w 192"/>
                <a:gd name="T15" fmla="*/ 143 h 144"/>
                <a:gd name="T16" fmla="*/ 76 w 192"/>
                <a:gd name="T17" fmla="*/ 144 h 144"/>
                <a:gd name="T18" fmla="*/ 80 w 192"/>
                <a:gd name="T19" fmla="*/ 142 h 144"/>
                <a:gd name="T20" fmla="*/ 87 w 192"/>
                <a:gd name="T21" fmla="*/ 128 h 144"/>
                <a:gd name="T22" fmla="*/ 106 w 192"/>
                <a:gd name="T23" fmla="*/ 128 h 144"/>
                <a:gd name="T24" fmla="*/ 113 w 192"/>
                <a:gd name="T25" fmla="*/ 142 h 144"/>
                <a:gd name="T26" fmla="*/ 116 w 192"/>
                <a:gd name="T27" fmla="*/ 144 h 144"/>
                <a:gd name="T28" fmla="*/ 118 w 192"/>
                <a:gd name="T29" fmla="*/ 143 h 144"/>
                <a:gd name="T30" fmla="*/ 120 w 192"/>
                <a:gd name="T31" fmla="*/ 138 h 144"/>
                <a:gd name="T32" fmla="*/ 115 w 192"/>
                <a:gd name="T33" fmla="*/ 128 h 144"/>
                <a:gd name="T34" fmla="*/ 181 w 192"/>
                <a:gd name="T35" fmla="*/ 128 h 144"/>
                <a:gd name="T36" fmla="*/ 192 w 192"/>
                <a:gd name="T37" fmla="*/ 116 h 144"/>
                <a:gd name="T38" fmla="*/ 192 w 192"/>
                <a:gd name="T39" fmla="*/ 12 h 144"/>
                <a:gd name="T40" fmla="*/ 180 w 192"/>
                <a:gd name="T41" fmla="*/ 0 h 144"/>
                <a:gd name="T42" fmla="*/ 176 w 192"/>
                <a:gd name="T43" fmla="*/ 108 h 144"/>
                <a:gd name="T44" fmla="*/ 172 w 192"/>
                <a:gd name="T45" fmla="*/ 112 h 144"/>
                <a:gd name="T46" fmla="*/ 20 w 192"/>
                <a:gd name="T47" fmla="*/ 112 h 144"/>
                <a:gd name="T48" fmla="*/ 16 w 192"/>
                <a:gd name="T49" fmla="*/ 108 h 144"/>
                <a:gd name="T50" fmla="*/ 16 w 192"/>
                <a:gd name="T51" fmla="*/ 20 h 144"/>
                <a:gd name="T52" fmla="*/ 20 w 192"/>
                <a:gd name="T53" fmla="*/ 16 h 144"/>
                <a:gd name="T54" fmla="*/ 172 w 192"/>
                <a:gd name="T55" fmla="*/ 16 h 144"/>
                <a:gd name="T56" fmla="*/ 176 w 192"/>
                <a:gd name="T57" fmla="*/ 20 h 144"/>
                <a:gd name="T58" fmla="*/ 176 w 192"/>
                <a:gd name="T59"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 h="144">
                  <a:moveTo>
                    <a:pt x="180" y="0"/>
                  </a:moveTo>
                  <a:cubicBezTo>
                    <a:pt x="12" y="0"/>
                    <a:pt x="12" y="0"/>
                    <a:pt x="12" y="0"/>
                  </a:cubicBezTo>
                  <a:cubicBezTo>
                    <a:pt x="6" y="0"/>
                    <a:pt x="0" y="5"/>
                    <a:pt x="0" y="12"/>
                  </a:cubicBezTo>
                  <a:cubicBezTo>
                    <a:pt x="0" y="116"/>
                    <a:pt x="0" y="116"/>
                    <a:pt x="0" y="116"/>
                  </a:cubicBezTo>
                  <a:cubicBezTo>
                    <a:pt x="0" y="123"/>
                    <a:pt x="6" y="128"/>
                    <a:pt x="13" y="128"/>
                  </a:cubicBezTo>
                  <a:cubicBezTo>
                    <a:pt x="78" y="128"/>
                    <a:pt x="78" y="128"/>
                    <a:pt x="78" y="128"/>
                  </a:cubicBezTo>
                  <a:cubicBezTo>
                    <a:pt x="73" y="138"/>
                    <a:pt x="73" y="138"/>
                    <a:pt x="73" y="138"/>
                  </a:cubicBezTo>
                  <a:cubicBezTo>
                    <a:pt x="72" y="140"/>
                    <a:pt x="72" y="142"/>
                    <a:pt x="74" y="143"/>
                  </a:cubicBezTo>
                  <a:cubicBezTo>
                    <a:pt x="75" y="144"/>
                    <a:pt x="76" y="144"/>
                    <a:pt x="76" y="144"/>
                  </a:cubicBezTo>
                  <a:cubicBezTo>
                    <a:pt x="78" y="144"/>
                    <a:pt x="79" y="143"/>
                    <a:pt x="80" y="142"/>
                  </a:cubicBezTo>
                  <a:cubicBezTo>
                    <a:pt x="87" y="128"/>
                    <a:pt x="87" y="128"/>
                    <a:pt x="87" y="128"/>
                  </a:cubicBezTo>
                  <a:cubicBezTo>
                    <a:pt x="106" y="128"/>
                    <a:pt x="106" y="128"/>
                    <a:pt x="106" y="128"/>
                  </a:cubicBezTo>
                  <a:cubicBezTo>
                    <a:pt x="113" y="142"/>
                    <a:pt x="113" y="142"/>
                    <a:pt x="113" y="142"/>
                  </a:cubicBezTo>
                  <a:cubicBezTo>
                    <a:pt x="113" y="143"/>
                    <a:pt x="115" y="144"/>
                    <a:pt x="116" y="144"/>
                  </a:cubicBezTo>
                  <a:cubicBezTo>
                    <a:pt x="117" y="144"/>
                    <a:pt x="117" y="144"/>
                    <a:pt x="118" y="143"/>
                  </a:cubicBezTo>
                  <a:cubicBezTo>
                    <a:pt x="120" y="142"/>
                    <a:pt x="121" y="140"/>
                    <a:pt x="120" y="138"/>
                  </a:cubicBezTo>
                  <a:cubicBezTo>
                    <a:pt x="115" y="128"/>
                    <a:pt x="115" y="128"/>
                    <a:pt x="115" y="128"/>
                  </a:cubicBezTo>
                  <a:cubicBezTo>
                    <a:pt x="181" y="128"/>
                    <a:pt x="181" y="128"/>
                    <a:pt x="181" y="128"/>
                  </a:cubicBezTo>
                  <a:cubicBezTo>
                    <a:pt x="187" y="128"/>
                    <a:pt x="192" y="122"/>
                    <a:pt x="192" y="116"/>
                  </a:cubicBezTo>
                  <a:cubicBezTo>
                    <a:pt x="192" y="12"/>
                    <a:pt x="192" y="12"/>
                    <a:pt x="192" y="12"/>
                  </a:cubicBezTo>
                  <a:cubicBezTo>
                    <a:pt x="192" y="5"/>
                    <a:pt x="187" y="0"/>
                    <a:pt x="180" y="0"/>
                  </a:cubicBezTo>
                  <a:close/>
                  <a:moveTo>
                    <a:pt x="176" y="108"/>
                  </a:moveTo>
                  <a:cubicBezTo>
                    <a:pt x="176" y="110"/>
                    <a:pt x="174" y="112"/>
                    <a:pt x="172" y="112"/>
                  </a:cubicBezTo>
                  <a:cubicBezTo>
                    <a:pt x="20" y="112"/>
                    <a:pt x="20" y="112"/>
                    <a:pt x="20" y="112"/>
                  </a:cubicBezTo>
                  <a:cubicBezTo>
                    <a:pt x="18" y="112"/>
                    <a:pt x="16" y="110"/>
                    <a:pt x="16" y="108"/>
                  </a:cubicBezTo>
                  <a:cubicBezTo>
                    <a:pt x="16" y="20"/>
                    <a:pt x="16" y="20"/>
                    <a:pt x="16" y="20"/>
                  </a:cubicBezTo>
                  <a:cubicBezTo>
                    <a:pt x="16" y="18"/>
                    <a:pt x="18" y="16"/>
                    <a:pt x="20" y="16"/>
                  </a:cubicBezTo>
                  <a:cubicBezTo>
                    <a:pt x="172" y="16"/>
                    <a:pt x="172" y="16"/>
                    <a:pt x="172" y="16"/>
                  </a:cubicBezTo>
                  <a:cubicBezTo>
                    <a:pt x="174" y="16"/>
                    <a:pt x="176" y="18"/>
                    <a:pt x="176" y="20"/>
                  </a:cubicBezTo>
                  <a:lnTo>
                    <a:pt x="176"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nvGrpSpPr>
          <p:cNvPr id="488" name="组合 487"/>
          <p:cNvGrpSpPr/>
          <p:nvPr/>
        </p:nvGrpSpPr>
        <p:grpSpPr>
          <a:xfrm>
            <a:off x="7298844" y="2115888"/>
            <a:ext cx="1373749" cy="1373928"/>
            <a:chOff x="5667869" y="1172870"/>
            <a:chExt cx="1030446" cy="1030446"/>
          </a:xfrm>
        </p:grpSpPr>
        <p:sp>
          <p:nvSpPr>
            <p:cNvPr id="489" name="矩形 488"/>
            <p:cNvSpPr/>
            <p:nvPr/>
          </p:nvSpPr>
          <p:spPr>
            <a:xfrm>
              <a:off x="5667869" y="1172870"/>
              <a:ext cx="1030446" cy="1030446"/>
            </a:xfrm>
            <a:prstGeom prst="rect">
              <a:avLst/>
            </a:prstGeom>
            <a:solidFill>
              <a:srgbClr val="A3CB8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490" name="组合 489"/>
            <p:cNvGrpSpPr/>
            <p:nvPr/>
          </p:nvGrpSpPr>
          <p:grpSpPr>
            <a:xfrm>
              <a:off x="5907732" y="1400960"/>
              <a:ext cx="496888" cy="539751"/>
              <a:chOff x="5843588" y="533400"/>
              <a:chExt cx="496888" cy="539751"/>
            </a:xfrm>
          </p:grpSpPr>
          <p:sp>
            <p:nvSpPr>
              <p:cNvPr id="491" name="Freeform 70"/>
              <p:cNvSpPr>
                <a:spLocks noEditPoints="1"/>
              </p:cNvSpPr>
              <p:nvPr/>
            </p:nvSpPr>
            <p:spPr bwMode="auto">
              <a:xfrm>
                <a:off x="5843588" y="533400"/>
                <a:ext cx="384175" cy="517525"/>
              </a:xfrm>
              <a:custGeom>
                <a:avLst/>
                <a:gdLst>
                  <a:gd name="T0" fmla="*/ 80 w 136"/>
                  <a:gd name="T1" fmla="*/ 156 h 184"/>
                  <a:gd name="T2" fmla="*/ 68 w 136"/>
                  <a:gd name="T3" fmla="*/ 168 h 184"/>
                  <a:gd name="T4" fmla="*/ 56 w 136"/>
                  <a:gd name="T5" fmla="*/ 156 h 184"/>
                  <a:gd name="T6" fmla="*/ 68 w 136"/>
                  <a:gd name="T7" fmla="*/ 144 h 184"/>
                  <a:gd name="T8" fmla="*/ 80 w 136"/>
                  <a:gd name="T9" fmla="*/ 156 h 184"/>
                  <a:gd name="T10" fmla="*/ 80 w 136"/>
                  <a:gd name="T11" fmla="*/ 136 h 184"/>
                  <a:gd name="T12" fmla="*/ 20 w 136"/>
                  <a:gd name="T13" fmla="*/ 136 h 184"/>
                  <a:gd name="T14" fmla="*/ 16 w 136"/>
                  <a:gd name="T15" fmla="*/ 132 h 184"/>
                  <a:gd name="T16" fmla="*/ 16 w 136"/>
                  <a:gd name="T17" fmla="*/ 36 h 184"/>
                  <a:gd name="T18" fmla="*/ 20 w 136"/>
                  <a:gd name="T19" fmla="*/ 32 h 184"/>
                  <a:gd name="T20" fmla="*/ 116 w 136"/>
                  <a:gd name="T21" fmla="*/ 32 h 184"/>
                  <a:gd name="T22" fmla="*/ 120 w 136"/>
                  <a:gd name="T23" fmla="*/ 36 h 184"/>
                  <a:gd name="T24" fmla="*/ 120 w 136"/>
                  <a:gd name="T25" fmla="*/ 40 h 184"/>
                  <a:gd name="T26" fmla="*/ 136 w 136"/>
                  <a:gd name="T27" fmla="*/ 40 h 184"/>
                  <a:gd name="T28" fmla="*/ 136 w 136"/>
                  <a:gd name="T29" fmla="*/ 12 h 184"/>
                  <a:gd name="T30" fmla="*/ 124 w 136"/>
                  <a:gd name="T31" fmla="*/ 0 h 184"/>
                  <a:gd name="T32" fmla="*/ 12 w 136"/>
                  <a:gd name="T33" fmla="*/ 0 h 184"/>
                  <a:gd name="T34" fmla="*/ 0 w 136"/>
                  <a:gd name="T35" fmla="*/ 12 h 184"/>
                  <a:gd name="T36" fmla="*/ 0 w 136"/>
                  <a:gd name="T37" fmla="*/ 172 h 184"/>
                  <a:gd name="T38" fmla="*/ 12 w 136"/>
                  <a:gd name="T39" fmla="*/ 184 h 184"/>
                  <a:gd name="T40" fmla="*/ 81 w 136"/>
                  <a:gd name="T41" fmla="*/ 184 h 184"/>
                  <a:gd name="T42" fmla="*/ 80 w 136"/>
                  <a:gd name="T43" fmla="*/ 180 h 184"/>
                  <a:gd name="T44" fmla="*/ 80 w 136"/>
                  <a:gd name="T45" fmla="*/ 156 h 184"/>
                  <a:gd name="T46" fmla="*/ 65 w 136"/>
                  <a:gd name="T47" fmla="*/ 17 h 184"/>
                  <a:gd name="T48" fmla="*/ 71 w 136"/>
                  <a:gd name="T49" fmla="*/ 17 h 184"/>
                  <a:gd name="T50" fmla="*/ 72 w 136"/>
                  <a:gd name="T51" fmla="*/ 20 h 184"/>
                  <a:gd name="T52" fmla="*/ 71 w 136"/>
                  <a:gd name="T53" fmla="*/ 23 h 184"/>
                  <a:gd name="T54" fmla="*/ 68 w 136"/>
                  <a:gd name="T55" fmla="*/ 24 h 184"/>
                  <a:gd name="T56" fmla="*/ 65 w 136"/>
                  <a:gd name="T57" fmla="*/ 23 h 184"/>
                  <a:gd name="T58" fmla="*/ 64 w 136"/>
                  <a:gd name="T59" fmla="*/ 20 h 184"/>
                  <a:gd name="T60" fmla="*/ 65 w 136"/>
                  <a:gd name="T61" fmla="*/ 1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 h="184">
                    <a:moveTo>
                      <a:pt x="80" y="156"/>
                    </a:moveTo>
                    <a:cubicBezTo>
                      <a:pt x="80" y="162"/>
                      <a:pt x="75" y="168"/>
                      <a:pt x="68" y="168"/>
                    </a:cubicBezTo>
                    <a:cubicBezTo>
                      <a:pt x="62" y="168"/>
                      <a:pt x="56" y="162"/>
                      <a:pt x="56" y="156"/>
                    </a:cubicBezTo>
                    <a:cubicBezTo>
                      <a:pt x="56" y="149"/>
                      <a:pt x="62" y="144"/>
                      <a:pt x="68" y="144"/>
                    </a:cubicBezTo>
                    <a:cubicBezTo>
                      <a:pt x="75" y="144"/>
                      <a:pt x="80" y="149"/>
                      <a:pt x="80" y="156"/>
                    </a:cubicBezTo>
                    <a:cubicBezTo>
                      <a:pt x="80" y="136"/>
                      <a:pt x="80" y="136"/>
                      <a:pt x="80" y="136"/>
                    </a:cubicBezTo>
                    <a:cubicBezTo>
                      <a:pt x="20" y="136"/>
                      <a:pt x="20" y="136"/>
                      <a:pt x="20" y="136"/>
                    </a:cubicBezTo>
                    <a:cubicBezTo>
                      <a:pt x="18" y="136"/>
                      <a:pt x="16" y="134"/>
                      <a:pt x="16" y="132"/>
                    </a:cubicBezTo>
                    <a:cubicBezTo>
                      <a:pt x="16" y="36"/>
                      <a:pt x="16" y="36"/>
                      <a:pt x="16" y="36"/>
                    </a:cubicBezTo>
                    <a:cubicBezTo>
                      <a:pt x="16" y="34"/>
                      <a:pt x="18" y="32"/>
                      <a:pt x="20" y="32"/>
                    </a:cubicBezTo>
                    <a:cubicBezTo>
                      <a:pt x="116" y="32"/>
                      <a:pt x="116" y="32"/>
                      <a:pt x="116" y="32"/>
                    </a:cubicBezTo>
                    <a:cubicBezTo>
                      <a:pt x="118" y="32"/>
                      <a:pt x="120" y="34"/>
                      <a:pt x="120" y="36"/>
                    </a:cubicBezTo>
                    <a:cubicBezTo>
                      <a:pt x="120" y="40"/>
                      <a:pt x="120" y="40"/>
                      <a:pt x="120" y="40"/>
                    </a:cubicBezTo>
                    <a:cubicBezTo>
                      <a:pt x="136" y="40"/>
                      <a:pt x="136" y="40"/>
                      <a:pt x="136" y="40"/>
                    </a:cubicBezTo>
                    <a:cubicBezTo>
                      <a:pt x="136" y="12"/>
                      <a:pt x="136" y="12"/>
                      <a:pt x="136" y="12"/>
                    </a:cubicBezTo>
                    <a:cubicBezTo>
                      <a:pt x="136" y="5"/>
                      <a:pt x="131" y="0"/>
                      <a:pt x="124" y="0"/>
                    </a:cubicBezTo>
                    <a:cubicBezTo>
                      <a:pt x="12" y="0"/>
                      <a:pt x="12" y="0"/>
                      <a:pt x="12" y="0"/>
                    </a:cubicBezTo>
                    <a:cubicBezTo>
                      <a:pt x="6" y="0"/>
                      <a:pt x="0" y="5"/>
                      <a:pt x="0" y="12"/>
                    </a:cubicBezTo>
                    <a:cubicBezTo>
                      <a:pt x="0" y="172"/>
                      <a:pt x="0" y="172"/>
                      <a:pt x="0" y="172"/>
                    </a:cubicBezTo>
                    <a:cubicBezTo>
                      <a:pt x="0" y="178"/>
                      <a:pt x="6" y="184"/>
                      <a:pt x="12" y="184"/>
                    </a:cubicBezTo>
                    <a:cubicBezTo>
                      <a:pt x="81" y="184"/>
                      <a:pt x="81" y="184"/>
                      <a:pt x="81" y="184"/>
                    </a:cubicBezTo>
                    <a:cubicBezTo>
                      <a:pt x="80" y="183"/>
                      <a:pt x="80" y="181"/>
                      <a:pt x="80" y="180"/>
                    </a:cubicBezTo>
                    <a:lnTo>
                      <a:pt x="80" y="156"/>
                    </a:lnTo>
                    <a:close/>
                    <a:moveTo>
                      <a:pt x="65" y="17"/>
                    </a:moveTo>
                    <a:cubicBezTo>
                      <a:pt x="67" y="16"/>
                      <a:pt x="70" y="16"/>
                      <a:pt x="71" y="17"/>
                    </a:cubicBezTo>
                    <a:cubicBezTo>
                      <a:pt x="72" y="18"/>
                      <a:pt x="72" y="19"/>
                      <a:pt x="72" y="20"/>
                    </a:cubicBezTo>
                    <a:cubicBezTo>
                      <a:pt x="72" y="21"/>
                      <a:pt x="72" y="22"/>
                      <a:pt x="71" y="23"/>
                    </a:cubicBezTo>
                    <a:cubicBezTo>
                      <a:pt x="70" y="23"/>
                      <a:pt x="69" y="24"/>
                      <a:pt x="68" y="24"/>
                    </a:cubicBezTo>
                    <a:cubicBezTo>
                      <a:pt x="67" y="24"/>
                      <a:pt x="66" y="23"/>
                      <a:pt x="65" y="23"/>
                    </a:cubicBezTo>
                    <a:cubicBezTo>
                      <a:pt x="65" y="22"/>
                      <a:pt x="64" y="21"/>
                      <a:pt x="64" y="20"/>
                    </a:cubicBezTo>
                    <a:cubicBezTo>
                      <a:pt x="64" y="19"/>
                      <a:pt x="65" y="18"/>
                      <a:pt x="65"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92" name="Freeform 71"/>
              <p:cNvSpPr>
                <a:spLocks noEditPoints="1"/>
              </p:cNvSpPr>
              <p:nvPr/>
            </p:nvSpPr>
            <p:spPr bwMode="auto">
              <a:xfrm>
                <a:off x="6091238" y="668338"/>
                <a:ext cx="249238" cy="404813"/>
              </a:xfrm>
              <a:custGeom>
                <a:avLst/>
                <a:gdLst>
                  <a:gd name="T0" fmla="*/ 76 w 88"/>
                  <a:gd name="T1" fmla="*/ 0 h 144"/>
                  <a:gd name="T2" fmla="*/ 12 w 88"/>
                  <a:gd name="T3" fmla="*/ 0 h 144"/>
                  <a:gd name="T4" fmla="*/ 0 w 88"/>
                  <a:gd name="T5" fmla="*/ 12 h 144"/>
                  <a:gd name="T6" fmla="*/ 0 w 88"/>
                  <a:gd name="T7" fmla="*/ 132 h 144"/>
                  <a:gd name="T8" fmla="*/ 12 w 88"/>
                  <a:gd name="T9" fmla="*/ 144 h 144"/>
                  <a:gd name="T10" fmla="*/ 76 w 88"/>
                  <a:gd name="T11" fmla="*/ 144 h 144"/>
                  <a:gd name="T12" fmla="*/ 88 w 88"/>
                  <a:gd name="T13" fmla="*/ 132 h 144"/>
                  <a:gd name="T14" fmla="*/ 88 w 88"/>
                  <a:gd name="T15" fmla="*/ 12 h 144"/>
                  <a:gd name="T16" fmla="*/ 76 w 88"/>
                  <a:gd name="T17" fmla="*/ 0 h 144"/>
                  <a:gd name="T18" fmla="*/ 41 w 88"/>
                  <a:gd name="T19" fmla="*/ 17 h 144"/>
                  <a:gd name="T20" fmla="*/ 47 w 88"/>
                  <a:gd name="T21" fmla="*/ 17 h 144"/>
                  <a:gd name="T22" fmla="*/ 48 w 88"/>
                  <a:gd name="T23" fmla="*/ 20 h 144"/>
                  <a:gd name="T24" fmla="*/ 47 w 88"/>
                  <a:gd name="T25" fmla="*/ 23 h 144"/>
                  <a:gd name="T26" fmla="*/ 44 w 88"/>
                  <a:gd name="T27" fmla="*/ 24 h 144"/>
                  <a:gd name="T28" fmla="*/ 41 w 88"/>
                  <a:gd name="T29" fmla="*/ 23 h 144"/>
                  <a:gd name="T30" fmla="*/ 40 w 88"/>
                  <a:gd name="T31" fmla="*/ 20 h 144"/>
                  <a:gd name="T32" fmla="*/ 41 w 88"/>
                  <a:gd name="T33" fmla="*/ 17 h 144"/>
                  <a:gd name="T34" fmla="*/ 25 w 88"/>
                  <a:gd name="T35" fmla="*/ 17 h 144"/>
                  <a:gd name="T36" fmla="*/ 31 w 88"/>
                  <a:gd name="T37" fmla="*/ 17 h 144"/>
                  <a:gd name="T38" fmla="*/ 32 w 88"/>
                  <a:gd name="T39" fmla="*/ 20 h 144"/>
                  <a:gd name="T40" fmla="*/ 31 w 88"/>
                  <a:gd name="T41" fmla="*/ 23 h 144"/>
                  <a:gd name="T42" fmla="*/ 28 w 88"/>
                  <a:gd name="T43" fmla="*/ 24 h 144"/>
                  <a:gd name="T44" fmla="*/ 25 w 88"/>
                  <a:gd name="T45" fmla="*/ 23 h 144"/>
                  <a:gd name="T46" fmla="*/ 24 w 88"/>
                  <a:gd name="T47" fmla="*/ 20 h 144"/>
                  <a:gd name="T48" fmla="*/ 25 w 88"/>
                  <a:gd name="T49" fmla="*/ 17 h 144"/>
                  <a:gd name="T50" fmla="*/ 47 w 88"/>
                  <a:gd name="T51" fmla="*/ 127 h 144"/>
                  <a:gd name="T52" fmla="*/ 44 w 88"/>
                  <a:gd name="T53" fmla="*/ 128 h 144"/>
                  <a:gd name="T54" fmla="*/ 41 w 88"/>
                  <a:gd name="T55" fmla="*/ 127 h 144"/>
                  <a:gd name="T56" fmla="*/ 40 w 88"/>
                  <a:gd name="T57" fmla="*/ 124 h 144"/>
                  <a:gd name="T58" fmla="*/ 41 w 88"/>
                  <a:gd name="T59" fmla="*/ 121 h 144"/>
                  <a:gd name="T60" fmla="*/ 47 w 88"/>
                  <a:gd name="T61" fmla="*/ 121 h 144"/>
                  <a:gd name="T62" fmla="*/ 48 w 88"/>
                  <a:gd name="T63" fmla="*/ 124 h 144"/>
                  <a:gd name="T64" fmla="*/ 47 w 88"/>
                  <a:gd name="T65" fmla="*/ 127 h 144"/>
                  <a:gd name="T66" fmla="*/ 72 w 88"/>
                  <a:gd name="T67" fmla="*/ 108 h 144"/>
                  <a:gd name="T68" fmla="*/ 68 w 88"/>
                  <a:gd name="T69" fmla="*/ 112 h 144"/>
                  <a:gd name="T70" fmla="*/ 20 w 88"/>
                  <a:gd name="T71" fmla="*/ 112 h 144"/>
                  <a:gd name="T72" fmla="*/ 16 w 88"/>
                  <a:gd name="T73" fmla="*/ 108 h 144"/>
                  <a:gd name="T74" fmla="*/ 16 w 88"/>
                  <a:gd name="T75" fmla="*/ 36 h 144"/>
                  <a:gd name="T76" fmla="*/ 20 w 88"/>
                  <a:gd name="T77" fmla="*/ 32 h 144"/>
                  <a:gd name="T78" fmla="*/ 68 w 88"/>
                  <a:gd name="T79" fmla="*/ 32 h 144"/>
                  <a:gd name="T80" fmla="*/ 72 w 88"/>
                  <a:gd name="T81" fmla="*/ 36 h 144"/>
                  <a:gd name="T82" fmla="*/ 72 w 88"/>
                  <a:gd name="T83"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144">
                    <a:moveTo>
                      <a:pt x="76" y="0"/>
                    </a:moveTo>
                    <a:cubicBezTo>
                      <a:pt x="12" y="0"/>
                      <a:pt x="12" y="0"/>
                      <a:pt x="12" y="0"/>
                    </a:cubicBezTo>
                    <a:cubicBezTo>
                      <a:pt x="6" y="0"/>
                      <a:pt x="0" y="5"/>
                      <a:pt x="0" y="12"/>
                    </a:cubicBezTo>
                    <a:cubicBezTo>
                      <a:pt x="0" y="132"/>
                      <a:pt x="0" y="132"/>
                      <a:pt x="0" y="132"/>
                    </a:cubicBezTo>
                    <a:cubicBezTo>
                      <a:pt x="0" y="138"/>
                      <a:pt x="6" y="144"/>
                      <a:pt x="12" y="144"/>
                    </a:cubicBezTo>
                    <a:cubicBezTo>
                      <a:pt x="76" y="144"/>
                      <a:pt x="76" y="144"/>
                      <a:pt x="76" y="144"/>
                    </a:cubicBezTo>
                    <a:cubicBezTo>
                      <a:pt x="83" y="144"/>
                      <a:pt x="88" y="138"/>
                      <a:pt x="88" y="132"/>
                    </a:cubicBezTo>
                    <a:cubicBezTo>
                      <a:pt x="88" y="12"/>
                      <a:pt x="88" y="12"/>
                      <a:pt x="88" y="12"/>
                    </a:cubicBezTo>
                    <a:cubicBezTo>
                      <a:pt x="88" y="5"/>
                      <a:pt x="83" y="0"/>
                      <a:pt x="76" y="0"/>
                    </a:cubicBezTo>
                    <a:close/>
                    <a:moveTo>
                      <a:pt x="41" y="17"/>
                    </a:moveTo>
                    <a:cubicBezTo>
                      <a:pt x="43" y="16"/>
                      <a:pt x="45" y="16"/>
                      <a:pt x="47" y="17"/>
                    </a:cubicBezTo>
                    <a:cubicBezTo>
                      <a:pt x="48" y="18"/>
                      <a:pt x="48" y="19"/>
                      <a:pt x="48" y="20"/>
                    </a:cubicBezTo>
                    <a:cubicBezTo>
                      <a:pt x="48" y="21"/>
                      <a:pt x="48" y="22"/>
                      <a:pt x="47" y="23"/>
                    </a:cubicBezTo>
                    <a:cubicBezTo>
                      <a:pt x="46" y="23"/>
                      <a:pt x="45" y="24"/>
                      <a:pt x="44" y="24"/>
                    </a:cubicBezTo>
                    <a:cubicBezTo>
                      <a:pt x="43" y="24"/>
                      <a:pt x="42" y="23"/>
                      <a:pt x="41" y="23"/>
                    </a:cubicBezTo>
                    <a:cubicBezTo>
                      <a:pt x="41" y="22"/>
                      <a:pt x="40" y="21"/>
                      <a:pt x="40" y="20"/>
                    </a:cubicBezTo>
                    <a:cubicBezTo>
                      <a:pt x="40" y="19"/>
                      <a:pt x="41" y="18"/>
                      <a:pt x="41" y="17"/>
                    </a:cubicBezTo>
                    <a:close/>
                    <a:moveTo>
                      <a:pt x="25" y="17"/>
                    </a:moveTo>
                    <a:cubicBezTo>
                      <a:pt x="27" y="16"/>
                      <a:pt x="30" y="16"/>
                      <a:pt x="31" y="17"/>
                    </a:cubicBezTo>
                    <a:cubicBezTo>
                      <a:pt x="32" y="18"/>
                      <a:pt x="32" y="19"/>
                      <a:pt x="32" y="20"/>
                    </a:cubicBezTo>
                    <a:cubicBezTo>
                      <a:pt x="32" y="21"/>
                      <a:pt x="32" y="22"/>
                      <a:pt x="31" y="23"/>
                    </a:cubicBezTo>
                    <a:cubicBezTo>
                      <a:pt x="30" y="23"/>
                      <a:pt x="29" y="24"/>
                      <a:pt x="28" y="24"/>
                    </a:cubicBezTo>
                    <a:cubicBezTo>
                      <a:pt x="27" y="24"/>
                      <a:pt x="26" y="23"/>
                      <a:pt x="25" y="23"/>
                    </a:cubicBezTo>
                    <a:cubicBezTo>
                      <a:pt x="25" y="22"/>
                      <a:pt x="24" y="21"/>
                      <a:pt x="24" y="20"/>
                    </a:cubicBezTo>
                    <a:cubicBezTo>
                      <a:pt x="24" y="19"/>
                      <a:pt x="25" y="18"/>
                      <a:pt x="25" y="17"/>
                    </a:cubicBezTo>
                    <a:close/>
                    <a:moveTo>
                      <a:pt x="47" y="127"/>
                    </a:moveTo>
                    <a:cubicBezTo>
                      <a:pt x="46" y="127"/>
                      <a:pt x="45" y="128"/>
                      <a:pt x="44" y="128"/>
                    </a:cubicBezTo>
                    <a:cubicBezTo>
                      <a:pt x="43" y="128"/>
                      <a:pt x="42" y="127"/>
                      <a:pt x="41" y="127"/>
                    </a:cubicBezTo>
                    <a:cubicBezTo>
                      <a:pt x="41" y="126"/>
                      <a:pt x="40" y="125"/>
                      <a:pt x="40" y="124"/>
                    </a:cubicBezTo>
                    <a:cubicBezTo>
                      <a:pt x="40" y="123"/>
                      <a:pt x="41" y="122"/>
                      <a:pt x="41" y="121"/>
                    </a:cubicBezTo>
                    <a:cubicBezTo>
                      <a:pt x="43" y="120"/>
                      <a:pt x="46" y="120"/>
                      <a:pt x="47" y="121"/>
                    </a:cubicBezTo>
                    <a:cubicBezTo>
                      <a:pt x="48" y="122"/>
                      <a:pt x="48" y="123"/>
                      <a:pt x="48" y="124"/>
                    </a:cubicBezTo>
                    <a:cubicBezTo>
                      <a:pt x="48" y="125"/>
                      <a:pt x="48" y="126"/>
                      <a:pt x="47" y="127"/>
                    </a:cubicBezTo>
                    <a:close/>
                    <a:moveTo>
                      <a:pt x="72" y="108"/>
                    </a:moveTo>
                    <a:cubicBezTo>
                      <a:pt x="72" y="110"/>
                      <a:pt x="70" y="112"/>
                      <a:pt x="68" y="112"/>
                    </a:cubicBezTo>
                    <a:cubicBezTo>
                      <a:pt x="20" y="112"/>
                      <a:pt x="20" y="112"/>
                      <a:pt x="20" y="112"/>
                    </a:cubicBezTo>
                    <a:cubicBezTo>
                      <a:pt x="18" y="112"/>
                      <a:pt x="16" y="110"/>
                      <a:pt x="16" y="108"/>
                    </a:cubicBezTo>
                    <a:cubicBezTo>
                      <a:pt x="16" y="36"/>
                      <a:pt x="16" y="36"/>
                      <a:pt x="16" y="36"/>
                    </a:cubicBezTo>
                    <a:cubicBezTo>
                      <a:pt x="16" y="34"/>
                      <a:pt x="18" y="32"/>
                      <a:pt x="20" y="32"/>
                    </a:cubicBezTo>
                    <a:cubicBezTo>
                      <a:pt x="68" y="32"/>
                      <a:pt x="68" y="32"/>
                      <a:pt x="68" y="32"/>
                    </a:cubicBezTo>
                    <a:cubicBezTo>
                      <a:pt x="70" y="32"/>
                      <a:pt x="72" y="34"/>
                      <a:pt x="72" y="36"/>
                    </a:cubicBezTo>
                    <a:lnTo>
                      <a:pt x="72"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66"/>
                                        </p:tgtEl>
                                        <p:attrNameLst>
                                          <p:attrName>style.visibility</p:attrName>
                                        </p:attrNameLst>
                                      </p:cBhvr>
                                      <p:to>
                                        <p:strVal val="visible"/>
                                      </p:to>
                                    </p:set>
                                    <p:anim calcmode="lin" valueType="num">
                                      <p:cBhvr additive="base">
                                        <p:cTn id="7" dur="500" fill="hold"/>
                                        <p:tgtEl>
                                          <p:spTgt spid="466"/>
                                        </p:tgtEl>
                                        <p:attrNameLst>
                                          <p:attrName>ppt_x</p:attrName>
                                        </p:attrNameLst>
                                      </p:cBhvr>
                                      <p:tavLst>
                                        <p:tav tm="0">
                                          <p:val>
                                            <p:strVal val="#ppt_x"/>
                                          </p:val>
                                        </p:tav>
                                        <p:tav tm="100000">
                                          <p:val>
                                            <p:strVal val="#ppt_x"/>
                                          </p:val>
                                        </p:tav>
                                      </p:tavLst>
                                    </p:anim>
                                    <p:anim calcmode="lin" valueType="num">
                                      <p:cBhvr additive="base">
                                        <p:cTn id="8" dur="500" fill="hold"/>
                                        <p:tgtEl>
                                          <p:spTgt spid="46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467"/>
                                        </p:tgtEl>
                                        <p:attrNameLst>
                                          <p:attrName>style.visibility</p:attrName>
                                        </p:attrNameLst>
                                      </p:cBhvr>
                                      <p:to>
                                        <p:strVal val="visible"/>
                                      </p:to>
                                    </p:set>
                                    <p:anim calcmode="lin" valueType="num">
                                      <p:cBhvr additive="base">
                                        <p:cTn id="12" dur="500" fill="hold"/>
                                        <p:tgtEl>
                                          <p:spTgt spid="467"/>
                                        </p:tgtEl>
                                        <p:attrNameLst>
                                          <p:attrName>ppt_x</p:attrName>
                                        </p:attrNameLst>
                                      </p:cBhvr>
                                      <p:tavLst>
                                        <p:tav tm="0">
                                          <p:val>
                                            <p:strVal val="#ppt_x"/>
                                          </p:val>
                                        </p:tav>
                                        <p:tav tm="100000">
                                          <p:val>
                                            <p:strVal val="#ppt_x"/>
                                          </p:val>
                                        </p:tav>
                                      </p:tavLst>
                                    </p:anim>
                                    <p:anim calcmode="lin" valueType="num">
                                      <p:cBhvr additive="base">
                                        <p:cTn id="13" dur="500" fill="hold"/>
                                        <p:tgtEl>
                                          <p:spTgt spid="467"/>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47" presetClass="entr" presetSubtype="0" fill="hold" nodeType="afterEffect">
                                  <p:stCondLst>
                                    <p:cond delay="0"/>
                                  </p:stCondLst>
                                  <p:childTnLst>
                                    <p:set>
                                      <p:cBhvr>
                                        <p:cTn id="16" dur="1" fill="hold">
                                          <p:stCondLst>
                                            <p:cond delay="0"/>
                                          </p:stCondLst>
                                        </p:cTn>
                                        <p:tgtEl>
                                          <p:spTgt spid="470"/>
                                        </p:tgtEl>
                                        <p:attrNameLst>
                                          <p:attrName>style.visibility</p:attrName>
                                        </p:attrNameLst>
                                      </p:cBhvr>
                                      <p:to>
                                        <p:strVal val="visible"/>
                                      </p:to>
                                    </p:set>
                                    <p:animEffect transition="in" filter="fade">
                                      <p:cBhvr>
                                        <p:cTn id="17" dur="750"/>
                                        <p:tgtEl>
                                          <p:spTgt spid="470"/>
                                        </p:tgtEl>
                                      </p:cBhvr>
                                    </p:animEffect>
                                    <p:anim calcmode="lin" valueType="num">
                                      <p:cBhvr>
                                        <p:cTn id="18" dur="750" fill="hold"/>
                                        <p:tgtEl>
                                          <p:spTgt spid="470"/>
                                        </p:tgtEl>
                                        <p:attrNameLst>
                                          <p:attrName>ppt_x</p:attrName>
                                        </p:attrNameLst>
                                      </p:cBhvr>
                                      <p:tavLst>
                                        <p:tav tm="0">
                                          <p:val>
                                            <p:strVal val="#ppt_x"/>
                                          </p:val>
                                        </p:tav>
                                        <p:tav tm="100000">
                                          <p:val>
                                            <p:strVal val="#ppt_x"/>
                                          </p:val>
                                        </p:tav>
                                      </p:tavLst>
                                    </p:anim>
                                    <p:anim calcmode="lin" valueType="num">
                                      <p:cBhvr>
                                        <p:cTn id="19" dur="750" fill="hold"/>
                                        <p:tgtEl>
                                          <p:spTgt spid="470"/>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0"/>
                                  </p:stCondLst>
                                  <p:childTnLst>
                                    <p:set>
                                      <p:cBhvr>
                                        <p:cTn id="21" dur="1" fill="hold">
                                          <p:stCondLst>
                                            <p:cond delay="0"/>
                                          </p:stCondLst>
                                        </p:cTn>
                                        <p:tgtEl>
                                          <p:spTgt spid="488"/>
                                        </p:tgtEl>
                                        <p:attrNameLst>
                                          <p:attrName>style.visibility</p:attrName>
                                        </p:attrNameLst>
                                      </p:cBhvr>
                                      <p:to>
                                        <p:strVal val="visible"/>
                                      </p:to>
                                    </p:set>
                                    <p:animEffect transition="in" filter="fade">
                                      <p:cBhvr>
                                        <p:cTn id="22" dur="750"/>
                                        <p:tgtEl>
                                          <p:spTgt spid="488"/>
                                        </p:tgtEl>
                                      </p:cBhvr>
                                    </p:animEffect>
                                    <p:anim calcmode="lin" valueType="num">
                                      <p:cBhvr>
                                        <p:cTn id="23" dur="750" fill="hold"/>
                                        <p:tgtEl>
                                          <p:spTgt spid="488"/>
                                        </p:tgtEl>
                                        <p:attrNameLst>
                                          <p:attrName>ppt_x</p:attrName>
                                        </p:attrNameLst>
                                      </p:cBhvr>
                                      <p:tavLst>
                                        <p:tav tm="0">
                                          <p:val>
                                            <p:strVal val="#ppt_x"/>
                                          </p:val>
                                        </p:tav>
                                        <p:tav tm="100000">
                                          <p:val>
                                            <p:strVal val="#ppt_x"/>
                                          </p:val>
                                        </p:tav>
                                      </p:tavLst>
                                    </p:anim>
                                    <p:anim calcmode="lin" valueType="num">
                                      <p:cBhvr>
                                        <p:cTn id="24" dur="750" fill="hold"/>
                                        <p:tgtEl>
                                          <p:spTgt spid="488"/>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473"/>
                                        </p:tgtEl>
                                        <p:attrNameLst>
                                          <p:attrName>style.visibility</p:attrName>
                                        </p:attrNameLst>
                                      </p:cBhvr>
                                      <p:to>
                                        <p:strVal val="visible"/>
                                      </p:to>
                                    </p:set>
                                    <p:animEffect transition="in" filter="fade">
                                      <p:cBhvr>
                                        <p:cTn id="27" dur="750"/>
                                        <p:tgtEl>
                                          <p:spTgt spid="473"/>
                                        </p:tgtEl>
                                      </p:cBhvr>
                                    </p:animEffect>
                                    <p:anim calcmode="lin" valueType="num">
                                      <p:cBhvr>
                                        <p:cTn id="28" dur="750" fill="hold"/>
                                        <p:tgtEl>
                                          <p:spTgt spid="473"/>
                                        </p:tgtEl>
                                        <p:attrNameLst>
                                          <p:attrName>ppt_x</p:attrName>
                                        </p:attrNameLst>
                                      </p:cBhvr>
                                      <p:tavLst>
                                        <p:tav tm="0">
                                          <p:val>
                                            <p:strVal val="#ppt_x"/>
                                          </p:val>
                                        </p:tav>
                                        <p:tav tm="100000">
                                          <p:val>
                                            <p:strVal val="#ppt_x"/>
                                          </p:val>
                                        </p:tav>
                                      </p:tavLst>
                                    </p:anim>
                                    <p:anim calcmode="lin" valueType="num">
                                      <p:cBhvr>
                                        <p:cTn id="29" dur="750" fill="hold"/>
                                        <p:tgtEl>
                                          <p:spTgt spid="473"/>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476"/>
                                        </p:tgtEl>
                                        <p:attrNameLst>
                                          <p:attrName>style.visibility</p:attrName>
                                        </p:attrNameLst>
                                      </p:cBhvr>
                                      <p:to>
                                        <p:strVal val="visible"/>
                                      </p:to>
                                    </p:set>
                                    <p:animEffect transition="in" filter="fade">
                                      <p:cBhvr>
                                        <p:cTn id="32" dur="750"/>
                                        <p:tgtEl>
                                          <p:spTgt spid="476"/>
                                        </p:tgtEl>
                                      </p:cBhvr>
                                    </p:animEffect>
                                    <p:anim calcmode="lin" valueType="num">
                                      <p:cBhvr>
                                        <p:cTn id="33" dur="750" fill="hold"/>
                                        <p:tgtEl>
                                          <p:spTgt spid="476"/>
                                        </p:tgtEl>
                                        <p:attrNameLst>
                                          <p:attrName>ppt_x</p:attrName>
                                        </p:attrNameLst>
                                      </p:cBhvr>
                                      <p:tavLst>
                                        <p:tav tm="0">
                                          <p:val>
                                            <p:strVal val="#ppt_x"/>
                                          </p:val>
                                        </p:tav>
                                        <p:tav tm="100000">
                                          <p:val>
                                            <p:strVal val="#ppt_x"/>
                                          </p:val>
                                        </p:tav>
                                      </p:tavLst>
                                    </p:anim>
                                    <p:anim calcmode="lin" valueType="num">
                                      <p:cBhvr>
                                        <p:cTn id="34" dur="750" fill="hold"/>
                                        <p:tgtEl>
                                          <p:spTgt spid="476"/>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479"/>
                                        </p:tgtEl>
                                        <p:attrNameLst>
                                          <p:attrName>style.visibility</p:attrName>
                                        </p:attrNameLst>
                                      </p:cBhvr>
                                      <p:to>
                                        <p:strVal val="visible"/>
                                      </p:to>
                                    </p:set>
                                    <p:animEffect transition="in" filter="fade">
                                      <p:cBhvr>
                                        <p:cTn id="37" dur="750"/>
                                        <p:tgtEl>
                                          <p:spTgt spid="479"/>
                                        </p:tgtEl>
                                      </p:cBhvr>
                                    </p:animEffect>
                                    <p:anim calcmode="lin" valueType="num">
                                      <p:cBhvr>
                                        <p:cTn id="38" dur="750" fill="hold"/>
                                        <p:tgtEl>
                                          <p:spTgt spid="479"/>
                                        </p:tgtEl>
                                        <p:attrNameLst>
                                          <p:attrName>ppt_x</p:attrName>
                                        </p:attrNameLst>
                                      </p:cBhvr>
                                      <p:tavLst>
                                        <p:tav tm="0">
                                          <p:val>
                                            <p:strVal val="#ppt_x"/>
                                          </p:val>
                                        </p:tav>
                                        <p:tav tm="100000">
                                          <p:val>
                                            <p:strVal val="#ppt_x"/>
                                          </p:val>
                                        </p:tav>
                                      </p:tavLst>
                                    </p:anim>
                                    <p:anim calcmode="lin" valueType="num">
                                      <p:cBhvr>
                                        <p:cTn id="39" dur="750" fill="hold"/>
                                        <p:tgtEl>
                                          <p:spTgt spid="479"/>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485"/>
                                        </p:tgtEl>
                                        <p:attrNameLst>
                                          <p:attrName>style.visibility</p:attrName>
                                        </p:attrNameLst>
                                      </p:cBhvr>
                                      <p:to>
                                        <p:strVal val="visible"/>
                                      </p:to>
                                    </p:set>
                                    <p:animEffect transition="in" filter="fade">
                                      <p:cBhvr>
                                        <p:cTn id="42" dur="750"/>
                                        <p:tgtEl>
                                          <p:spTgt spid="485"/>
                                        </p:tgtEl>
                                      </p:cBhvr>
                                    </p:animEffect>
                                    <p:anim calcmode="lin" valueType="num">
                                      <p:cBhvr>
                                        <p:cTn id="43" dur="750" fill="hold"/>
                                        <p:tgtEl>
                                          <p:spTgt spid="485"/>
                                        </p:tgtEl>
                                        <p:attrNameLst>
                                          <p:attrName>ppt_x</p:attrName>
                                        </p:attrNameLst>
                                      </p:cBhvr>
                                      <p:tavLst>
                                        <p:tav tm="0">
                                          <p:val>
                                            <p:strVal val="#ppt_x"/>
                                          </p:val>
                                        </p:tav>
                                        <p:tav tm="100000">
                                          <p:val>
                                            <p:strVal val="#ppt_x"/>
                                          </p:val>
                                        </p:tav>
                                      </p:tavLst>
                                    </p:anim>
                                    <p:anim calcmode="lin" valueType="num">
                                      <p:cBhvr>
                                        <p:cTn id="44" dur="750" fill="hold"/>
                                        <p:tgtEl>
                                          <p:spTgt spid="485"/>
                                        </p:tgtEl>
                                        <p:attrNameLst>
                                          <p:attrName>ppt_y</p:attrName>
                                        </p:attrNameLst>
                                      </p:cBhvr>
                                      <p:tavLst>
                                        <p:tav tm="0">
                                          <p:val>
                                            <p:strVal val="#ppt_y+.1"/>
                                          </p:val>
                                        </p:tav>
                                        <p:tav tm="100000">
                                          <p:val>
                                            <p:strVal val="#ppt_y"/>
                                          </p:val>
                                        </p:tav>
                                      </p:tavLst>
                                    </p:anim>
                                  </p:childTnLst>
                                </p:cTn>
                              </p:par>
                            </p:childTnLst>
                          </p:cTn>
                        </p:par>
                        <p:par>
                          <p:cTn id="45" fill="hold">
                            <p:stCondLst>
                              <p:cond delay="2000"/>
                            </p:stCondLst>
                            <p:childTnLst>
                              <p:par>
                                <p:cTn id="46" presetID="42" presetClass="entr" presetSubtype="0" fill="hold" nodeType="afterEffect">
                                  <p:stCondLst>
                                    <p:cond delay="0"/>
                                  </p:stCondLst>
                                  <p:childTnLst>
                                    <p:set>
                                      <p:cBhvr>
                                        <p:cTn id="47" dur="1" fill="hold">
                                          <p:stCondLst>
                                            <p:cond delay="0"/>
                                          </p:stCondLst>
                                        </p:cTn>
                                        <p:tgtEl>
                                          <p:spTgt spid="468"/>
                                        </p:tgtEl>
                                        <p:attrNameLst>
                                          <p:attrName>style.visibility</p:attrName>
                                        </p:attrNameLst>
                                      </p:cBhvr>
                                      <p:to>
                                        <p:strVal val="visible"/>
                                      </p:to>
                                    </p:set>
                                    <p:animEffect transition="in" filter="fade">
                                      <p:cBhvr>
                                        <p:cTn id="48" dur="500"/>
                                        <p:tgtEl>
                                          <p:spTgt spid="468"/>
                                        </p:tgtEl>
                                      </p:cBhvr>
                                    </p:animEffect>
                                    <p:anim calcmode="lin" valueType="num">
                                      <p:cBhvr>
                                        <p:cTn id="49" dur="500" fill="hold"/>
                                        <p:tgtEl>
                                          <p:spTgt spid="468"/>
                                        </p:tgtEl>
                                        <p:attrNameLst>
                                          <p:attrName>ppt_x</p:attrName>
                                        </p:attrNameLst>
                                      </p:cBhvr>
                                      <p:tavLst>
                                        <p:tav tm="0">
                                          <p:val>
                                            <p:strVal val="#ppt_x"/>
                                          </p:val>
                                        </p:tav>
                                        <p:tav tm="100000">
                                          <p:val>
                                            <p:strVal val="#ppt_x"/>
                                          </p:val>
                                        </p:tav>
                                      </p:tavLst>
                                    </p:anim>
                                    <p:anim calcmode="lin" valueType="num">
                                      <p:cBhvr>
                                        <p:cTn id="50" dur="500" fill="hold"/>
                                        <p:tgtEl>
                                          <p:spTgt spid="468"/>
                                        </p:tgtEl>
                                        <p:attrNameLst>
                                          <p:attrName>ppt_y</p:attrName>
                                        </p:attrNameLst>
                                      </p:cBhvr>
                                      <p:tavLst>
                                        <p:tav tm="0">
                                          <p:val>
                                            <p:strVal val="#ppt_y+.1"/>
                                          </p:val>
                                        </p:tav>
                                        <p:tav tm="100000">
                                          <p:val>
                                            <p:strVal val="#ppt_y"/>
                                          </p:val>
                                        </p:tav>
                                      </p:tavLst>
                                    </p:anim>
                                  </p:childTnLst>
                                </p:cTn>
                              </p:par>
                            </p:childTnLst>
                          </p:cTn>
                        </p:par>
                        <p:par>
                          <p:cTn id="51" fill="hold">
                            <p:stCondLst>
                              <p:cond delay="2500"/>
                            </p:stCondLst>
                            <p:childTnLst>
                              <p:par>
                                <p:cTn id="52" presetID="42" presetClass="entr" presetSubtype="0" fill="hold" grpId="0" nodeType="afterEffect">
                                  <p:stCondLst>
                                    <p:cond delay="0"/>
                                  </p:stCondLst>
                                  <p:childTnLst>
                                    <p:set>
                                      <p:cBhvr>
                                        <p:cTn id="53" dur="1" fill="hold">
                                          <p:stCondLst>
                                            <p:cond delay="0"/>
                                          </p:stCondLst>
                                        </p:cTn>
                                        <p:tgtEl>
                                          <p:spTgt spid="469"/>
                                        </p:tgtEl>
                                        <p:attrNameLst>
                                          <p:attrName>style.visibility</p:attrName>
                                        </p:attrNameLst>
                                      </p:cBhvr>
                                      <p:to>
                                        <p:strVal val="visible"/>
                                      </p:to>
                                    </p:set>
                                    <p:animEffect transition="in" filter="fade">
                                      <p:cBhvr>
                                        <p:cTn id="54" dur="500"/>
                                        <p:tgtEl>
                                          <p:spTgt spid="469"/>
                                        </p:tgtEl>
                                      </p:cBhvr>
                                    </p:animEffect>
                                    <p:anim calcmode="lin" valueType="num">
                                      <p:cBhvr>
                                        <p:cTn id="55" dur="500" fill="hold"/>
                                        <p:tgtEl>
                                          <p:spTgt spid="469"/>
                                        </p:tgtEl>
                                        <p:attrNameLst>
                                          <p:attrName>ppt_x</p:attrName>
                                        </p:attrNameLst>
                                      </p:cBhvr>
                                      <p:tavLst>
                                        <p:tav tm="0">
                                          <p:val>
                                            <p:strVal val="#ppt_x"/>
                                          </p:val>
                                        </p:tav>
                                        <p:tav tm="100000">
                                          <p:val>
                                            <p:strVal val="#ppt_x"/>
                                          </p:val>
                                        </p:tav>
                                      </p:tavLst>
                                    </p:anim>
                                    <p:anim calcmode="lin" valueType="num">
                                      <p:cBhvr>
                                        <p:cTn id="56" dur="500" fill="hold"/>
                                        <p:tgtEl>
                                          <p:spTgt spid="4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6" grpId="0" animBg="1"/>
      <p:bldP spid="467" grpId="0"/>
      <p:bldP spid="46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945840" y="1736812"/>
            <a:ext cx="4663690" cy="626692"/>
            <a:chOff x="161608" y="1701214"/>
            <a:chExt cx="4609821" cy="619372"/>
          </a:xfrm>
          <a:solidFill>
            <a:srgbClr val="DB7F06"/>
          </a:solidFill>
        </p:grpSpPr>
        <p:sp>
          <p:nvSpPr>
            <p:cNvPr id="3" name="TextBox 4"/>
            <p:cNvSpPr txBox="1"/>
            <p:nvPr>
              <p:custDataLst>
                <p:tags r:id="rId19"/>
              </p:custDataLst>
            </p:nvPr>
          </p:nvSpPr>
          <p:spPr>
            <a:xfrm>
              <a:off x="161608" y="1701214"/>
              <a:ext cx="4609821" cy="619372"/>
            </a:xfrm>
            <a:prstGeom prst="rect">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latin typeface="+mn-lt"/>
                <a:ea typeface="+mn-ea"/>
                <a:cs typeface="+mn-ea"/>
                <a:sym typeface="+mn-lt"/>
              </a:endParaRPr>
            </a:p>
          </p:txBody>
        </p:sp>
        <p:sp>
          <p:nvSpPr>
            <p:cNvPr id="4" name="TextBox 5"/>
            <p:cNvSpPr txBox="1"/>
            <p:nvPr>
              <p:custDataLst>
                <p:tags r:id="rId20"/>
              </p:custDataLst>
            </p:nvPr>
          </p:nvSpPr>
          <p:spPr>
            <a:xfrm>
              <a:off x="478469" y="1772179"/>
              <a:ext cx="3976097" cy="457980"/>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cs typeface="+mn-ea"/>
                  <a:sym typeface="+mn-lt"/>
                </a:rPr>
                <a:t>单击此处添加文本</a:t>
              </a:r>
              <a:endParaRPr lang="en-US" dirty="0">
                <a:cs typeface="+mn-ea"/>
                <a:sym typeface="+mn-lt"/>
              </a:endParaRPr>
            </a:p>
          </p:txBody>
        </p:sp>
      </p:grpSp>
      <p:grpSp>
        <p:nvGrpSpPr>
          <p:cNvPr id="5" name="组合 4"/>
          <p:cNvGrpSpPr/>
          <p:nvPr/>
        </p:nvGrpSpPr>
        <p:grpSpPr>
          <a:xfrm>
            <a:off x="1546748" y="2483632"/>
            <a:ext cx="1512310" cy="1714225"/>
            <a:chOff x="755576" y="2439310"/>
            <a:chExt cx="1494841" cy="1694204"/>
          </a:xfrm>
          <a:solidFill>
            <a:srgbClr val="709020"/>
          </a:solidFill>
        </p:grpSpPr>
        <p:grpSp>
          <p:nvGrpSpPr>
            <p:cNvPr id="6" name="组合 5"/>
            <p:cNvGrpSpPr/>
            <p:nvPr/>
          </p:nvGrpSpPr>
          <p:grpSpPr>
            <a:xfrm>
              <a:off x="755576" y="2439310"/>
              <a:ext cx="1494841" cy="1694204"/>
              <a:chOff x="755576" y="2439310"/>
              <a:chExt cx="1494841" cy="1694204"/>
            </a:xfrm>
            <a:grpFill/>
          </p:grpSpPr>
          <p:sp>
            <p:nvSpPr>
              <p:cNvPr id="8" name="Right Triangle 40"/>
              <p:cNvSpPr/>
              <p:nvPr>
                <p:custDataLst>
                  <p:tags r:id="rId17"/>
                </p:custDataLst>
              </p:nvPr>
            </p:nvSpPr>
            <p:spPr bwMode="auto">
              <a:xfrm rot="10800000" flipV="1">
                <a:off x="1344297" y="2439310"/>
                <a:ext cx="451948" cy="649688"/>
              </a:xfrm>
              <a:prstGeom prst="rtTriangle">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sp>
            <p:nvSpPr>
              <p:cNvPr id="9" name="Rectangle 47"/>
              <p:cNvSpPr/>
              <p:nvPr>
                <p:custDataLst>
                  <p:tags r:id="rId18"/>
                </p:custDataLst>
              </p:nvPr>
            </p:nvSpPr>
            <p:spPr bwMode="auto">
              <a:xfrm>
                <a:off x="755576" y="3088998"/>
                <a:ext cx="1494841" cy="1044516"/>
              </a:xfrm>
              <a:prstGeom prst="rect">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grpSp>
        <p:sp>
          <p:nvSpPr>
            <p:cNvPr id="7" name="TextBox 8"/>
            <p:cNvSpPr txBox="1"/>
            <p:nvPr>
              <p:custDataLst>
                <p:tags r:id="rId16"/>
              </p:custDataLst>
            </p:nvPr>
          </p:nvSpPr>
          <p:spPr>
            <a:xfrm>
              <a:off x="1209747" y="3187828"/>
              <a:ext cx="586498" cy="840168"/>
            </a:xfrm>
            <a:prstGeom prst="rect">
              <a:avLst/>
            </a:prstGeom>
            <a:noFill/>
          </p:spPr>
          <p:txBody>
            <a:bodyPr wrap="square" lIns="93278" tIns="93278" rIns="93278" bIns="93278" rtlCol="0">
              <a:spAutoFit/>
            </a:bodyPr>
            <a:lstStyle/>
            <a:p>
              <a:pPr algn="ctr">
                <a:buSzPct val="90000"/>
              </a:pPr>
              <a:r>
                <a:rPr lang="en-US" sz="4300" dirty="0">
                  <a:gradFill>
                    <a:gsLst>
                      <a:gs pos="0">
                        <a:srgbClr val="FFFFFF"/>
                      </a:gs>
                      <a:gs pos="100000">
                        <a:srgbClr val="FFFFFF"/>
                      </a:gs>
                    </a:gsLst>
                    <a:lin ang="5400000" scaled="0"/>
                  </a:gradFill>
                  <a:cs typeface="+mn-ea"/>
                  <a:sym typeface="+mn-lt"/>
                </a:rPr>
                <a:t>1</a:t>
              </a:r>
            </a:p>
          </p:txBody>
        </p:sp>
      </p:grpSp>
      <p:grpSp>
        <p:nvGrpSpPr>
          <p:cNvPr id="10" name="组合 9"/>
          <p:cNvGrpSpPr/>
          <p:nvPr/>
        </p:nvGrpSpPr>
        <p:grpSpPr>
          <a:xfrm>
            <a:off x="5654164" y="1731564"/>
            <a:ext cx="4507501" cy="626692"/>
            <a:chOff x="4815546" y="1696027"/>
            <a:chExt cx="4455437" cy="619372"/>
          </a:xfrm>
          <a:solidFill>
            <a:srgbClr val="DB7F06"/>
          </a:solidFill>
        </p:grpSpPr>
        <p:sp>
          <p:nvSpPr>
            <p:cNvPr id="11" name="TextBox 12"/>
            <p:cNvSpPr txBox="1"/>
            <p:nvPr>
              <p:custDataLst>
                <p:tags r:id="rId14"/>
              </p:custDataLst>
            </p:nvPr>
          </p:nvSpPr>
          <p:spPr>
            <a:xfrm>
              <a:off x="4815546" y="1696027"/>
              <a:ext cx="4455437" cy="619372"/>
            </a:xfrm>
            <a:prstGeom prst="rect">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rgbClr val="FFFFFF">
                      <a:alpha val="98824"/>
                    </a:srgb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latin typeface="+mn-lt"/>
                <a:ea typeface="+mn-ea"/>
                <a:cs typeface="+mn-ea"/>
                <a:sym typeface="+mn-lt"/>
              </a:endParaRPr>
            </a:p>
          </p:txBody>
        </p:sp>
        <p:sp>
          <p:nvSpPr>
            <p:cNvPr id="12" name="TextBox 13"/>
            <p:cNvSpPr txBox="1"/>
            <p:nvPr>
              <p:custDataLst>
                <p:tags r:id="rId15"/>
              </p:custDataLst>
            </p:nvPr>
          </p:nvSpPr>
          <p:spPr>
            <a:xfrm>
              <a:off x="4860032" y="1765995"/>
              <a:ext cx="3976097" cy="457980"/>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cs typeface="+mn-ea"/>
                  <a:sym typeface="+mn-lt"/>
                </a:rPr>
                <a:t>单击此处添加文本</a:t>
              </a:r>
              <a:endParaRPr lang="en-US" altLang="zh-CN" dirty="0">
                <a:cs typeface="+mn-ea"/>
                <a:sym typeface="+mn-lt"/>
              </a:endParaRPr>
            </a:p>
          </p:txBody>
        </p:sp>
      </p:grpSp>
      <p:grpSp>
        <p:nvGrpSpPr>
          <p:cNvPr id="13" name="组合 12"/>
          <p:cNvGrpSpPr/>
          <p:nvPr/>
        </p:nvGrpSpPr>
        <p:grpSpPr>
          <a:xfrm>
            <a:off x="5745894" y="2483632"/>
            <a:ext cx="1969924" cy="1714225"/>
            <a:chOff x="4906217" y="2439310"/>
            <a:chExt cx="1947170" cy="1694204"/>
          </a:xfrm>
          <a:solidFill>
            <a:srgbClr val="709020"/>
          </a:solidFill>
        </p:grpSpPr>
        <p:sp>
          <p:nvSpPr>
            <p:cNvPr id="14" name="Rectangle 48"/>
            <p:cNvSpPr/>
            <p:nvPr>
              <p:custDataLst>
                <p:tags r:id="rId11"/>
              </p:custDataLst>
            </p:nvPr>
          </p:nvSpPr>
          <p:spPr bwMode="auto">
            <a:xfrm>
              <a:off x="4906217" y="3088998"/>
              <a:ext cx="1947170" cy="1044516"/>
            </a:xfrm>
            <a:prstGeom prst="rect">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sp>
          <p:nvSpPr>
            <p:cNvPr id="15" name="TextBox 16"/>
            <p:cNvSpPr txBox="1"/>
            <p:nvPr>
              <p:custDataLst>
                <p:tags r:id="rId12"/>
              </p:custDataLst>
            </p:nvPr>
          </p:nvSpPr>
          <p:spPr>
            <a:xfrm>
              <a:off x="5586553" y="3165395"/>
              <a:ext cx="586499" cy="672868"/>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cs typeface="+mn-ea"/>
                  <a:sym typeface="+mn-lt"/>
                </a:rPr>
                <a:t>3</a:t>
              </a:r>
            </a:p>
          </p:txBody>
        </p:sp>
        <p:sp>
          <p:nvSpPr>
            <p:cNvPr id="16" name="Right Triangle 59"/>
            <p:cNvSpPr/>
            <p:nvPr>
              <p:custDataLst>
                <p:tags r:id="rId13"/>
              </p:custDataLst>
            </p:nvPr>
          </p:nvSpPr>
          <p:spPr bwMode="auto">
            <a:xfrm rot="10800000" flipV="1">
              <a:off x="6228535" y="2439310"/>
              <a:ext cx="451948" cy="649688"/>
            </a:xfrm>
            <a:prstGeom prst="rtTriangle">
              <a:avLst/>
            </a:prstGeom>
            <a:solidFill>
              <a:srgbClr val="82B86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grpSp>
      <p:grpSp>
        <p:nvGrpSpPr>
          <p:cNvPr id="17" name="组合 16"/>
          <p:cNvGrpSpPr/>
          <p:nvPr/>
        </p:nvGrpSpPr>
        <p:grpSpPr>
          <a:xfrm>
            <a:off x="945840" y="4971235"/>
            <a:ext cx="4663690" cy="626692"/>
            <a:chOff x="161608" y="4897860"/>
            <a:chExt cx="4609821" cy="619372"/>
          </a:xfrm>
          <a:solidFill>
            <a:srgbClr val="8AB027"/>
          </a:solidFill>
        </p:grpSpPr>
        <p:sp>
          <p:nvSpPr>
            <p:cNvPr id="18" name="TextBox 19"/>
            <p:cNvSpPr txBox="1"/>
            <p:nvPr>
              <p:custDataLst>
                <p:tags r:id="rId9"/>
              </p:custDataLst>
            </p:nvPr>
          </p:nvSpPr>
          <p:spPr>
            <a:xfrm>
              <a:off x="161608" y="4897860"/>
              <a:ext cx="4609821" cy="619372"/>
            </a:xfrm>
            <a:prstGeom prst="rect">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latin typeface="+mn-lt"/>
                <a:ea typeface="+mn-ea"/>
                <a:cs typeface="+mn-ea"/>
                <a:sym typeface="+mn-lt"/>
              </a:endParaRPr>
            </a:p>
          </p:txBody>
        </p:sp>
        <p:sp>
          <p:nvSpPr>
            <p:cNvPr id="19" name="TextBox 20"/>
            <p:cNvSpPr txBox="1"/>
            <p:nvPr>
              <p:custDataLst>
                <p:tags r:id="rId10"/>
              </p:custDataLst>
            </p:nvPr>
          </p:nvSpPr>
          <p:spPr>
            <a:xfrm>
              <a:off x="478469" y="4968292"/>
              <a:ext cx="3976097" cy="457980"/>
            </a:xfrm>
            <a:prstGeom prst="rect">
              <a:avLst/>
            </a:prstGeom>
            <a:noFill/>
          </p:spPr>
          <p:txBody>
            <a:bodyPr wrap="square" lIns="93278" tIns="46639" rIns="93278" bIns="46639" rtlCol="0">
              <a:spAutoFit/>
            </a:bodyPr>
            <a:lstStyle/>
            <a:p>
              <a:pPr algn="ctr">
                <a:buSzPct val="90000"/>
              </a:pPr>
              <a:r>
                <a:rPr lang="zh-CN" altLang="en-US" dirty="0">
                  <a:gradFill>
                    <a:gsLst>
                      <a:gs pos="0">
                        <a:srgbClr val="FFFFFF"/>
                      </a:gs>
                      <a:gs pos="100000">
                        <a:srgbClr val="FFFFFF"/>
                      </a:gs>
                    </a:gsLst>
                    <a:lin ang="5400000" scaled="0"/>
                  </a:gradFill>
                  <a:cs typeface="+mn-ea"/>
                  <a:sym typeface="+mn-lt"/>
                </a:rPr>
                <a:t>单击此处添加文本</a:t>
              </a:r>
              <a:endParaRPr lang="en-US" altLang="zh-CN" dirty="0">
                <a:gradFill>
                  <a:gsLst>
                    <a:gs pos="0">
                      <a:srgbClr val="FFFFFF"/>
                    </a:gs>
                    <a:gs pos="100000">
                      <a:srgbClr val="FFFFFF"/>
                    </a:gs>
                  </a:gsLst>
                  <a:lin ang="5400000" scaled="0"/>
                </a:gradFill>
                <a:cs typeface="+mn-ea"/>
                <a:sym typeface="+mn-lt"/>
              </a:endParaRPr>
            </a:p>
          </p:txBody>
        </p:sp>
      </p:grpSp>
      <p:grpSp>
        <p:nvGrpSpPr>
          <p:cNvPr id="20" name="组合 19"/>
          <p:cNvGrpSpPr/>
          <p:nvPr/>
        </p:nvGrpSpPr>
        <p:grpSpPr>
          <a:xfrm>
            <a:off x="3131975" y="3140998"/>
            <a:ext cx="2541000" cy="1714225"/>
            <a:chOff x="2322492" y="3088998"/>
            <a:chExt cx="2511649" cy="1694204"/>
          </a:xfrm>
          <a:solidFill>
            <a:srgbClr val="8AB027"/>
          </a:solidFill>
        </p:grpSpPr>
        <p:grpSp>
          <p:nvGrpSpPr>
            <p:cNvPr id="21" name="组合 20"/>
            <p:cNvGrpSpPr/>
            <p:nvPr/>
          </p:nvGrpSpPr>
          <p:grpSpPr>
            <a:xfrm>
              <a:off x="2322492" y="3088998"/>
              <a:ext cx="2511649" cy="1044516"/>
              <a:chOff x="2322492" y="3088998"/>
              <a:chExt cx="2511649" cy="1044516"/>
            </a:xfrm>
            <a:grpFill/>
          </p:grpSpPr>
          <p:sp>
            <p:nvSpPr>
              <p:cNvPr id="23" name="Rectangle 50"/>
              <p:cNvSpPr/>
              <p:nvPr>
                <p:custDataLst>
                  <p:tags r:id="rId7"/>
                </p:custDataLst>
              </p:nvPr>
            </p:nvSpPr>
            <p:spPr bwMode="auto">
              <a:xfrm>
                <a:off x="2322492" y="3088998"/>
                <a:ext cx="2511649" cy="1044516"/>
              </a:xfrm>
              <a:prstGeom prst="rect">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sp>
            <p:nvSpPr>
              <p:cNvPr id="24" name="TextBox 25"/>
              <p:cNvSpPr txBox="1"/>
              <p:nvPr>
                <p:custDataLst>
                  <p:tags r:id="rId8"/>
                </p:custDataLst>
              </p:nvPr>
            </p:nvSpPr>
            <p:spPr>
              <a:xfrm>
                <a:off x="3285069" y="3165395"/>
                <a:ext cx="586498" cy="672869"/>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cs typeface="+mn-ea"/>
                    <a:sym typeface="+mn-lt"/>
                  </a:rPr>
                  <a:t>2</a:t>
                </a:r>
              </a:p>
            </p:txBody>
          </p:sp>
        </p:grpSp>
        <p:sp>
          <p:nvSpPr>
            <p:cNvPr id="22" name="Right Triangle 60"/>
            <p:cNvSpPr/>
            <p:nvPr>
              <p:custDataLst>
                <p:tags r:id="rId6"/>
              </p:custDataLst>
            </p:nvPr>
          </p:nvSpPr>
          <p:spPr bwMode="auto">
            <a:xfrm flipV="1">
              <a:off x="3285067" y="4133514"/>
              <a:ext cx="451948" cy="649688"/>
            </a:xfrm>
            <a:prstGeom prst="rtTriangle">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grpSp>
      <p:grpSp>
        <p:nvGrpSpPr>
          <p:cNvPr id="25" name="组合 24"/>
          <p:cNvGrpSpPr/>
          <p:nvPr/>
        </p:nvGrpSpPr>
        <p:grpSpPr>
          <a:xfrm>
            <a:off x="5654164" y="4971235"/>
            <a:ext cx="4507501" cy="626692"/>
            <a:chOff x="4815546" y="4897860"/>
            <a:chExt cx="4455437" cy="619372"/>
          </a:xfrm>
          <a:solidFill>
            <a:srgbClr val="8AB027"/>
          </a:solidFill>
        </p:grpSpPr>
        <p:sp>
          <p:nvSpPr>
            <p:cNvPr id="26" name="TextBox 27"/>
            <p:cNvSpPr txBox="1"/>
            <p:nvPr>
              <p:custDataLst>
                <p:tags r:id="rId4"/>
              </p:custDataLst>
            </p:nvPr>
          </p:nvSpPr>
          <p:spPr>
            <a:xfrm>
              <a:off x="4815546" y="4897860"/>
              <a:ext cx="4455437" cy="619372"/>
            </a:xfrm>
            <a:prstGeom prst="rect">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latin typeface="+mn-lt"/>
                <a:ea typeface="+mn-ea"/>
                <a:cs typeface="+mn-ea"/>
                <a:sym typeface="+mn-lt"/>
              </a:endParaRPr>
            </a:p>
          </p:txBody>
        </p:sp>
        <p:sp>
          <p:nvSpPr>
            <p:cNvPr id="27" name="TextBox 28"/>
            <p:cNvSpPr txBox="1"/>
            <p:nvPr>
              <p:custDataLst>
                <p:tags r:id="rId5"/>
              </p:custDataLst>
            </p:nvPr>
          </p:nvSpPr>
          <p:spPr>
            <a:xfrm>
              <a:off x="4932040" y="4968292"/>
              <a:ext cx="3976097" cy="457980"/>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cs typeface="+mn-ea"/>
                  <a:sym typeface="+mn-lt"/>
                </a:rPr>
                <a:t>单击此处添加文本</a:t>
              </a:r>
              <a:endParaRPr lang="en-US" altLang="zh-CN" dirty="0">
                <a:cs typeface="+mn-ea"/>
                <a:sym typeface="+mn-lt"/>
              </a:endParaRPr>
            </a:p>
          </p:txBody>
        </p:sp>
      </p:grpSp>
      <p:grpSp>
        <p:nvGrpSpPr>
          <p:cNvPr id="28" name="组合 27"/>
          <p:cNvGrpSpPr/>
          <p:nvPr/>
        </p:nvGrpSpPr>
        <p:grpSpPr>
          <a:xfrm>
            <a:off x="7861515" y="3144670"/>
            <a:ext cx="1512310" cy="1710553"/>
            <a:chOff x="6997403" y="3092627"/>
            <a:chExt cx="1494841" cy="1690575"/>
          </a:xfrm>
          <a:solidFill>
            <a:srgbClr val="8AB027"/>
          </a:solidFill>
        </p:grpSpPr>
        <p:sp>
          <p:nvSpPr>
            <p:cNvPr id="29" name="Rectangle 51"/>
            <p:cNvSpPr/>
            <p:nvPr>
              <p:custDataLst>
                <p:tags r:id="rId1"/>
              </p:custDataLst>
            </p:nvPr>
          </p:nvSpPr>
          <p:spPr bwMode="auto">
            <a:xfrm>
              <a:off x="6997403" y="3092627"/>
              <a:ext cx="1494841" cy="1044516"/>
            </a:xfrm>
            <a:prstGeom prst="rect">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sp>
          <p:nvSpPr>
            <p:cNvPr id="30" name="TextBox 31"/>
            <p:cNvSpPr txBox="1"/>
            <p:nvPr>
              <p:custDataLst>
                <p:tags r:id="rId2"/>
              </p:custDataLst>
            </p:nvPr>
          </p:nvSpPr>
          <p:spPr>
            <a:xfrm>
              <a:off x="7451574" y="3165395"/>
              <a:ext cx="586498" cy="672869"/>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cs typeface="+mn-ea"/>
                  <a:sym typeface="+mn-lt"/>
                </a:rPr>
                <a:t>4</a:t>
              </a:r>
            </a:p>
          </p:txBody>
        </p:sp>
        <p:sp>
          <p:nvSpPr>
            <p:cNvPr id="31" name="Right Triangle 61"/>
            <p:cNvSpPr/>
            <p:nvPr>
              <p:custDataLst>
                <p:tags r:id="rId3"/>
              </p:custDataLst>
            </p:nvPr>
          </p:nvSpPr>
          <p:spPr bwMode="auto">
            <a:xfrm flipV="1">
              <a:off x="7629668" y="4133514"/>
              <a:ext cx="451948" cy="649688"/>
            </a:xfrm>
            <a:prstGeom prst="rtTriangle">
              <a:avLst/>
            </a:prstGeom>
            <a:solidFill>
              <a:srgbClr val="A3CB8D"/>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cs typeface="+mn-ea"/>
                <a:sym typeface="+mn-lt"/>
              </a:endParaRPr>
            </a:p>
          </p:txBody>
        </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par>
                                <p:cTn id="8" presetID="22" presetClass="entr" presetSubtype="4" fill="hold" nodeType="withEffect">
                                  <p:stCondLst>
                                    <p:cond delay="200"/>
                                  </p:stCondLst>
                                  <p:childTnLst>
                                    <p:set>
                                      <p:cBhvr>
                                        <p:cTn id="9" dur="1" fill="hold">
                                          <p:stCondLst>
                                            <p:cond delay="0"/>
                                          </p:stCondLst>
                                        </p:cTn>
                                        <p:tgtEl>
                                          <p:spTgt spid="2"/>
                                        </p:tgtEl>
                                        <p:attrNameLst>
                                          <p:attrName>style.visibility</p:attrName>
                                        </p:attrNameLst>
                                      </p:cBhvr>
                                      <p:to>
                                        <p:strVal val="visible"/>
                                      </p:to>
                                    </p:set>
                                    <p:animEffect transition="in" filter="wipe(down)">
                                      <p:cBhvr>
                                        <p:cTn id="10" dur="500"/>
                                        <p:tgtEl>
                                          <p:spTgt spid="2"/>
                                        </p:tgtEl>
                                      </p:cBhvr>
                                    </p:animEffect>
                                  </p:childTnLst>
                                </p:cTn>
                              </p:par>
                              <p:par>
                                <p:cTn id="11" presetID="22" presetClass="entr" presetSubtype="1" fill="hold" nodeType="withEffect">
                                  <p:stCondLst>
                                    <p:cond delay="300"/>
                                  </p:stCondLst>
                                  <p:childTnLst>
                                    <p:set>
                                      <p:cBhvr>
                                        <p:cTn id="12" dur="1" fill="hold">
                                          <p:stCondLst>
                                            <p:cond delay="0"/>
                                          </p:stCondLst>
                                        </p:cTn>
                                        <p:tgtEl>
                                          <p:spTgt spid="20"/>
                                        </p:tgtEl>
                                        <p:attrNameLst>
                                          <p:attrName>style.visibility</p:attrName>
                                        </p:attrNameLst>
                                      </p:cBhvr>
                                      <p:to>
                                        <p:strVal val="visible"/>
                                      </p:to>
                                    </p:set>
                                    <p:animEffect transition="in" filter="wipe(up)">
                                      <p:cBhvr>
                                        <p:cTn id="13" dur="500"/>
                                        <p:tgtEl>
                                          <p:spTgt spid="20"/>
                                        </p:tgtEl>
                                      </p:cBhvr>
                                    </p:animEffect>
                                  </p:childTnLst>
                                </p:cTn>
                              </p:par>
                              <p:par>
                                <p:cTn id="14" presetID="22" presetClass="entr" presetSubtype="1" fill="hold" nodeType="withEffect">
                                  <p:stCondLst>
                                    <p:cond delay="500"/>
                                  </p:stCondLst>
                                  <p:childTnLst>
                                    <p:set>
                                      <p:cBhvr>
                                        <p:cTn id="15" dur="1" fill="hold">
                                          <p:stCondLst>
                                            <p:cond delay="0"/>
                                          </p:stCondLst>
                                        </p:cTn>
                                        <p:tgtEl>
                                          <p:spTgt spid="17"/>
                                        </p:tgtEl>
                                        <p:attrNameLst>
                                          <p:attrName>style.visibility</p:attrName>
                                        </p:attrNameLst>
                                      </p:cBhvr>
                                      <p:to>
                                        <p:strVal val="visible"/>
                                      </p:to>
                                    </p:set>
                                    <p:animEffect transition="in" filter="wipe(up)">
                                      <p:cBhvr>
                                        <p:cTn id="16" dur="500"/>
                                        <p:tgtEl>
                                          <p:spTgt spid="17"/>
                                        </p:tgtEl>
                                      </p:cBhvr>
                                    </p:animEffect>
                                  </p:childTnLst>
                                </p:cTn>
                              </p:par>
                              <p:par>
                                <p:cTn id="17" presetID="22" presetClass="entr" presetSubtype="4" fill="hold" nodeType="withEffect">
                                  <p:stCondLst>
                                    <p:cond delay="600"/>
                                  </p:stCondLst>
                                  <p:childTnLst>
                                    <p:set>
                                      <p:cBhvr>
                                        <p:cTn id="18" dur="1" fill="hold">
                                          <p:stCondLst>
                                            <p:cond delay="0"/>
                                          </p:stCondLst>
                                        </p:cTn>
                                        <p:tgtEl>
                                          <p:spTgt spid="13"/>
                                        </p:tgtEl>
                                        <p:attrNameLst>
                                          <p:attrName>style.visibility</p:attrName>
                                        </p:attrNameLst>
                                      </p:cBhvr>
                                      <p:to>
                                        <p:strVal val="visible"/>
                                      </p:to>
                                    </p:set>
                                    <p:animEffect transition="in" filter="wipe(down)">
                                      <p:cBhvr>
                                        <p:cTn id="19" dur="500"/>
                                        <p:tgtEl>
                                          <p:spTgt spid="13"/>
                                        </p:tgtEl>
                                      </p:cBhvr>
                                    </p:animEffect>
                                  </p:childTnLst>
                                </p:cTn>
                              </p:par>
                              <p:par>
                                <p:cTn id="20" presetID="22" presetClass="entr" presetSubtype="4" fill="hold" nodeType="withEffect">
                                  <p:stCondLst>
                                    <p:cond delay="700"/>
                                  </p:stCondLst>
                                  <p:childTnLst>
                                    <p:set>
                                      <p:cBhvr>
                                        <p:cTn id="21" dur="1" fill="hold">
                                          <p:stCondLst>
                                            <p:cond delay="0"/>
                                          </p:stCondLst>
                                        </p:cTn>
                                        <p:tgtEl>
                                          <p:spTgt spid="10"/>
                                        </p:tgtEl>
                                        <p:attrNameLst>
                                          <p:attrName>style.visibility</p:attrName>
                                        </p:attrNameLst>
                                      </p:cBhvr>
                                      <p:to>
                                        <p:strVal val="visible"/>
                                      </p:to>
                                    </p:set>
                                    <p:animEffect transition="in" filter="wipe(down)">
                                      <p:cBhvr>
                                        <p:cTn id="22" dur="500"/>
                                        <p:tgtEl>
                                          <p:spTgt spid="10"/>
                                        </p:tgtEl>
                                      </p:cBhvr>
                                    </p:animEffect>
                                  </p:childTnLst>
                                </p:cTn>
                              </p:par>
                              <p:par>
                                <p:cTn id="23" presetID="22" presetClass="entr" presetSubtype="1" fill="hold" nodeType="withEffect">
                                  <p:stCondLst>
                                    <p:cond delay="700"/>
                                  </p:stCondLst>
                                  <p:childTnLst>
                                    <p:set>
                                      <p:cBhvr>
                                        <p:cTn id="24" dur="1" fill="hold">
                                          <p:stCondLst>
                                            <p:cond delay="0"/>
                                          </p:stCondLst>
                                        </p:cTn>
                                        <p:tgtEl>
                                          <p:spTgt spid="28"/>
                                        </p:tgtEl>
                                        <p:attrNameLst>
                                          <p:attrName>style.visibility</p:attrName>
                                        </p:attrNameLst>
                                      </p:cBhvr>
                                      <p:to>
                                        <p:strVal val="visible"/>
                                      </p:to>
                                    </p:set>
                                    <p:animEffect transition="in" filter="wipe(up)">
                                      <p:cBhvr>
                                        <p:cTn id="25" dur="500"/>
                                        <p:tgtEl>
                                          <p:spTgt spid="28"/>
                                        </p:tgtEl>
                                      </p:cBhvr>
                                    </p:animEffect>
                                  </p:childTnLst>
                                </p:cTn>
                              </p:par>
                              <p:par>
                                <p:cTn id="26" presetID="22" presetClass="entr" presetSubtype="1" fill="hold" nodeType="withEffect">
                                  <p:stCondLst>
                                    <p:cond delay="900"/>
                                  </p:stCondLst>
                                  <p:childTnLst>
                                    <p:set>
                                      <p:cBhvr>
                                        <p:cTn id="27" dur="1" fill="hold">
                                          <p:stCondLst>
                                            <p:cond delay="0"/>
                                          </p:stCondLst>
                                        </p:cTn>
                                        <p:tgtEl>
                                          <p:spTgt spid="25"/>
                                        </p:tgtEl>
                                        <p:attrNameLst>
                                          <p:attrName>style.visibility</p:attrName>
                                        </p:attrNameLst>
                                      </p:cBhvr>
                                      <p:to>
                                        <p:strVal val="visible"/>
                                      </p:to>
                                    </p:set>
                                    <p:animEffect transition="in" filter="wipe(up)">
                                      <p:cBhvr>
                                        <p:cTn id="2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746040" y="2096852"/>
            <a:ext cx="6230954" cy="3173906"/>
            <a:chOff x="2927290" y="2013138"/>
            <a:chExt cx="6910938" cy="3520274"/>
          </a:xfrm>
        </p:grpSpPr>
        <p:sp>
          <p:nvSpPr>
            <p:cNvPr id="3" name="Shape 5"/>
            <p:cNvSpPr/>
            <p:nvPr/>
          </p:nvSpPr>
          <p:spPr>
            <a:xfrm>
              <a:off x="3632008" y="2085632"/>
              <a:ext cx="2145863" cy="2145863"/>
            </a:xfrm>
            <a:prstGeom prst="gear9">
              <a:avLst/>
            </a:prstGeom>
            <a:solidFill>
              <a:srgbClr val="82B86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cs typeface="+mn-ea"/>
                <a:sym typeface="+mn-lt"/>
              </a:endParaRPr>
            </a:p>
          </p:txBody>
        </p:sp>
        <p:sp>
          <p:nvSpPr>
            <p:cNvPr id="4" name="Shape 4"/>
            <p:cNvSpPr/>
            <p:nvPr/>
          </p:nvSpPr>
          <p:spPr>
            <a:xfrm>
              <a:off x="4077490" y="3024391"/>
              <a:ext cx="1283035" cy="11030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lvl="0" algn="ctr" defTabSz="1778000">
                <a:lnSpc>
                  <a:spcPct val="90000"/>
                </a:lnSpc>
                <a:spcBef>
                  <a:spcPct val="0"/>
                </a:spcBef>
                <a:spcAft>
                  <a:spcPct val="35000"/>
                </a:spcAft>
              </a:pPr>
              <a:endParaRPr lang="en-GB" sz="4000" kern="1200">
                <a:cs typeface="+mn-ea"/>
                <a:sym typeface="+mn-lt"/>
              </a:endParaRPr>
            </a:p>
          </p:txBody>
        </p:sp>
        <p:sp>
          <p:nvSpPr>
            <p:cNvPr id="5" name="AutoShape 4"/>
            <p:cNvSpPr/>
            <p:nvPr/>
          </p:nvSpPr>
          <p:spPr bwMode="auto">
            <a:xfrm>
              <a:off x="4336857" y="2797477"/>
              <a:ext cx="710819" cy="66781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a:noFill/>
            </a:ln>
            <a:effectLst>
              <a:outerShdw blurRad="50800" dist="38100" dir="10800000" algn="r" rotWithShape="0">
                <a:prstClr val="black">
                  <a:alpha val="40000"/>
                </a:prstClr>
              </a:outerShdw>
            </a:effec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cs typeface="+mn-ea"/>
                <a:sym typeface="+mn-lt"/>
              </a:endParaRPr>
            </a:p>
          </p:txBody>
        </p:sp>
        <p:sp>
          <p:nvSpPr>
            <p:cNvPr id="6" name="Shape 11"/>
            <p:cNvSpPr/>
            <p:nvPr/>
          </p:nvSpPr>
          <p:spPr>
            <a:xfrm>
              <a:off x="3988308" y="3972784"/>
              <a:ext cx="1560628" cy="1560628"/>
            </a:xfrm>
            <a:prstGeom prst="gear6">
              <a:avLst/>
            </a:prstGeom>
            <a:solidFill>
              <a:srgbClr val="86BD7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cs typeface="+mn-ea"/>
                <a:sym typeface="+mn-lt"/>
              </a:endParaRPr>
            </a:p>
          </p:txBody>
        </p:sp>
        <p:sp>
          <p:nvSpPr>
            <p:cNvPr id="7" name="Shape 4"/>
            <p:cNvSpPr/>
            <p:nvPr/>
          </p:nvSpPr>
          <p:spPr>
            <a:xfrm>
              <a:off x="4381201" y="4368051"/>
              <a:ext cx="774842" cy="77009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GB" sz="2400" kern="1200">
                <a:cs typeface="+mn-ea"/>
                <a:sym typeface="+mn-lt"/>
              </a:endParaRPr>
            </a:p>
          </p:txBody>
        </p:sp>
        <p:sp>
          <p:nvSpPr>
            <p:cNvPr id="8" name="AutoShape 123"/>
            <p:cNvSpPr/>
            <p:nvPr/>
          </p:nvSpPr>
          <p:spPr bwMode="auto">
            <a:xfrm>
              <a:off x="4463226" y="4465203"/>
              <a:ext cx="561856" cy="5618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180" y="12132"/>
                  </a:moveTo>
                  <a:cubicBezTo>
                    <a:pt x="17710" y="12226"/>
                    <a:pt x="17327" y="12561"/>
                    <a:pt x="17170" y="13012"/>
                  </a:cubicBezTo>
                  <a:cubicBezTo>
                    <a:pt x="17083" y="13261"/>
                    <a:pt x="16981" y="13503"/>
                    <a:pt x="16868" y="13738"/>
                  </a:cubicBezTo>
                  <a:cubicBezTo>
                    <a:pt x="16658" y="14169"/>
                    <a:pt x="16694" y="14677"/>
                    <a:pt x="16959" y="15075"/>
                  </a:cubicBezTo>
                  <a:lnTo>
                    <a:pt x="18131" y="16833"/>
                  </a:lnTo>
                  <a:lnTo>
                    <a:pt x="16832" y="18132"/>
                  </a:lnTo>
                  <a:lnTo>
                    <a:pt x="15075" y="16960"/>
                  </a:lnTo>
                  <a:cubicBezTo>
                    <a:pt x="14850" y="16810"/>
                    <a:pt x="14589" y="16733"/>
                    <a:pt x="14326" y="16733"/>
                  </a:cubicBezTo>
                  <a:cubicBezTo>
                    <a:pt x="14126" y="16733"/>
                    <a:pt x="13924" y="16778"/>
                    <a:pt x="13738" y="16868"/>
                  </a:cubicBezTo>
                  <a:cubicBezTo>
                    <a:pt x="13504" y="16981"/>
                    <a:pt x="13262" y="17083"/>
                    <a:pt x="13012" y="17170"/>
                  </a:cubicBezTo>
                  <a:cubicBezTo>
                    <a:pt x="12561" y="17327"/>
                    <a:pt x="12226" y="17712"/>
                    <a:pt x="12133" y="18180"/>
                  </a:cubicBezTo>
                  <a:lnTo>
                    <a:pt x="11717" y="20249"/>
                  </a:lnTo>
                  <a:lnTo>
                    <a:pt x="9881" y="20249"/>
                  </a:lnTo>
                  <a:lnTo>
                    <a:pt x="9467" y="18180"/>
                  </a:lnTo>
                  <a:cubicBezTo>
                    <a:pt x="9373" y="17712"/>
                    <a:pt x="9039" y="17327"/>
                    <a:pt x="8588" y="17170"/>
                  </a:cubicBezTo>
                  <a:cubicBezTo>
                    <a:pt x="8339" y="17083"/>
                    <a:pt x="8096" y="16983"/>
                    <a:pt x="7861" y="16869"/>
                  </a:cubicBezTo>
                  <a:cubicBezTo>
                    <a:pt x="7675" y="16778"/>
                    <a:pt x="7474" y="16733"/>
                    <a:pt x="7273" y="16733"/>
                  </a:cubicBezTo>
                  <a:cubicBezTo>
                    <a:pt x="7011" y="16733"/>
                    <a:pt x="6750" y="16810"/>
                    <a:pt x="6525" y="16960"/>
                  </a:cubicBezTo>
                  <a:lnTo>
                    <a:pt x="4767" y="18132"/>
                  </a:lnTo>
                  <a:lnTo>
                    <a:pt x="3468" y="16833"/>
                  </a:lnTo>
                  <a:lnTo>
                    <a:pt x="4639" y="15075"/>
                  </a:lnTo>
                  <a:cubicBezTo>
                    <a:pt x="4904" y="14677"/>
                    <a:pt x="4939" y="14169"/>
                    <a:pt x="4732" y="13738"/>
                  </a:cubicBezTo>
                  <a:cubicBezTo>
                    <a:pt x="4618" y="13504"/>
                    <a:pt x="4516" y="13263"/>
                    <a:pt x="4429" y="13013"/>
                  </a:cubicBezTo>
                  <a:cubicBezTo>
                    <a:pt x="4273" y="12561"/>
                    <a:pt x="3888" y="12227"/>
                    <a:pt x="3419" y="12133"/>
                  </a:cubicBezTo>
                  <a:lnTo>
                    <a:pt x="1350" y="11718"/>
                  </a:lnTo>
                  <a:lnTo>
                    <a:pt x="1349" y="9882"/>
                  </a:lnTo>
                  <a:lnTo>
                    <a:pt x="3419" y="9468"/>
                  </a:lnTo>
                  <a:cubicBezTo>
                    <a:pt x="3888" y="9374"/>
                    <a:pt x="4273" y="9039"/>
                    <a:pt x="4429" y="8588"/>
                  </a:cubicBezTo>
                  <a:cubicBezTo>
                    <a:pt x="4516" y="8338"/>
                    <a:pt x="4617" y="8096"/>
                    <a:pt x="4731" y="7862"/>
                  </a:cubicBezTo>
                  <a:cubicBezTo>
                    <a:pt x="4940" y="7431"/>
                    <a:pt x="4905" y="6923"/>
                    <a:pt x="4639" y="6524"/>
                  </a:cubicBezTo>
                  <a:lnTo>
                    <a:pt x="3468" y="4767"/>
                  </a:lnTo>
                  <a:lnTo>
                    <a:pt x="4767" y="3468"/>
                  </a:lnTo>
                  <a:lnTo>
                    <a:pt x="6525" y="4639"/>
                  </a:lnTo>
                  <a:cubicBezTo>
                    <a:pt x="6750" y="4790"/>
                    <a:pt x="7011" y="4866"/>
                    <a:pt x="7273" y="4866"/>
                  </a:cubicBezTo>
                  <a:cubicBezTo>
                    <a:pt x="7474" y="4866"/>
                    <a:pt x="7674" y="4822"/>
                    <a:pt x="7861" y="4732"/>
                  </a:cubicBezTo>
                  <a:cubicBezTo>
                    <a:pt x="8095" y="4619"/>
                    <a:pt x="8337" y="4517"/>
                    <a:pt x="8586" y="4430"/>
                  </a:cubicBezTo>
                  <a:cubicBezTo>
                    <a:pt x="9039" y="4272"/>
                    <a:pt x="9373" y="3888"/>
                    <a:pt x="9467" y="3420"/>
                  </a:cubicBezTo>
                  <a:lnTo>
                    <a:pt x="9881" y="1350"/>
                  </a:lnTo>
                  <a:lnTo>
                    <a:pt x="11717" y="1350"/>
                  </a:lnTo>
                  <a:lnTo>
                    <a:pt x="12131" y="3420"/>
                  </a:lnTo>
                  <a:cubicBezTo>
                    <a:pt x="12225" y="3888"/>
                    <a:pt x="12560" y="4272"/>
                    <a:pt x="13012" y="4430"/>
                  </a:cubicBezTo>
                  <a:cubicBezTo>
                    <a:pt x="13261" y="4517"/>
                    <a:pt x="13502" y="4617"/>
                    <a:pt x="13737" y="4731"/>
                  </a:cubicBezTo>
                  <a:cubicBezTo>
                    <a:pt x="13924" y="4822"/>
                    <a:pt x="14125" y="4866"/>
                    <a:pt x="14326" y="4866"/>
                  </a:cubicBezTo>
                  <a:cubicBezTo>
                    <a:pt x="14589" y="4866"/>
                    <a:pt x="14850" y="4790"/>
                    <a:pt x="15075" y="4639"/>
                  </a:cubicBezTo>
                  <a:lnTo>
                    <a:pt x="16832" y="3468"/>
                  </a:lnTo>
                  <a:lnTo>
                    <a:pt x="18131" y="4767"/>
                  </a:lnTo>
                  <a:lnTo>
                    <a:pt x="16959" y="6524"/>
                  </a:lnTo>
                  <a:cubicBezTo>
                    <a:pt x="16694" y="6923"/>
                    <a:pt x="16660" y="7431"/>
                    <a:pt x="16867" y="7861"/>
                  </a:cubicBezTo>
                  <a:cubicBezTo>
                    <a:pt x="16980" y="8096"/>
                    <a:pt x="17083" y="8337"/>
                    <a:pt x="17170" y="8587"/>
                  </a:cubicBezTo>
                  <a:cubicBezTo>
                    <a:pt x="17327" y="9039"/>
                    <a:pt x="17710" y="9373"/>
                    <a:pt x="18180" y="9467"/>
                  </a:cubicBezTo>
                  <a:lnTo>
                    <a:pt x="20248" y="9882"/>
                  </a:lnTo>
                  <a:lnTo>
                    <a:pt x="20250" y="11718"/>
                  </a:lnTo>
                  <a:cubicBezTo>
                    <a:pt x="20250" y="11718"/>
                    <a:pt x="18180" y="12132"/>
                    <a:pt x="18180" y="12132"/>
                  </a:cubicBezTo>
                  <a:close/>
                  <a:moveTo>
                    <a:pt x="20513" y="8558"/>
                  </a:moveTo>
                  <a:lnTo>
                    <a:pt x="18445" y="8143"/>
                  </a:lnTo>
                  <a:cubicBezTo>
                    <a:pt x="18341" y="7844"/>
                    <a:pt x="18218" y="7554"/>
                    <a:pt x="18082" y="7273"/>
                  </a:cubicBezTo>
                  <a:lnTo>
                    <a:pt x="19254" y="5516"/>
                  </a:lnTo>
                  <a:cubicBezTo>
                    <a:pt x="19611" y="4980"/>
                    <a:pt x="19540" y="4268"/>
                    <a:pt x="19085" y="3813"/>
                  </a:cubicBezTo>
                  <a:lnTo>
                    <a:pt x="17787" y="2514"/>
                  </a:lnTo>
                  <a:cubicBezTo>
                    <a:pt x="17526" y="2253"/>
                    <a:pt x="17181" y="2118"/>
                    <a:pt x="16831" y="2118"/>
                  </a:cubicBezTo>
                  <a:cubicBezTo>
                    <a:pt x="16573" y="2118"/>
                    <a:pt x="16312" y="2193"/>
                    <a:pt x="16084" y="2345"/>
                  </a:cubicBezTo>
                  <a:lnTo>
                    <a:pt x="14326" y="3516"/>
                  </a:lnTo>
                  <a:cubicBezTo>
                    <a:pt x="14044" y="3380"/>
                    <a:pt x="13754" y="3258"/>
                    <a:pt x="13455" y="3155"/>
                  </a:cubicBezTo>
                  <a:lnTo>
                    <a:pt x="13041" y="1085"/>
                  </a:lnTo>
                  <a:cubicBezTo>
                    <a:pt x="12916" y="454"/>
                    <a:pt x="12361" y="0"/>
                    <a:pt x="11717" y="0"/>
                  </a:cubicBezTo>
                  <a:lnTo>
                    <a:pt x="9881" y="0"/>
                  </a:lnTo>
                  <a:cubicBezTo>
                    <a:pt x="9238" y="0"/>
                    <a:pt x="8684" y="454"/>
                    <a:pt x="8557" y="1085"/>
                  </a:cubicBezTo>
                  <a:lnTo>
                    <a:pt x="8143" y="3155"/>
                  </a:lnTo>
                  <a:cubicBezTo>
                    <a:pt x="7843" y="3258"/>
                    <a:pt x="7554" y="3381"/>
                    <a:pt x="7273" y="3516"/>
                  </a:cubicBezTo>
                  <a:lnTo>
                    <a:pt x="5516" y="2345"/>
                  </a:lnTo>
                  <a:cubicBezTo>
                    <a:pt x="5287" y="2193"/>
                    <a:pt x="5026" y="2118"/>
                    <a:pt x="4767" y="2118"/>
                  </a:cubicBezTo>
                  <a:cubicBezTo>
                    <a:pt x="4419" y="2118"/>
                    <a:pt x="4073" y="2253"/>
                    <a:pt x="3812" y="2514"/>
                  </a:cubicBezTo>
                  <a:lnTo>
                    <a:pt x="2514" y="3813"/>
                  </a:lnTo>
                  <a:cubicBezTo>
                    <a:pt x="2059" y="4268"/>
                    <a:pt x="1988" y="4980"/>
                    <a:pt x="2345" y="5516"/>
                  </a:cubicBezTo>
                  <a:lnTo>
                    <a:pt x="3516" y="7273"/>
                  </a:lnTo>
                  <a:cubicBezTo>
                    <a:pt x="3380" y="7555"/>
                    <a:pt x="3258" y="7844"/>
                    <a:pt x="3154" y="8144"/>
                  </a:cubicBezTo>
                  <a:lnTo>
                    <a:pt x="1085" y="8558"/>
                  </a:lnTo>
                  <a:cubicBezTo>
                    <a:pt x="454" y="8684"/>
                    <a:pt x="0" y="9238"/>
                    <a:pt x="0" y="9882"/>
                  </a:cubicBezTo>
                  <a:lnTo>
                    <a:pt x="0" y="11718"/>
                  </a:lnTo>
                  <a:cubicBezTo>
                    <a:pt x="0" y="12361"/>
                    <a:pt x="454" y="12916"/>
                    <a:pt x="1085" y="13042"/>
                  </a:cubicBezTo>
                  <a:lnTo>
                    <a:pt x="3154" y="13456"/>
                  </a:lnTo>
                  <a:cubicBezTo>
                    <a:pt x="3258" y="13755"/>
                    <a:pt x="3380" y="14046"/>
                    <a:pt x="3516" y="14326"/>
                  </a:cubicBezTo>
                  <a:lnTo>
                    <a:pt x="2345" y="16083"/>
                  </a:lnTo>
                  <a:cubicBezTo>
                    <a:pt x="1988" y="16619"/>
                    <a:pt x="2059" y="17332"/>
                    <a:pt x="2514" y="17787"/>
                  </a:cubicBezTo>
                  <a:lnTo>
                    <a:pt x="3812" y="19086"/>
                  </a:lnTo>
                  <a:cubicBezTo>
                    <a:pt x="4073" y="19346"/>
                    <a:pt x="4419" y="19482"/>
                    <a:pt x="4767" y="19482"/>
                  </a:cubicBezTo>
                  <a:cubicBezTo>
                    <a:pt x="5026" y="19482"/>
                    <a:pt x="5287" y="19406"/>
                    <a:pt x="5516" y="19254"/>
                  </a:cubicBezTo>
                  <a:lnTo>
                    <a:pt x="7273" y="18083"/>
                  </a:lnTo>
                  <a:cubicBezTo>
                    <a:pt x="7554" y="18220"/>
                    <a:pt x="7843" y="18341"/>
                    <a:pt x="8143" y="18445"/>
                  </a:cubicBezTo>
                  <a:lnTo>
                    <a:pt x="8557" y="20514"/>
                  </a:lnTo>
                  <a:cubicBezTo>
                    <a:pt x="8684" y="21146"/>
                    <a:pt x="9238" y="21599"/>
                    <a:pt x="9881" y="21599"/>
                  </a:cubicBezTo>
                  <a:lnTo>
                    <a:pt x="11717" y="21599"/>
                  </a:lnTo>
                  <a:cubicBezTo>
                    <a:pt x="12361" y="21599"/>
                    <a:pt x="12916" y="21146"/>
                    <a:pt x="13041" y="20514"/>
                  </a:cubicBezTo>
                  <a:lnTo>
                    <a:pt x="13456" y="18445"/>
                  </a:lnTo>
                  <a:cubicBezTo>
                    <a:pt x="13755" y="18341"/>
                    <a:pt x="14046" y="18219"/>
                    <a:pt x="14326" y="18083"/>
                  </a:cubicBezTo>
                  <a:lnTo>
                    <a:pt x="16084" y="19254"/>
                  </a:lnTo>
                  <a:cubicBezTo>
                    <a:pt x="16312" y="19406"/>
                    <a:pt x="16573" y="19482"/>
                    <a:pt x="16831" y="19482"/>
                  </a:cubicBezTo>
                  <a:cubicBezTo>
                    <a:pt x="17181" y="19482"/>
                    <a:pt x="17526" y="19346"/>
                    <a:pt x="17787" y="19086"/>
                  </a:cubicBezTo>
                  <a:lnTo>
                    <a:pt x="19085" y="17787"/>
                  </a:lnTo>
                  <a:cubicBezTo>
                    <a:pt x="19540" y="17332"/>
                    <a:pt x="19611" y="16619"/>
                    <a:pt x="19254" y="16083"/>
                  </a:cubicBezTo>
                  <a:lnTo>
                    <a:pt x="18082" y="14326"/>
                  </a:lnTo>
                  <a:cubicBezTo>
                    <a:pt x="18219" y="14045"/>
                    <a:pt x="18341" y="13755"/>
                    <a:pt x="18445" y="13456"/>
                  </a:cubicBezTo>
                  <a:lnTo>
                    <a:pt x="20513" y="13042"/>
                  </a:lnTo>
                  <a:cubicBezTo>
                    <a:pt x="21145" y="12916"/>
                    <a:pt x="21599" y="12361"/>
                    <a:pt x="21599" y="11718"/>
                  </a:cubicBezTo>
                  <a:lnTo>
                    <a:pt x="21599" y="9882"/>
                  </a:lnTo>
                  <a:cubicBezTo>
                    <a:pt x="21599" y="9238"/>
                    <a:pt x="21145" y="8684"/>
                    <a:pt x="20513" y="8558"/>
                  </a:cubicBezTo>
                </a:path>
              </a:pathLst>
            </a:custGeom>
            <a:solidFill>
              <a:schemeClr val="bg1"/>
            </a:solidFill>
            <a:ln>
              <a:noFill/>
            </a:ln>
            <a:effectLst>
              <a:outerShdw blurRad="50800" dist="38100" dir="10800000" algn="r" rotWithShape="0">
                <a:prstClr val="black">
                  <a:alpha val="40000"/>
                </a:prstClr>
              </a:outerShdw>
            </a:effec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cs typeface="+mn-ea"/>
                <a:sym typeface="+mn-lt"/>
              </a:endParaRPr>
            </a:p>
          </p:txBody>
        </p:sp>
        <p:sp>
          <p:nvSpPr>
            <p:cNvPr id="9" name="AutoShape 124"/>
            <p:cNvSpPr/>
            <p:nvPr/>
          </p:nvSpPr>
          <p:spPr bwMode="auto">
            <a:xfrm>
              <a:off x="4621615" y="4622798"/>
              <a:ext cx="245872" cy="24587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0250"/>
                  </a:moveTo>
                  <a:cubicBezTo>
                    <a:pt x="5580" y="20250"/>
                    <a:pt x="1350" y="16017"/>
                    <a:pt x="1350" y="10800"/>
                  </a:cubicBezTo>
                  <a:cubicBezTo>
                    <a:pt x="1350" y="5582"/>
                    <a:pt x="5580" y="1349"/>
                    <a:pt x="10800" y="1349"/>
                  </a:cubicBezTo>
                  <a:cubicBezTo>
                    <a:pt x="16016" y="1349"/>
                    <a:pt x="20250" y="5582"/>
                    <a:pt x="20250" y="10800"/>
                  </a:cubicBezTo>
                  <a:cubicBezTo>
                    <a:pt x="20250" y="16017"/>
                    <a:pt x="16016" y="20250"/>
                    <a:pt x="10800" y="20250"/>
                  </a:cubicBezTo>
                  <a:moveTo>
                    <a:pt x="10800" y="0"/>
                  </a:moveTo>
                  <a:cubicBezTo>
                    <a:pt x="4836" y="0"/>
                    <a:pt x="0" y="4836"/>
                    <a:pt x="0" y="10800"/>
                  </a:cubicBezTo>
                  <a:cubicBezTo>
                    <a:pt x="0" y="16763"/>
                    <a:pt x="4836" y="21600"/>
                    <a:pt x="10800" y="21600"/>
                  </a:cubicBezTo>
                  <a:cubicBezTo>
                    <a:pt x="16763" y="21600"/>
                    <a:pt x="21599" y="16763"/>
                    <a:pt x="21599" y="10800"/>
                  </a:cubicBezTo>
                  <a:cubicBezTo>
                    <a:pt x="21599" y="4836"/>
                    <a:pt x="16763" y="0"/>
                    <a:pt x="10800" y="0"/>
                  </a:cubicBezTo>
                </a:path>
              </a:pathLst>
            </a:custGeom>
            <a:solidFill>
              <a:schemeClr val="bg1"/>
            </a:solidFill>
            <a:ln>
              <a:noFill/>
            </a:ln>
            <a:effectLst>
              <a:outerShdw blurRad="50800" dist="38100" dir="10800000" algn="r" rotWithShape="0">
                <a:prstClr val="black">
                  <a:alpha val="40000"/>
                </a:prstClr>
              </a:outerShdw>
            </a:effec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cs typeface="+mn-ea"/>
                <a:sym typeface="+mn-lt"/>
              </a:endParaRPr>
            </a:p>
          </p:txBody>
        </p:sp>
        <p:sp>
          <p:nvSpPr>
            <p:cNvPr id="10" name="Shape 18"/>
            <p:cNvSpPr/>
            <p:nvPr/>
          </p:nvSpPr>
          <p:spPr>
            <a:xfrm>
              <a:off x="6603077" y="3158564"/>
              <a:ext cx="2145863" cy="2145863"/>
            </a:xfrm>
            <a:prstGeom prst="gear9">
              <a:avLst/>
            </a:prstGeom>
            <a:solidFill>
              <a:srgbClr val="82B86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cs typeface="+mn-ea"/>
                <a:sym typeface="+mn-lt"/>
              </a:endParaRPr>
            </a:p>
          </p:txBody>
        </p:sp>
        <p:sp>
          <p:nvSpPr>
            <p:cNvPr id="11" name="Shape 4"/>
            <p:cNvSpPr/>
            <p:nvPr/>
          </p:nvSpPr>
          <p:spPr>
            <a:xfrm>
              <a:off x="7034491" y="3661222"/>
              <a:ext cx="1283035" cy="11030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lvl="0" algn="ctr" defTabSz="1778000">
                <a:lnSpc>
                  <a:spcPct val="90000"/>
                </a:lnSpc>
                <a:spcBef>
                  <a:spcPct val="0"/>
                </a:spcBef>
                <a:spcAft>
                  <a:spcPct val="35000"/>
                </a:spcAft>
              </a:pPr>
              <a:endParaRPr lang="en-GB" sz="4000" kern="1200">
                <a:cs typeface="+mn-ea"/>
                <a:sym typeface="+mn-lt"/>
              </a:endParaRPr>
            </a:p>
          </p:txBody>
        </p:sp>
        <p:grpSp>
          <p:nvGrpSpPr>
            <p:cNvPr id="12" name="Group 15"/>
            <p:cNvGrpSpPr/>
            <p:nvPr/>
          </p:nvGrpSpPr>
          <p:grpSpPr>
            <a:xfrm>
              <a:off x="7034491" y="3675291"/>
              <a:ext cx="1283035" cy="1103018"/>
              <a:chOff x="6891616" y="3375253"/>
              <a:chExt cx="1283035" cy="1103018"/>
            </a:xfrm>
          </p:grpSpPr>
          <p:sp>
            <p:nvSpPr>
              <p:cNvPr id="20" name="Shape 4"/>
              <p:cNvSpPr/>
              <p:nvPr/>
            </p:nvSpPr>
            <p:spPr>
              <a:xfrm>
                <a:off x="6891616" y="3375253"/>
                <a:ext cx="1283035" cy="11030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lvl="0" algn="ctr" defTabSz="1778000">
                  <a:lnSpc>
                    <a:spcPct val="90000"/>
                  </a:lnSpc>
                  <a:spcBef>
                    <a:spcPct val="0"/>
                  </a:spcBef>
                  <a:spcAft>
                    <a:spcPct val="35000"/>
                  </a:spcAft>
                </a:pPr>
                <a:endParaRPr lang="en-GB" sz="4000" kern="1200">
                  <a:cs typeface="+mn-ea"/>
                  <a:sym typeface="+mn-lt"/>
                </a:endParaRPr>
              </a:p>
            </p:txBody>
          </p:sp>
          <p:sp>
            <p:nvSpPr>
              <p:cNvPr id="21" name="AutoShape 59"/>
              <p:cNvSpPr/>
              <p:nvPr/>
            </p:nvSpPr>
            <p:spPr bwMode="auto">
              <a:xfrm>
                <a:off x="7102217" y="3560978"/>
                <a:ext cx="749110" cy="747831"/>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chemeClr val="bg1"/>
              </a:solidFill>
              <a:ln>
                <a:noFill/>
              </a:ln>
              <a:effectLst>
                <a:outerShdw blurRad="50800" dist="38100" dir="10800000" algn="r" rotWithShape="0">
                  <a:prstClr val="black">
                    <a:alpha val="40000"/>
                  </a:prstClr>
                </a:outerShdw>
              </a:effec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cs typeface="+mn-ea"/>
                  <a:sym typeface="+mn-lt"/>
                </a:endParaRPr>
              </a:p>
            </p:txBody>
          </p:sp>
        </p:grpSp>
        <p:sp>
          <p:nvSpPr>
            <p:cNvPr id="13" name="Shape 23"/>
            <p:cNvSpPr/>
            <p:nvPr/>
          </p:nvSpPr>
          <p:spPr>
            <a:xfrm rot="20700000">
              <a:off x="5259579" y="3465875"/>
              <a:ext cx="1529096" cy="1529096"/>
            </a:xfrm>
            <a:prstGeom prst="gear6">
              <a:avLst/>
            </a:prstGeom>
            <a:solidFill>
              <a:srgbClr val="86BD7D"/>
            </a:solidFill>
            <a:ln>
              <a:solidFill>
                <a:schemeClr val="lt1">
                  <a:hueOff val="0"/>
                  <a:satOff val="0"/>
                  <a:lumOff val="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zh-CN" altLang="en-US">
                <a:cs typeface="+mn-ea"/>
                <a:sym typeface="+mn-lt"/>
              </a:endParaRPr>
            </a:p>
          </p:txBody>
        </p:sp>
        <p:sp>
          <p:nvSpPr>
            <p:cNvPr id="14" name="Shape 4"/>
            <p:cNvSpPr/>
            <p:nvPr/>
          </p:nvSpPr>
          <p:spPr>
            <a:xfrm>
              <a:off x="5594954" y="3801251"/>
              <a:ext cx="858345" cy="85834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1200150">
                <a:lnSpc>
                  <a:spcPct val="90000"/>
                </a:lnSpc>
                <a:spcBef>
                  <a:spcPct val="0"/>
                </a:spcBef>
                <a:spcAft>
                  <a:spcPct val="35000"/>
                </a:spcAft>
              </a:pPr>
              <a:endParaRPr lang="en-GB" sz="2700" kern="1200">
                <a:cs typeface="+mn-ea"/>
                <a:sym typeface="+mn-lt"/>
              </a:endParaRPr>
            </a:p>
          </p:txBody>
        </p:sp>
        <p:sp>
          <p:nvSpPr>
            <p:cNvPr id="15" name="AutoShape 29"/>
            <p:cNvSpPr/>
            <p:nvPr/>
          </p:nvSpPr>
          <p:spPr bwMode="auto">
            <a:xfrm>
              <a:off x="5787145" y="4001506"/>
              <a:ext cx="464344" cy="420688"/>
            </a:xfrm>
            <a:custGeom>
              <a:avLst/>
              <a:gdLst>
                <a:gd name="T0" fmla="+- 0 10736 439"/>
                <a:gd name="T1" fmla="*/ T0 w 20595"/>
                <a:gd name="T2" fmla="+- 0 10869 621"/>
                <a:gd name="T3" fmla="*/ 10869 h 20497"/>
                <a:gd name="T4" fmla="+- 0 10736 439"/>
                <a:gd name="T5" fmla="*/ T4 w 20595"/>
                <a:gd name="T6" fmla="+- 0 10869 621"/>
                <a:gd name="T7" fmla="*/ 10869 h 20497"/>
                <a:gd name="T8" fmla="+- 0 10736 439"/>
                <a:gd name="T9" fmla="*/ T8 w 20595"/>
                <a:gd name="T10" fmla="+- 0 10869 621"/>
                <a:gd name="T11" fmla="*/ 10869 h 20497"/>
                <a:gd name="T12" fmla="+- 0 10736 439"/>
                <a:gd name="T13" fmla="*/ T12 w 20595"/>
                <a:gd name="T14" fmla="+- 0 10869 621"/>
                <a:gd name="T15" fmla="*/ 10869 h 20497"/>
              </a:gdLst>
              <a:ahLst/>
              <a:cxnLst>
                <a:cxn ang="0">
                  <a:pos x="T1" y="T3"/>
                </a:cxn>
                <a:cxn ang="0">
                  <a:pos x="T5" y="T7"/>
                </a:cxn>
                <a:cxn ang="0">
                  <a:pos x="T9" y="T11"/>
                </a:cxn>
                <a:cxn ang="0">
                  <a:pos x="T13" y="T15"/>
                </a:cxn>
              </a:cxnLst>
              <a:rect l="0" t="0" r="r" b="b"/>
              <a:pathLst>
                <a:path w="20595" h="20497">
                  <a:moveTo>
                    <a:pt x="18898" y="1863"/>
                  </a:moveTo>
                  <a:cubicBezTo>
                    <a:pt x="16636" y="-621"/>
                    <a:pt x="12968" y="-621"/>
                    <a:pt x="10707" y="1863"/>
                  </a:cubicBezTo>
                  <a:lnTo>
                    <a:pt x="1317" y="12053"/>
                  </a:lnTo>
                  <a:cubicBezTo>
                    <a:pt x="-439" y="13982"/>
                    <a:pt x="-439" y="17121"/>
                    <a:pt x="1317" y="19050"/>
                  </a:cubicBezTo>
                  <a:cubicBezTo>
                    <a:pt x="3073" y="20979"/>
                    <a:pt x="5931" y="20979"/>
                    <a:pt x="7687" y="19050"/>
                  </a:cubicBezTo>
                  <a:lnTo>
                    <a:pt x="17078" y="8860"/>
                  </a:lnTo>
                  <a:cubicBezTo>
                    <a:pt x="18335" y="7479"/>
                    <a:pt x="18335" y="5242"/>
                    <a:pt x="17078" y="3862"/>
                  </a:cubicBezTo>
                  <a:cubicBezTo>
                    <a:pt x="15821" y="2482"/>
                    <a:pt x="13783" y="2482"/>
                    <a:pt x="12527" y="3862"/>
                  </a:cubicBezTo>
                  <a:lnTo>
                    <a:pt x="5467" y="11614"/>
                  </a:lnTo>
                  <a:cubicBezTo>
                    <a:pt x="5216" y="11891"/>
                    <a:pt x="5216" y="12337"/>
                    <a:pt x="5467" y="12614"/>
                  </a:cubicBezTo>
                  <a:cubicBezTo>
                    <a:pt x="5719" y="12890"/>
                    <a:pt x="6126" y="12890"/>
                    <a:pt x="6378" y="12614"/>
                  </a:cubicBezTo>
                  <a:lnTo>
                    <a:pt x="13437" y="4861"/>
                  </a:lnTo>
                  <a:cubicBezTo>
                    <a:pt x="14190" y="4035"/>
                    <a:pt x="15414" y="4035"/>
                    <a:pt x="16167" y="4861"/>
                  </a:cubicBezTo>
                  <a:cubicBezTo>
                    <a:pt x="16920" y="5688"/>
                    <a:pt x="16920" y="7034"/>
                    <a:pt x="16167" y="7860"/>
                  </a:cubicBezTo>
                  <a:lnTo>
                    <a:pt x="6777" y="18050"/>
                  </a:lnTo>
                  <a:cubicBezTo>
                    <a:pt x="5520" y="19430"/>
                    <a:pt x="3484" y="19430"/>
                    <a:pt x="2227" y="18050"/>
                  </a:cubicBezTo>
                  <a:cubicBezTo>
                    <a:pt x="970" y="16670"/>
                    <a:pt x="970" y="14433"/>
                    <a:pt x="2227" y="13053"/>
                  </a:cubicBezTo>
                  <a:lnTo>
                    <a:pt x="11525" y="2963"/>
                  </a:lnTo>
                  <a:cubicBezTo>
                    <a:pt x="13285" y="1030"/>
                    <a:pt x="16139" y="1030"/>
                    <a:pt x="17896" y="2963"/>
                  </a:cubicBezTo>
                  <a:cubicBezTo>
                    <a:pt x="19657" y="4896"/>
                    <a:pt x="19657" y="8027"/>
                    <a:pt x="17897" y="9959"/>
                  </a:cubicBezTo>
                  <a:lnTo>
                    <a:pt x="10929" y="17611"/>
                  </a:lnTo>
                  <a:cubicBezTo>
                    <a:pt x="10677" y="17888"/>
                    <a:pt x="10677" y="18334"/>
                    <a:pt x="10929" y="18610"/>
                  </a:cubicBezTo>
                  <a:cubicBezTo>
                    <a:pt x="11181" y="18887"/>
                    <a:pt x="11588" y="18887"/>
                    <a:pt x="11839" y="18610"/>
                  </a:cubicBezTo>
                  <a:lnTo>
                    <a:pt x="18898" y="10859"/>
                  </a:lnTo>
                  <a:cubicBezTo>
                    <a:pt x="21160" y="8375"/>
                    <a:pt x="21160" y="4347"/>
                    <a:pt x="18898" y="1863"/>
                  </a:cubicBezTo>
                </a:path>
              </a:pathLst>
            </a:custGeom>
            <a:solidFill>
              <a:schemeClr val="bg1"/>
            </a:solidFill>
            <a:ln>
              <a:noFill/>
            </a:ln>
            <a:effectLst>
              <a:outerShdw blurRad="50800" dist="38100" dir="10800000" algn="r" rotWithShape="0">
                <a:prstClr val="black">
                  <a:alpha val="40000"/>
                </a:prstClr>
              </a:outerShdw>
            </a:effec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cs typeface="+mn-ea"/>
                <a:sym typeface="+mn-lt"/>
              </a:endParaRPr>
            </a:p>
          </p:txBody>
        </p:sp>
        <p:cxnSp>
          <p:nvCxnSpPr>
            <p:cNvPr id="16" name="Straight Arrow Connector 25"/>
            <p:cNvCxnSpPr/>
            <p:nvPr/>
          </p:nvCxnSpPr>
          <p:spPr>
            <a:xfrm flipH="1" flipV="1">
              <a:off x="3374987" y="2013138"/>
              <a:ext cx="1006214" cy="14732"/>
            </a:xfrm>
            <a:prstGeom prst="straightConnector1">
              <a:avLst/>
            </a:prstGeom>
            <a:ln w="41275">
              <a:solidFill>
                <a:srgbClr val="86BD7D"/>
              </a:solidFill>
              <a:tailEnd type="triangle"/>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28"/>
            <p:cNvCxnSpPr/>
            <p:nvPr/>
          </p:nvCxnSpPr>
          <p:spPr>
            <a:xfrm flipH="1">
              <a:off x="2927290" y="4868670"/>
              <a:ext cx="1146343" cy="0"/>
            </a:xfrm>
            <a:prstGeom prst="straightConnector1">
              <a:avLst/>
            </a:prstGeom>
            <a:ln w="41275">
              <a:solidFill>
                <a:srgbClr val="86BD7D"/>
              </a:solidFill>
              <a:tailEnd type="triangle"/>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Straight Arrow Connector 31"/>
            <p:cNvCxnSpPr/>
            <p:nvPr/>
          </p:nvCxnSpPr>
          <p:spPr>
            <a:xfrm flipV="1">
              <a:off x="6163447" y="2181559"/>
              <a:ext cx="1772810" cy="1340269"/>
            </a:xfrm>
            <a:prstGeom prst="straightConnector1">
              <a:avLst/>
            </a:prstGeom>
            <a:ln w="41275">
              <a:solidFill>
                <a:srgbClr val="86BD7D"/>
              </a:solidFill>
              <a:tailEnd type="triangle"/>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Straight Arrow Connector 32"/>
            <p:cNvCxnSpPr/>
            <p:nvPr/>
          </p:nvCxnSpPr>
          <p:spPr>
            <a:xfrm>
              <a:off x="8893098" y="4139753"/>
              <a:ext cx="945130" cy="650900"/>
            </a:xfrm>
            <a:prstGeom prst="straightConnector1">
              <a:avLst/>
            </a:prstGeom>
            <a:ln w="41275">
              <a:solidFill>
                <a:srgbClr val="86BD7D"/>
              </a:solidFill>
              <a:tailEnd type="triangle"/>
            </a:ln>
            <a:effectLst>
              <a:outerShdw blurRad="50800" dist="38100" dir="10800000" algn="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
        <p:nvSpPr>
          <p:cNvPr id="22" name="文本框 21"/>
          <p:cNvSpPr txBox="1"/>
          <p:nvPr/>
        </p:nvSpPr>
        <p:spPr>
          <a:xfrm>
            <a:off x="7375655" y="2140379"/>
            <a:ext cx="1843150" cy="1015663"/>
          </a:xfrm>
          <a:prstGeom prst="rect">
            <a:avLst/>
          </a:prstGeom>
          <a:noFill/>
        </p:spPr>
        <p:txBody>
          <a:bodyPr wrap="square" rtlCol="0">
            <a:spAutoFit/>
          </a:bodyPr>
          <a:lstStyle/>
          <a:p>
            <a:pPr>
              <a:lnSpc>
                <a:spcPct val="125000"/>
              </a:lnSpc>
            </a:pPr>
            <a:r>
              <a:rPr lang="zh-CN" altLang="en-US" sz="1200" dirty="0">
                <a:solidFill>
                  <a:schemeClr val="tx1">
                    <a:lumMod val="50000"/>
                    <a:lumOff val="50000"/>
                  </a:schemeClr>
                </a:solidFill>
                <a:cs typeface="+mn-ea"/>
                <a:sym typeface="+mn-lt"/>
              </a:rPr>
              <a:t>点击文本框即可进行编辑输入相关内容点击文本框即可进行编辑输入相关内容</a:t>
            </a:r>
          </a:p>
        </p:txBody>
      </p:sp>
      <p:sp>
        <p:nvSpPr>
          <p:cNvPr id="23" name="文本框 22"/>
          <p:cNvSpPr txBox="1"/>
          <p:nvPr/>
        </p:nvSpPr>
        <p:spPr>
          <a:xfrm>
            <a:off x="7375655" y="1841075"/>
            <a:ext cx="1843151" cy="338554"/>
          </a:xfrm>
          <a:prstGeom prst="rect">
            <a:avLst/>
          </a:prstGeom>
          <a:noFill/>
        </p:spPr>
        <p:txBody>
          <a:bodyPr wrap="square" rtlCol="0">
            <a:spAutoFit/>
          </a:bodyPr>
          <a:lstStyle/>
          <a:p>
            <a:r>
              <a:rPr lang="zh-CN" altLang="en-US" sz="1600" dirty="0">
                <a:solidFill>
                  <a:schemeClr val="tx1">
                    <a:lumMod val="50000"/>
                    <a:lumOff val="50000"/>
                  </a:schemeClr>
                </a:solidFill>
                <a:cs typeface="+mn-ea"/>
                <a:sym typeface="+mn-lt"/>
              </a:rPr>
              <a:t>添加标题</a:t>
            </a:r>
          </a:p>
        </p:txBody>
      </p:sp>
      <p:sp>
        <p:nvSpPr>
          <p:cNvPr id="24" name="文本框 23"/>
          <p:cNvSpPr txBox="1"/>
          <p:nvPr/>
        </p:nvSpPr>
        <p:spPr>
          <a:xfrm>
            <a:off x="8129315" y="4981997"/>
            <a:ext cx="1843150" cy="1015663"/>
          </a:xfrm>
          <a:prstGeom prst="rect">
            <a:avLst/>
          </a:prstGeom>
          <a:noFill/>
        </p:spPr>
        <p:txBody>
          <a:bodyPr wrap="square" rtlCol="0">
            <a:spAutoFit/>
          </a:bodyPr>
          <a:lstStyle/>
          <a:p>
            <a:pPr>
              <a:lnSpc>
                <a:spcPct val="125000"/>
              </a:lnSpc>
            </a:pPr>
            <a:r>
              <a:rPr lang="zh-CN" altLang="en-US" sz="1200" dirty="0">
                <a:solidFill>
                  <a:schemeClr val="tx1">
                    <a:lumMod val="50000"/>
                    <a:lumOff val="50000"/>
                  </a:schemeClr>
                </a:solidFill>
                <a:cs typeface="+mn-ea"/>
                <a:sym typeface="+mn-lt"/>
              </a:rPr>
              <a:t>点击文本框即可进行编辑输入相关内容点击文本框即可进行编辑输入相关内容</a:t>
            </a:r>
          </a:p>
        </p:txBody>
      </p:sp>
      <p:sp>
        <p:nvSpPr>
          <p:cNvPr id="25" name="文本框 24"/>
          <p:cNvSpPr txBox="1"/>
          <p:nvPr/>
        </p:nvSpPr>
        <p:spPr>
          <a:xfrm>
            <a:off x="8129315" y="4682693"/>
            <a:ext cx="1843151" cy="338554"/>
          </a:xfrm>
          <a:prstGeom prst="rect">
            <a:avLst/>
          </a:prstGeom>
          <a:noFill/>
        </p:spPr>
        <p:txBody>
          <a:bodyPr wrap="square" rtlCol="0">
            <a:spAutoFit/>
          </a:bodyPr>
          <a:lstStyle/>
          <a:p>
            <a:r>
              <a:rPr lang="zh-CN" altLang="en-US" sz="1600" dirty="0">
                <a:solidFill>
                  <a:schemeClr val="tx1">
                    <a:lumMod val="50000"/>
                    <a:lumOff val="50000"/>
                  </a:schemeClr>
                </a:solidFill>
                <a:cs typeface="+mn-ea"/>
                <a:sym typeface="+mn-lt"/>
              </a:rPr>
              <a:t>添加标题</a:t>
            </a:r>
          </a:p>
        </p:txBody>
      </p:sp>
      <p:sp>
        <p:nvSpPr>
          <p:cNvPr id="26" name="文本框 25"/>
          <p:cNvSpPr txBox="1"/>
          <p:nvPr/>
        </p:nvSpPr>
        <p:spPr>
          <a:xfrm>
            <a:off x="917192" y="4443668"/>
            <a:ext cx="1843150" cy="1015663"/>
          </a:xfrm>
          <a:prstGeom prst="rect">
            <a:avLst/>
          </a:prstGeom>
          <a:noFill/>
        </p:spPr>
        <p:txBody>
          <a:bodyPr wrap="square" rtlCol="0">
            <a:spAutoFit/>
          </a:bodyPr>
          <a:lstStyle/>
          <a:p>
            <a:pPr algn="r">
              <a:lnSpc>
                <a:spcPct val="125000"/>
              </a:lnSpc>
            </a:pPr>
            <a:r>
              <a:rPr lang="zh-CN" altLang="en-US" sz="1200" dirty="0">
                <a:solidFill>
                  <a:schemeClr val="tx1">
                    <a:lumMod val="50000"/>
                    <a:lumOff val="50000"/>
                  </a:schemeClr>
                </a:solidFill>
                <a:cs typeface="+mn-ea"/>
                <a:sym typeface="+mn-lt"/>
              </a:rPr>
              <a:t>点击文本框即可进行编辑输入相关内容点击文本框即可进行编辑输入相关内容</a:t>
            </a:r>
          </a:p>
        </p:txBody>
      </p:sp>
      <p:sp>
        <p:nvSpPr>
          <p:cNvPr id="27" name="文本框 26"/>
          <p:cNvSpPr txBox="1"/>
          <p:nvPr/>
        </p:nvSpPr>
        <p:spPr>
          <a:xfrm>
            <a:off x="917191" y="4144364"/>
            <a:ext cx="1843151" cy="338554"/>
          </a:xfrm>
          <a:prstGeom prst="rect">
            <a:avLst/>
          </a:prstGeom>
          <a:noFill/>
        </p:spPr>
        <p:txBody>
          <a:bodyPr wrap="square" rtlCol="0">
            <a:spAutoFit/>
          </a:bodyPr>
          <a:lstStyle/>
          <a:p>
            <a:pPr algn="r"/>
            <a:r>
              <a:rPr lang="zh-CN" altLang="en-US" sz="1600" dirty="0">
                <a:solidFill>
                  <a:schemeClr val="tx1">
                    <a:lumMod val="50000"/>
                    <a:lumOff val="50000"/>
                  </a:schemeClr>
                </a:solidFill>
                <a:cs typeface="+mn-ea"/>
                <a:sym typeface="+mn-lt"/>
              </a:rPr>
              <a:t>添加标题</a:t>
            </a:r>
          </a:p>
        </p:txBody>
      </p:sp>
      <p:sp>
        <p:nvSpPr>
          <p:cNvPr id="28" name="文本框 27"/>
          <p:cNvSpPr txBox="1"/>
          <p:nvPr/>
        </p:nvSpPr>
        <p:spPr>
          <a:xfrm>
            <a:off x="1266333" y="2122964"/>
            <a:ext cx="1843150" cy="1015663"/>
          </a:xfrm>
          <a:prstGeom prst="rect">
            <a:avLst/>
          </a:prstGeom>
          <a:noFill/>
        </p:spPr>
        <p:txBody>
          <a:bodyPr wrap="square" rtlCol="0">
            <a:spAutoFit/>
          </a:bodyPr>
          <a:lstStyle/>
          <a:p>
            <a:pPr algn="r">
              <a:lnSpc>
                <a:spcPct val="125000"/>
              </a:lnSpc>
            </a:pPr>
            <a:r>
              <a:rPr lang="zh-CN" altLang="en-US" sz="1200" dirty="0">
                <a:solidFill>
                  <a:schemeClr val="tx1">
                    <a:lumMod val="50000"/>
                    <a:lumOff val="50000"/>
                  </a:schemeClr>
                </a:solidFill>
                <a:cs typeface="+mn-ea"/>
                <a:sym typeface="+mn-lt"/>
              </a:rPr>
              <a:t>点击文本框即可进行编辑输入相关内容点击文本框即可进行编辑输入相关内容</a:t>
            </a:r>
          </a:p>
        </p:txBody>
      </p:sp>
      <p:sp>
        <p:nvSpPr>
          <p:cNvPr id="29" name="文本框 28"/>
          <p:cNvSpPr txBox="1"/>
          <p:nvPr/>
        </p:nvSpPr>
        <p:spPr>
          <a:xfrm>
            <a:off x="1266332" y="1823660"/>
            <a:ext cx="1843151" cy="338554"/>
          </a:xfrm>
          <a:prstGeom prst="rect">
            <a:avLst/>
          </a:prstGeom>
          <a:noFill/>
        </p:spPr>
        <p:txBody>
          <a:bodyPr wrap="square" rtlCol="0">
            <a:spAutoFit/>
          </a:bodyPr>
          <a:lstStyle/>
          <a:p>
            <a:pPr algn="r"/>
            <a:r>
              <a:rPr lang="zh-CN" altLang="en-US" sz="1600" dirty="0">
                <a:solidFill>
                  <a:schemeClr val="tx1">
                    <a:lumMod val="50000"/>
                    <a:lumOff val="50000"/>
                  </a:schemeClr>
                </a:solidFill>
                <a:cs typeface="+mn-ea"/>
                <a:sym typeface="+mn-lt"/>
              </a:rPr>
              <a:t>添加标题</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1000"/>
                                        <p:tgtEl>
                                          <p:spTgt spid="27"/>
                                        </p:tgtEl>
                                      </p:cBhvr>
                                    </p:animEffect>
                                    <p:anim calcmode="lin" valueType="num">
                                      <p:cBhvr>
                                        <p:cTn id="19" dur="1000" fill="hold"/>
                                        <p:tgtEl>
                                          <p:spTgt spid="27"/>
                                        </p:tgtEl>
                                        <p:attrNameLst>
                                          <p:attrName>ppt_x</p:attrName>
                                        </p:attrNameLst>
                                      </p:cBhvr>
                                      <p:tavLst>
                                        <p:tav tm="0">
                                          <p:val>
                                            <p:strVal val="#ppt_x"/>
                                          </p:val>
                                        </p:tav>
                                        <p:tav tm="100000">
                                          <p:val>
                                            <p:strVal val="#ppt_x"/>
                                          </p:val>
                                        </p:tav>
                                      </p:tavLst>
                                    </p:anim>
                                    <p:anim calcmode="lin" valueType="num">
                                      <p:cBhvr>
                                        <p:cTn id="20" dur="1000" fill="hold"/>
                                        <p:tgtEl>
                                          <p:spTgt spid="27"/>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1000"/>
                                        <p:tgtEl>
                                          <p:spTgt spid="28"/>
                                        </p:tgtEl>
                                      </p:cBhvr>
                                    </p:animEffect>
                                    <p:anim calcmode="lin" valueType="num">
                                      <p:cBhvr>
                                        <p:cTn id="24" dur="1000" fill="hold"/>
                                        <p:tgtEl>
                                          <p:spTgt spid="28"/>
                                        </p:tgtEl>
                                        <p:attrNameLst>
                                          <p:attrName>ppt_x</p:attrName>
                                        </p:attrNameLst>
                                      </p:cBhvr>
                                      <p:tavLst>
                                        <p:tav tm="0">
                                          <p:val>
                                            <p:strVal val="#ppt_x"/>
                                          </p:val>
                                        </p:tav>
                                        <p:tav tm="100000">
                                          <p:val>
                                            <p:strVal val="#ppt_x"/>
                                          </p:val>
                                        </p:tav>
                                      </p:tavLst>
                                    </p:anim>
                                    <p:anim calcmode="lin" valueType="num">
                                      <p:cBhvr>
                                        <p:cTn id="25" dur="1000" fill="hold"/>
                                        <p:tgtEl>
                                          <p:spTgt spid="28"/>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1000"/>
                                        <p:tgtEl>
                                          <p:spTgt spid="29"/>
                                        </p:tgtEl>
                                      </p:cBhvr>
                                    </p:animEffect>
                                    <p:anim calcmode="lin" valueType="num">
                                      <p:cBhvr>
                                        <p:cTn id="29" dur="1000" fill="hold"/>
                                        <p:tgtEl>
                                          <p:spTgt spid="29"/>
                                        </p:tgtEl>
                                        <p:attrNameLst>
                                          <p:attrName>ppt_x</p:attrName>
                                        </p:attrNameLst>
                                      </p:cBhvr>
                                      <p:tavLst>
                                        <p:tav tm="0">
                                          <p:val>
                                            <p:strVal val="#ppt_x"/>
                                          </p:val>
                                        </p:tav>
                                        <p:tav tm="100000">
                                          <p:val>
                                            <p:strVal val="#ppt_x"/>
                                          </p:val>
                                        </p:tav>
                                      </p:tavLst>
                                    </p:anim>
                                    <p:anim calcmode="lin" valueType="num">
                                      <p:cBhvr>
                                        <p:cTn id="30" dur="1000" fill="hold"/>
                                        <p:tgtEl>
                                          <p:spTgt spid="29"/>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42" presetClass="entr" presetSubtype="0" fill="hold" grpId="0" nodeType="after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1000"/>
                                        <p:tgtEl>
                                          <p:spTgt spid="22"/>
                                        </p:tgtEl>
                                      </p:cBhvr>
                                    </p:animEffect>
                                    <p:anim calcmode="lin" valueType="num">
                                      <p:cBhvr>
                                        <p:cTn id="35" dur="1000" fill="hold"/>
                                        <p:tgtEl>
                                          <p:spTgt spid="22"/>
                                        </p:tgtEl>
                                        <p:attrNameLst>
                                          <p:attrName>ppt_x</p:attrName>
                                        </p:attrNameLst>
                                      </p:cBhvr>
                                      <p:tavLst>
                                        <p:tav tm="0">
                                          <p:val>
                                            <p:strVal val="#ppt_x"/>
                                          </p:val>
                                        </p:tav>
                                        <p:tav tm="100000">
                                          <p:val>
                                            <p:strVal val="#ppt_x"/>
                                          </p:val>
                                        </p:tav>
                                      </p:tavLst>
                                    </p:anim>
                                    <p:anim calcmode="lin" valueType="num">
                                      <p:cBhvr>
                                        <p:cTn id="36" dur="1000" fill="hold"/>
                                        <p:tgtEl>
                                          <p:spTgt spid="2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anim calcmode="lin" valueType="num">
                                      <p:cBhvr>
                                        <p:cTn id="40" dur="1000" fill="hold"/>
                                        <p:tgtEl>
                                          <p:spTgt spid="23"/>
                                        </p:tgtEl>
                                        <p:attrNameLst>
                                          <p:attrName>ppt_x</p:attrName>
                                        </p:attrNameLst>
                                      </p:cBhvr>
                                      <p:tavLst>
                                        <p:tav tm="0">
                                          <p:val>
                                            <p:strVal val="#ppt_x"/>
                                          </p:val>
                                        </p:tav>
                                        <p:tav tm="100000">
                                          <p:val>
                                            <p:strVal val="#ppt_x"/>
                                          </p:val>
                                        </p:tav>
                                      </p:tavLst>
                                    </p:anim>
                                    <p:anim calcmode="lin" valueType="num">
                                      <p:cBhvr>
                                        <p:cTn id="41" dur="1000" fill="hold"/>
                                        <p:tgtEl>
                                          <p:spTgt spid="23"/>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1000"/>
                                        <p:tgtEl>
                                          <p:spTgt spid="24"/>
                                        </p:tgtEl>
                                      </p:cBhvr>
                                    </p:animEffect>
                                    <p:anim calcmode="lin" valueType="num">
                                      <p:cBhvr>
                                        <p:cTn id="45" dur="1000" fill="hold"/>
                                        <p:tgtEl>
                                          <p:spTgt spid="24"/>
                                        </p:tgtEl>
                                        <p:attrNameLst>
                                          <p:attrName>ppt_x</p:attrName>
                                        </p:attrNameLst>
                                      </p:cBhvr>
                                      <p:tavLst>
                                        <p:tav tm="0">
                                          <p:val>
                                            <p:strVal val="#ppt_x"/>
                                          </p:val>
                                        </p:tav>
                                        <p:tav tm="100000">
                                          <p:val>
                                            <p:strVal val="#ppt_x"/>
                                          </p:val>
                                        </p:tav>
                                      </p:tavLst>
                                    </p:anim>
                                    <p:anim calcmode="lin" valueType="num">
                                      <p:cBhvr>
                                        <p:cTn id="46" dur="1000" fill="hold"/>
                                        <p:tgtEl>
                                          <p:spTgt spid="24"/>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1000"/>
                                        <p:tgtEl>
                                          <p:spTgt spid="25"/>
                                        </p:tgtEl>
                                      </p:cBhvr>
                                    </p:animEffect>
                                    <p:anim calcmode="lin" valueType="num">
                                      <p:cBhvr>
                                        <p:cTn id="50" dur="1000" fill="hold"/>
                                        <p:tgtEl>
                                          <p:spTgt spid="25"/>
                                        </p:tgtEl>
                                        <p:attrNameLst>
                                          <p:attrName>ppt_x</p:attrName>
                                        </p:attrNameLst>
                                      </p:cBhvr>
                                      <p:tavLst>
                                        <p:tav tm="0">
                                          <p:val>
                                            <p:strVal val="#ppt_x"/>
                                          </p:val>
                                        </p:tav>
                                        <p:tav tm="100000">
                                          <p:val>
                                            <p:strVal val="#ppt_x"/>
                                          </p:val>
                                        </p:tav>
                                      </p:tavLst>
                                    </p:anim>
                                    <p:anim calcmode="lin" valueType="num">
                                      <p:cBhvr>
                                        <p:cTn id="5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5" grpId="0"/>
      <p:bldP spid="26" grpId="0"/>
      <p:bldP spid="27" grpId="0"/>
      <p:bldP spid="28" grpId="0"/>
      <p:bldP spid="2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cf734803-9a05-4975-b914-a32fc27e5d2b"/>
          <p:cNvGrpSpPr>
            <a:grpSpLocks noChangeAspect="1"/>
          </p:cNvGrpSpPr>
          <p:nvPr/>
        </p:nvGrpSpPr>
        <p:grpSpPr>
          <a:xfrm>
            <a:off x="3411998" y="1385270"/>
            <a:ext cx="5364831" cy="3778844"/>
            <a:chOff x="3585447" y="1485684"/>
            <a:chExt cx="5366781" cy="3780218"/>
          </a:xfrm>
        </p:grpSpPr>
        <p:grpSp>
          <p:nvGrpSpPr>
            <p:cNvPr id="10" name="Group 1"/>
            <p:cNvGrpSpPr/>
            <p:nvPr/>
          </p:nvGrpSpPr>
          <p:grpSpPr>
            <a:xfrm>
              <a:off x="4800050" y="2570251"/>
              <a:ext cx="2352798" cy="2352790"/>
              <a:chOff x="4800050" y="2348734"/>
              <a:chExt cx="2352798" cy="2352790"/>
            </a:xfrm>
          </p:grpSpPr>
          <p:sp>
            <p:nvSpPr>
              <p:cNvPr id="455" name="Freeform 6"/>
              <p:cNvSpPr/>
              <p:nvPr/>
            </p:nvSpPr>
            <p:spPr>
              <a:xfrm>
                <a:off x="4800050" y="2348734"/>
                <a:ext cx="2352798" cy="2352790"/>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rgbClr val="82B86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6351" tIns="548440" rIns="356351" bIns="436596" numCol="1" spcCol="1270" anchor="ctr" anchorCtr="0">
                <a:noAutofit/>
              </a:bodyPr>
              <a:lstStyle/>
              <a:p>
                <a:pPr algn="ctr" defTabSz="1332865">
                  <a:lnSpc>
                    <a:spcPct val="120000"/>
                  </a:lnSpc>
                </a:pPr>
                <a:endParaRPr lang="en-US" sz="3000" dirty="0">
                  <a:cs typeface="+mn-ea"/>
                  <a:sym typeface="+mn-lt"/>
                </a:endParaRPr>
              </a:p>
            </p:txBody>
          </p:sp>
          <p:sp>
            <p:nvSpPr>
              <p:cNvPr id="456" name="Oval 7"/>
              <p:cNvSpPr/>
              <p:nvPr/>
            </p:nvSpPr>
            <p:spPr>
              <a:xfrm>
                <a:off x="5246579" y="2795260"/>
                <a:ext cx="1459740" cy="1459738"/>
              </a:xfrm>
              <a:prstGeom prst="ellipse">
                <a:avLst/>
              </a:prstGeom>
              <a:solidFill>
                <a:schemeClr val="bg1"/>
              </a:solidFill>
              <a:ln w="12700">
                <a:no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pPr>
                <a:endParaRPr lang="en-US" sz="1705" dirty="0">
                  <a:cs typeface="+mn-ea"/>
                  <a:sym typeface="+mn-lt"/>
                </a:endParaRPr>
              </a:p>
            </p:txBody>
          </p:sp>
        </p:grpSp>
        <p:grpSp>
          <p:nvGrpSpPr>
            <p:cNvPr id="14" name="Group 757"/>
            <p:cNvGrpSpPr/>
            <p:nvPr/>
          </p:nvGrpSpPr>
          <p:grpSpPr>
            <a:xfrm>
              <a:off x="6882288" y="3405936"/>
              <a:ext cx="1522822" cy="1522817"/>
              <a:chOff x="6882288" y="3184419"/>
              <a:chExt cx="1522822" cy="1522817"/>
            </a:xfrm>
          </p:grpSpPr>
          <p:sp>
            <p:nvSpPr>
              <p:cNvPr id="453" name="Freeform 158"/>
              <p:cNvSpPr/>
              <p:nvPr/>
            </p:nvSpPr>
            <p:spPr>
              <a:xfrm>
                <a:off x="6882288" y="3184419"/>
                <a:ext cx="1522822" cy="1522817"/>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rgbClr val="86BD7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6351" tIns="548440" rIns="356351" bIns="436596" numCol="1" spcCol="1270" anchor="ctr" anchorCtr="0">
                <a:noAutofit/>
              </a:bodyPr>
              <a:lstStyle/>
              <a:p>
                <a:pPr algn="ctr" defTabSz="1332865">
                  <a:lnSpc>
                    <a:spcPct val="120000"/>
                  </a:lnSpc>
                </a:pPr>
                <a:endParaRPr lang="en-US" sz="3000" dirty="0">
                  <a:cs typeface="+mn-ea"/>
                  <a:sym typeface="+mn-lt"/>
                </a:endParaRPr>
              </a:p>
            </p:txBody>
          </p:sp>
          <p:sp>
            <p:nvSpPr>
              <p:cNvPr id="454" name="Oval 159"/>
              <p:cNvSpPr/>
              <p:nvPr/>
            </p:nvSpPr>
            <p:spPr>
              <a:xfrm>
                <a:off x="7171299" y="3473428"/>
                <a:ext cx="944801" cy="944799"/>
              </a:xfrm>
              <a:prstGeom prst="ellipse">
                <a:avLst/>
              </a:prstGeom>
              <a:solidFill>
                <a:schemeClr val="bg1"/>
              </a:solidFill>
              <a:ln w="12700">
                <a:no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pPr>
                <a:endParaRPr lang="en-US" sz="1705" dirty="0">
                  <a:cs typeface="+mn-ea"/>
                  <a:sym typeface="+mn-lt"/>
                </a:endParaRPr>
              </a:p>
            </p:txBody>
          </p:sp>
        </p:grpSp>
        <p:grpSp>
          <p:nvGrpSpPr>
            <p:cNvPr id="15" name="Group 2"/>
            <p:cNvGrpSpPr/>
            <p:nvPr/>
          </p:nvGrpSpPr>
          <p:grpSpPr>
            <a:xfrm>
              <a:off x="3975192" y="3673245"/>
              <a:ext cx="1107734" cy="1107730"/>
              <a:chOff x="3975192" y="3451728"/>
              <a:chExt cx="1107734" cy="1107730"/>
            </a:xfrm>
          </p:grpSpPr>
          <p:sp>
            <p:nvSpPr>
              <p:cNvPr id="451" name="Freeform 309"/>
              <p:cNvSpPr/>
              <p:nvPr/>
            </p:nvSpPr>
            <p:spPr>
              <a:xfrm>
                <a:off x="3975192" y="3451728"/>
                <a:ext cx="1107734" cy="1107730"/>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rgbClr val="86BD7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6351" tIns="548440" rIns="356351" bIns="436596" numCol="1" spcCol="1270" anchor="ctr" anchorCtr="0">
                <a:noAutofit/>
              </a:bodyPr>
              <a:lstStyle/>
              <a:p>
                <a:pPr algn="ctr" defTabSz="1332865">
                  <a:lnSpc>
                    <a:spcPct val="120000"/>
                  </a:lnSpc>
                </a:pPr>
                <a:endParaRPr lang="en-US" sz="3000" dirty="0">
                  <a:cs typeface="+mn-ea"/>
                  <a:sym typeface="+mn-lt"/>
                </a:endParaRPr>
              </a:p>
            </p:txBody>
          </p:sp>
          <p:sp>
            <p:nvSpPr>
              <p:cNvPr id="452" name="Oval 310"/>
              <p:cNvSpPr/>
              <p:nvPr/>
            </p:nvSpPr>
            <p:spPr>
              <a:xfrm>
                <a:off x="4185425" y="3661959"/>
                <a:ext cx="687269" cy="687267"/>
              </a:xfrm>
              <a:prstGeom prst="ellipse">
                <a:avLst/>
              </a:prstGeom>
              <a:solidFill>
                <a:schemeClr val="bg1"/>
              </a:solidFill>
              <a:ln w="12700">
                <a:noFill/>
                <a:headEnd type="oval" w="med" len="med"/>
                <a:tailEnd type="oval"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20000"/>
                  </a:lnSpc>
                </a:pPr>
                <a:endParaRPr lang="en-US" sz="1705" dirty="0">
                  <a:cs typeface="+mn-ea"/>
                  <a:sym typeface="+mn-lt"/>
                </a:endParaRPr>
              </a:p>
            </p:txBody>
          </p:sp>
        </p:grpSp>
        <p:grpSp>
          <p:nvGrpSpPr>
            <p:cNvPr id="16" name="Group 311"/>
            <p:cNvGrpSpPr/>
            <p:nvPr/>
          </p:nvGrpSpPr>
          <p:grpSpPr>
            <a:xfrm flipH="1" flipV="1">
              <a:off x="3585447" y="4084611"/>
              <a:ext cx="1084052" cy="1181291"/>
              <a:chOff x="654280" y="1047000"/>
              <a:chExt cx="3037332" cy="3309787"/>
            </a:xfrm>
          </p:grpSpPr>
          <p:grpSp>
            <p:nvGrpSpPr>
              <p:cNvPr id="308" name="Group 312"/>
              <p:cNvGrpSpPr/>
              <p:nvPr/>
            </p:nvGrpSpPr>
            <p:grpSpPr>
              <a:xfrm>
                <a:off x="654280" y="2079826"/>
                <a:ext cx="3024555" cy="2276961"/>
                <a:chOff x="604505" y="1981058"/>
                <a:chExt cx="3153719" cy="2374200"/>
              </a:xfrm>
            </p:grpSpPr>
            <p:grpSp>
              <p:nvGrpSpPr>
                <p:cNvPr id="329" name="Group 336"/>
                <p:cNvGrpSpPr/>
                <p:nvPr/>
              </p:nvGrpSpPr>
              <p:grpSpPr>
                <a:xfrm rot="15155533" flipH="1">
                  <a:off x="773232" y="1812331"/>
                  <a:ext cx="2374200" cy="2711653"/>
                  <a:chOff x="6326188" y="1654175"/>
                  <a:chExt cx="2410644" cy="3082384"/>
                </a:xfrm>
                <a:solidFill>
                  <a:schemeClr val="bg2">
                    <a:lumMod val="75000"/>
                  </a:schemeClr>
                </a:solidFill>
              </p:grpSpPr>
              <p:sp>
                <p:nvSpPr>
                  <p:cNvPr id="411"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2"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3"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4"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5"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6"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7"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8"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9"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0"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1"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2"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3"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4"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5"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6"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7"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8"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9"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0"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1"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2"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3"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4"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5"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6"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7" name="Freeform 155"/>
                  <p:cNvSpPr/>
                  <p:nvPr/>
                </p:nvSpPr>
                <p:spPr bwMode="auto">
                  <a:xfrm>
                    <a:off x="6471470" y="1748884"/>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8"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39"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0"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1"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2"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3"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4"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5"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6"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7"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8"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49"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50"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330" name="Group 337"/>
                <p:cNvGrpSpPr/>
                <p:nvPr/>
              </p:nvGrpSpPr>
              <p:grpSpPr>
                <a:xfrm rot="15155533" flipH="1">
                  <a:off x="1114059" y="1803071"/>
                  <a:ext cx="2159193" cy="2610180"/>
                  <a:chOff x="6326188" y="1654175"/>
                  <a:chExt cx="2192337" cy="2967038"/>
                </a:xfrm>
                <a:solidFill>
                  <a:schemeClr val="bg2">
                    <a:lumMod val="75000"/>
                  </a:schemeClr>
                </a:solidFill>
              </p:grpSpPr>
              <p:sp>
                <p:nvSpPr>
                  <p:cNvPr id="372"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3"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4"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5"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6"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7"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8"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9"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0"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1"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2"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3"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4"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5"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6"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7"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8"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9"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0"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1"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2"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3"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4"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5"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6"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7"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8"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9"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0"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1"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2"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3"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4"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5"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6"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7"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8"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9"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0"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331" name="Group 338"/>
                <p:cNvGrpSpPr/>
                <p:nvPr/>
              </p:nvGrpSpPr>
              <p:grpSpPr>
                <a:xfrm rot="15155533" flipH="1">
                  <a:off x="1264410" y="1845476"/>
                  <a:ext cx="2259435" cy="2728193"/>
                  <a:chOff x="6224407" y="1520027"/>
                  <a:chExt cx="2294118" cy="3101186"/>
                </a:xfrm>
                <a:solidFill>
                  <a:schemeClr val="bg2">
                    <a:lumMod val="75000"/>
                  </a:schemeClr>
                </a:solidFill>
              </p:grpSpPr>
              <p:sp>
                <p:nvSpPr>
                  <p:cNvPr id="332"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3"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4"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5"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6"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7"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8"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9"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0"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1"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2"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3"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4"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5"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6"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7"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8"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9"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0"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1"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2"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3"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4"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5"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6"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7"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8" name="Freeform 155"/>
                  <p:cNvSpPr/>
                  <p:nvPr/>
                </p:nvSpPr>
                <p:spPr bwMode="auto">
                  <a:xfrm>
                    <a:off x="6224407" y="1520027"/>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9"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0"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1"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2"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3"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4"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5"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6"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7"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8"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9"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0"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1"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grpSp>
            <p:nvGrpSpPr>
              <p:cNvPr id="309" name="Group 313"/>
              <p:cNvGrpSpPr/>
              <p:nvPr/>
            </p:nvGrpSpPr>
            <p:grpSpPr>
              <a:xfrm rot="806963">
                <a:off x="2008129" y="1047000"/>
                <a:ext cx="1683483" cy="1691701"/>
                <a:chOff x="4391025" y="1189038"/>
                <a:chExt cx="1952625" cy="1962150"/>
              </a:xfrm>
            </p:grpSpPr>
            <p:sp>
              <p:nvSpPr>
                <p:cNvPr id="310" name="Freeform 6"/>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close/>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1" name="Freeform 7"/>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path>
                  </a:pathLst>
                </a:custGeom>
                <a:no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2" name="Freeform 8"/>
                <p:cNvSpPr/>
                <p:nvPr/>
              </p:nvSpPr>
              <p:spPr bwMode="auto">
                <a:xfrm>
                  <a:off x="4391025" y="1874838"/>
                  <a:ext cx="1284288" cy="1276350"/>
                </a:xfrm>
                <a:custGeom>
                  <a:avLst/>
                  <a:gdLst/>
                  <a:ahLst/>
                  <a:cxnLst>
                    <a:cxn ang="0">
                      <a:pos x="1114" y="270"/>
                    </a:cxn>
                    <a:cxn ang="0">
                      <a:pos x="140" y="268"/>
                    </a:cxn>
                    <a:cxn ang="0">
                      <a:pos x="0" y="479"/>
                    </a:cxn>
                    <a:cxn ang="0">
                      <a:pos x="766" y="624"/>
                    </a:cxn>
                    <a:cxn ang="0">
                      <a:pos x="922" y="1388"/>
                    </a:cxn>
                    <a:cxn ang="0">
                      <a:pos x="1130" y="1245"/>
                    </a:cxn>
                    <a:cxn ang="0">
                      <a:pos x="1114" y="270"/>
                    </a:cxn>
                  </a:cxnLst>
                  <a:rect l="0" t="0" r="r" b="b"/>
                  <a:pathLst>
                    <a:path w="1395" h="1388">
                      <a:moveTo>
                        <a:pt x="1114" y="270"/>
                      </a:moveTo>
                      <a:cubicBezTo>
                        <a:pt x="841" y="1"/>
                        <a:pt x="405" y="0"/>
                        <a:pt x="140" y="268"/>
                      </a:cubicBezTo>
                      <a:cubicBezTo>
                        <a:pt x="79" y="331"/>
                        <a:pt x="32" y="402"/>
                        <a:pt x="0" y="479"/>
                      </a:cubicBezTo>
                      <a:cubicBezTo>
                        <a:pt x="251" y="369"/>
                        <a:pt x="556" y="417"/>
                        <a:pt x="766" y="624"/>
                      </a:cubicBezTo>
                      <a:cubicBezTo>
                        <a:pt x="976" y="831"/>
                        <a:pt x="1028" y="1136"/>
                        <a:pt x="922" y="1388"/>
                      </a:cubicBezTo>
                      <a:cubicBezTo>
                        <a:pt x="998" y="1355"/>
                        <a:pt x="1069" y="1307"/>
                        <a:pt x="1130" y="1245"/>
                      </a:cubicBezTo>
                      <a:cubicBezTo>
                        <a:pt x="1395" y="976"/>
                        <a:pt x="1388" y="540"/>
                        <a:pt x="1114" y="270"/>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3" name="Freeform 10"/>
                <p:cNvSpPr/>
                <p:nvPr/>
              </p:nvSpPr>
              <p:spPr bwMode="auto">
                <a:xfrm>
                  <a:off x="4854575" y="1189038"/>
                  <a:ext cx="1489075" cy="1501775"/>
                </a:xfrm>
                <a:custGeom>
                  <a:avLst/>
                  <a:gdLst/>
                  <a:ahLst/>
                  <a:cxnLst>
                    <a:cxn ang="0">
                      <a:pos x="462" y="557"/>
                    </a:cxn>
                    <a:cxn ang="0">
                      <a:pos x="0" y="1288"/>
                    </a:cxn>
                    <a:cxn ang="0">
                      <a:pos x="201" y="1433"/>
                    </a:cxn>
                    <a:cxn ang="0">
                      <a:pos x="349" y="1632"/>
                    </a:cxn>
                    <a:cxn ang="0">
                      <a:pos x="1073" y="1160"/>
                    </a:cxn>
                    <a:cxn ang="0">
                      <a:pos x="1589" y="24"/>
                    </a:cxn>
                    <a:cxn ang="0">
                      <a:pos x="462" y="557"/>
                    </a:cxn>
                  </a:cxnLst>
                  <a:rect l="0" t="0" r="r" b="b"/>
                  <a:pathLst>
                    <a:path w="1618" h="1632">
                      <a:moveTo>
                        <a:pt x="462" y="557"/>
                      </a:moveTo>
                      <a:cubicBezTo>
                        <a:pt x="236" y="786"/>
                        <a:pt x="78" y="1044"/>
                        <a:pt x="0" y="1288"/>
                      </a:cubicBezTo>
                      <a:cubicBezTo>
                        <a:pt x="72" y="1325"/>
                        <a:pt x="140" y="1373"/>
                        <a:pt x="201" y="1433"/>
                      </a:cubicBezTo>
                      <a:cubicBezTo>
                        <a:pt x="262" y="1493"/>
                        <a:pt x="311" y="1560"/>
                        <a:pt x="349" y="1632"/>
                      </a:cubicBezTo>
                      <a:cubicBezTo>
                        <a:pt x="591" y="1550"/>
                        <a:pt x="847" y="1389"/>
                        <a:pt x="1073" y="1160"/>
                      </a:cubicBezTo>
                      <a:cubicBezTo>
                        <a:pt x="1432" y="796"/>
                        <a:pt x="1618" y="358"/>
                        <a:pt x="1589" y="24"/>
                      </a:cubicBezTo>
                      <a:cubicBezTo>
                        <a:pt x="1255" y="0"/>
                        <a:pt x="820" y="193"/>
                        <a:pt x="462" y="557"/>
                      </a:cubicBezTo>
                    </a:path>
                  </a:pathLst>
                </a:custGeom>
                <a:solidFill>
                  <a:schemeClr val="tx1">
                    <a:lumMod val="10000"/>
                    <a:lumOff val="90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4" name="Freeform 11"/>
                <p:cNvSpPr/>
                <p:nvPr/>
              </p:nvSpPr>
              <p:spPr bwMode="auto">
                <a:xfrm>
                  <a:off x="5029200" y="1208088"/>
                  <a:ext cx="1314450" cy="1482725"/>
                </a:xfrm>
                <a:custGeom>
                  <a:avLst/>
                  <a:gdLst/>
                  <a:ahLst/>
                  <a:cxnLst>
                    <a:cxn ang="0">
                      <a:pos x="1399" y="2"/>
                    </a:cxn>
                    <a:cxn ang="0">
                      <a:pos x="0" y="1401"/>
                    </a:cxn>
                    <a:cxn ang="0">
                      <a:pos x="11" y="1411"/>
                    </a:cxn>
                    <a:cxn ang="0">
                      <a:pos x="159" y="1610"/>
                    </a:cxn>
                    <a:cxn ang="0">
                      <a:pos x="883" y="1138"/>
                    </a:cxn>
                    <a:cxn ang="0">
                      <a:pos x="1399" y="2"/>
                    </a:cxn>
                  </a:cxnLst>
                  <a:rect l="0" t="0" r="r" b="b"/>
                  <a:pathLst>
                    <a:path w="1428" h="1610">
                      <a:moveTo>
                        <a:pt x="1399" y="2"/>
                      </a:moveTo>
                      <a:cubicBezTo>
                        <a:pt x="1361" y="0"/>
                        <a:pt x="0" y="1401"/>
                        <a:pt x="0" y="1401"/>
                      </a:cubicBezTo>
                      <a:cubicBezTo>
                        <a:pt x="4" y="1405"/>
                        <a:pt x="7" y="1408"/>
                        <a:pt x="11" y="1411"/>
                      </a:cubicBezTo>
                      <a:cubicBezTo>
                        <a:pt x="72" y="1471"/>
                        <a:pt x="121" y="1538"/>
                        <a:pt x="159" y="1610"/>
                      </a:cubicBezTo>
                      <a:cubicBezTo>
                        <a:pt x="401" y="1528"/>
                        <a:pt x="657" y="1367"/>
                        <a:pt x="883" y="1138"/>
                      </a:cubicBezTo>
                      <a:cubicBezTo>
                        <a:pt x="1242" y="774"/>
                        <a:pt x="1428" y="336"/>
                        <a:pt x="1399" y="2"/>
                      </a:cubicBezTo>
                    </a:path>
                  </a:pathLst>
                </a:custGeom>
                <a:solidFill>
                  <a:srgbClr val="CFCFCF"/>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5" name="Freeform 12"/>
                <p:cNvSpPr/>
                <p:nvPr/>
              </p:nvSpPr>
              <p:spPr bwMode="auto">
                <a:xfrm>
                  <a:off x="4814887" y="2097088"/>
                  <a:ext cx="630238" cy="638175"/>
                </a:xfrm>
                <a:custGeom>
                  <a:avLst/>
                  <a:gdLst/>
                  <a:ahLst/>
                  <a:cxnLst>
                    <a:cxn ang="0">
                      <a:pos x="276" y="282"/>
                    </a:cxn>
                    <a:cxn ang="0">
                      <a:pos x="0" y="694"/>
                    </a:cxn>
                    <a:cxn ang="0">
                      <a:pos x="407" y="411"/>
                    </a:cxn>
                    <a:cxn ang="0">
                      <a:pos x="684" y="0"/>
                    </a:cxn>
                    <a:cxn ang="0">
                      <a:pos x="276" y="282"/>
                    </a:cxn>
                  </a:cxnLst>
                  <a:rect l="0" t="0" r="r" b="b"/>
                  <a:pathLst>
                    <a:path w="684" h="694">
                      <a:moveTo>
                        <a:pt x="276" y="282"/>
                      </a:moveTo>
                      <a:cubicBezTo>
                        <a:pt x="127" y="433"/>
                        <a:pt x="24" y="591"/>
                        <a:pt x="0" y="694"/>
                      </a:cubicBezTo>
                      <a:cubicBezTo>
                        <a:pt x="102" y="668"/>
                        <a:pt x="258" y="563"/>
                        <a:pt x="407" y="411"/>
                      </a:cubicBezTo>
                      <a:cubicBezTo>
                        <a:pt x="556" y="260"/>
                        <a:pt x="659" y="103"/>
                        <a:pt x="684" y="0"/>
                      </a:cubicBezTo>
                      <a:cubicBezTo>
                        <a:pt x="581" y="26"/>
                        <a:pt x="425" y="131"/>
                        <a:pt x="276" y="28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6" name="Freeform 23"/>
                <p:cNvSpPr/>
                <p:nvPr/>
              </p:nvSpPr>
              <p:spPr bwMode="auto">
                <a:xfrm>
                  <a:off x="5737225" y="1328738"/>
                  <a:ext cx="468313" cy="468313"/>
                </a:xfrm>
                <a:custGeom>
                  <a:avLst/>
                  <a:gdLst/>
                  <a:ahLst/>
                  <a:cxnLst>
                    <a:cxn ang="0">
                      <a:pos x="57" y="0"/>
                    </a:cxn>
                    <a:cxn ang="0">
                      <a:pos x="2" y="28"/>
                    </a:cxn>
                    <a:cxn ang="0">
                      <a:pos x="479" y="509"/>
                    </a:cxn>
                    <a:cxn ang="0">
                      <a:pos x="509" y="446"/>
                    </a:cxn>
                    <a:cxn ang="0">
                      <a:pos x="57" y="0"/>
                    </a:cxn>
                  </a:cxnLst>
                  <a:rect l="0" t="0" r="r" b="b"/>
                  <a:pathLst>
                    <a:path w="509" h="509">
                      <a:moveTo>
                        <a:pt x="57" y="0"/>
                      </a:moveTo>
                      <a:cubicBezTo>
                        <a:pt x="24" y="15"/>
                        <a:pt x="2" y="28"/>
                        <a:pt x="2" y="28"/>
                      </a:cubicBezTo>
                      <a:cubicBezTo>
                        <a:pt x="0" y="28"/>
                        <a:pt x="288" y="254"/>
                        <a:pt x="479" y="509"/>
                      </a:cubicBezTo>
                      <a:cubicBezTo>
                        <a:pt x="479" y="509"/>
                        <a:pt x="503" y="462"/>
                        <a:pt x="509" y="446"/>
                      </a:cubicBezTo>
                      <a:cubicBezTo>
                        <a:pt x="505" y="287"/>
                        <a:pt x="274" y="7"/>
                        <a:pt x="57" y="0"/>
                      </a:cubicBezTo>
                    </a:path>
                  </a:pathLst>
                </a:custGeom>
                <a:solidFill>
                  <a:schemeClr val="accent1">
                    <a:lumMod val="60000"/>
                    <a:lumOff val="40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7" name="Freeform 31"/>
                <p:cNvSpPr/>
                <p:nvPr/>
              </p:nvSpPr>
              <p:spPr bwMode="auto">
                <a:xfrm>
                  <a:off x="6318250" y="1219200"/>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8" name="Oval 32"/>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9" name="Freeform 33"/>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0" name="Oval 34"/>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1" name="Freeform 35"/>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2" name="Freeform 36"/>
                <p:cNvSpPr/>
                <p:nvPr/>
              </p:nvSpPr>
              <p:spPr bwMode="auto">
                <a:xfrm>
                  <a:off x="6318250" y="1222375"/>
                  <a:ext cx="1588" cy="1588"/>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3" name="Freeform 37"/>
                <p:cNvSpPr>
                  <a:spLocks noEditPoints="1"/>
                </p:cNvSpPr>
                <p:nvPr/>
              </p:nvSpPr>
              <p:spPr bwMode="auto">
                <a:xfrm>
                  <a:off x="6316662" y="1222375"/>
                  <a:ext cx="4763" cy="115888"/>
                </a:xfrm>
                <a:custGeom>
                  <a:avLst/>
                  <a:gdLst/>
                  <a:ahLst/>
                  <a:cxnLst>
                    <a:cxn ang="0">
                      <a:pos x="1" y="0"/>
                    </a:cxn>
                    <a:cxn ang="0">
                      <a:pos x="3" y="62"/>
                    </a:cxn>
                    <a:cxn ang="0">
                      <a:pos x="0" y="126"/>
                    </a:cxn>
                    <a:cxn ang="0">
                      <a:pos x="1" y="0"/>
                    </a:cxn>
                    <a:cxn ang="0">
                      <a:pos x="1" y="0"/>
                    </a:cxn>
                    <a:cxn ang="0">
                      <a:pos x="1" y="0"/>
                    </a:cxn>
                    <a:cxn ang="0">
                      <a:pos x="1" y="0"/>
                    </a:cxn>
                    <a:cxn ang="0">
                      <a:pos x="1" y="0"/>
                    </a:cxn>
                    <a:cxn ang="0">
                      <a:pos x="1" y="0"/>
                    </a:cxn>
                  </a:cxnLst>
                  <a:rect l="0" t="0" r="r" b="b"/>
                  <a:pathLst>
                    <a:path w="4" h="126">
                      <a:moveTo>
                        <a:pt x="1" y="0"/>
                      </a:moveTo>
                      <a:cubicBezTo>
                        <a:pt x="2" y="20"/>
                        <a:pt x="3" y="41"/>
                        <a:pt x="3" y="62"/>
                      </a:cubicBezTo>
                      <a:cubicBezTo>
                        <a:pt x="3" y="83"/>
                        <a:pt x="2" y="104"/>
                        <a:pt x="0" y="126"/>
                      </a:cubicBezTo>
                      <a:cubicBezTo>
                        <a:pt x="4" y="83"/>
                        <a:pt x="4" y="41"/>
                        <a:pt x="1" y="0"/>
                      </a:cubicBezTo>
                      <a:moveTo>
                        <a:pt x="1" y="0"/>
                      </a:moveTo>
                      <a:cubicBezTo>
                        <a:pt x="1" y="0"/>
                        <a:pt x="1" y="0"/>
                        <a:pt x="1" y="0"/>
                      </a:cubicBezTo>
                      <a:cubicBezTo>
                        <a:pt x="1" y="0"/>
                        <a:pt x="1" y="0"/>
                        <a:pt x="1" y="0"/>
                      </a:cubicBezTo>
                      <a:cubicBezTo>
                        <a:pt x="1" y="0"/>
                        <a:pt x="1" y="0"/>
                        <a:pt x="1" y="0"/>
                      </a:cubicBezTo>
                      <a:cubicBezTo>
                        <a:pt x="1" y="0"/>
                        <a:pt x="1" y="0"/>
                        <a:pt x="1"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4" name="Freeform 38"/>
                <p:cNvSpPr/>
                <p:nvPr/>
              </p:nvSpPr>
              <p:spPr bwMode="auto">
                <a:xfrm>
                  <a:off x="6316662" y="1211263"/>
                  <a:ext cx="3175" cy="68263"/>
                </a:xfrm>
                <a:custGeom>
                  <a:avLst/>
                  <a:gdLst/>
                  <a:ahLst/>
                  <a:cxnLst>
                    <a:cxn ang="0">
                      <a:pos x="1" y="0"/>
                    </a:cxn>
                    <a:cxn ang="0">
                      <a:pos x="0" y="0"/>
                    </a:cxn>
                    <a:cxn ang="0">
                      <a:pos x="1" y="1"/>
                    </a:cxn>
                    <a:cxn ang="0">
                      <a:pos x="4" y="74"/>
                    </a:cxn>
                    <a:cxn ang="0">
                      <a:pos x="2" y="12"/>
                    </a:cxn>
                    <a:cxn ang="0">
                      <a:pos x="2" y="12"/>
                    </a:cxn>
                    <a:cxn ang="0">
                      <a:pos x="2" y="12"/>
                    </a:cxn>
                    <a:cxn ang="0">
                      <a:pos x="2" y="12"/>
                    </a:cxn>
                    <a:cxn ang="0">
                      <a:pos x="2" y="12"/>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0"/>
                    </a:cxn>
                    <a:cxn ang="0">
                      <a:pos x="2" y="10"/>
                    </a:cxn>
                    <a:cxn ang="0">
                      <a:pos x="2" y="10"/>
                    </a:cxn>
                    <a:cxn ang="0">
                      <a:pos x="2" y="10"/>
                    </a:cxn>
                    <a:cxn ang="0">
                      <a:pos x="1" y="0"/>
                    </a:cxn>
                    <a:cxn ang="0">
                      <a:pos x="1" y="0"/>
                    </a:cxn>
                  </a:cxnLst>
                  <a:rect l="0" t="0" r="r" b="b"/>
                  <a:pathLst>
                    <a:path w="4" h="74">
                      <a:moveTo>
                        <a:pt x="1" y="0"/>
                      </a:moveTo>
                      <a:cubicBezTo>
                        <a:pt x="1" y="0"/>
                        <a:pt x="0" y="0"/>
                        <a:pt x="0" y="0"/>
                      </a:cubicBezTo>
                      <a:cubicBezTo>
                        <a:pt x="0" y="0"/>
                        <a:pt x="1" y="1"/>
                        <a:pt x="1" y="1"/>
                      </a:cubicBezTo>
                      <a:cubicBezTo>
                        <a:pt x="3" y="25"/>
                        <a:pt x="4" y="49"/>
                        <a:pt x="4" y="74"/>
                      </a:cubicBezTo>
                      <a:cubicBezTo>
                        <a:pt x="4" y="53"/>
                        <a:pt x="3" y="32"/>
                        <a:pt x="2" y="12"/>
                      </a:cubicBezTo>
                      <a:cubicBezTo>
                        <a:pt x="2" y="12"/>
                        <a:pt x="2" y="12"/>
                        <a:pt x="2" y="12"/>
                      </a:cubicBezTo>
                      <a:cubicBezTo>
                        <a:pt x="2" y="12"/>
                        <a:pt x="2" y="12"/>
                        <a:pt x="2" y="12"/>
                      </a:cubicBezTo>
                      <a:cubicBezTo>
                        <a:pt x="2" y="12"/>
                        <a:pt x="2" y="12"/>
                        <a:pt x="2" y="12"/>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7"/>
                        <a:pt x="1" y="4"/>
                        <a:pt x="1" y="0"/>
                      </a:cubicBezTo>
                      <a:cubicBezTo>
                        <a:pt x="1" y="0"/>
                        <a:pt x="1" y="0"/>
                        <a:pt x="1" y="0"/>
                      </a:cubicBezTo>
                    </a:path>
                  </a:pathLst>
                </a:custGeom>
                <a:solidFill>
                  <a:srgbClr val="B7352B"/>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5" name="Freeform 40"/>
                <p:cNvSpPr/>
                <p:nvPr/>
              </p:nvSpPr>
              <p:spPr bwMode="auto">
                <a:xfrm>
                  <a:off x="6316662" y="1338263"/>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6" name="Freeform 41"/>
                <p:cNvSpPr>
                  <a:spLocks noEditPoints="1"/>
                </p:cNvSpPr>
                <p:nvPr/>
              </p:nvSpPr>
              <p:spPr bwMode="auto">
                <a:xfrm>
                  <a:off x="5175250" y="1797050"/>
                  <a:ext cx="1001713" cy="893763"/>
                </a:xfrm>
                <a:custGeom>
                  <a:avLst/>
                  <a:gdLst/>
                  <a:ahLst/>
                  <a:cxnLst>
                    <a:cxn ang="0">
                      <a:pos x="72" y="943"/>
                    </a:cxn>
                    <a:cxn ang="0">
                      <a:pos x="0" y="970"/>
                    </a:cxn>
                    <a:cxn ang="0">
                      <a:pos x="0" y="970"/>
                    </a:cxn>
                    <a:cxn ang="0">
                      <a:pos x="72" y="943"/>
                    </a:cxn>
                    <a:cxn ang="0">
                      <a:pos x="72" y="943"/>
                    </a:cxn>
                    <a:cxn ang="0">
                      <a:pos x="1088" y="0"/>
                    </a:cxn>
                    <a:cxn ang="0">
                      <a:pos x="724" y="498"/>
                    </a:cxn>
                    <a:cxn ang="0">
                      <a:pos x="1088" y="0"/>
                    </a:cxn>
                    <a:cxn ang="0">
                      <a:pos x="1088" y="0"/>
                    </a:cxn>
                  </a:cxnLst>
                  <a:rect l="0" t="0" r="r" b="b"/>
                  <a:pathLst>
                    <a:path w="1088" h="970">
                      <a:moveTo>
                        <a:pt x="72" y="943"/>
                      </a:moveTo>
                      <a:cubicBezTo>
                        <a:pt x="48" y="953"/>
                        <a:pt x="24" y="962"/>
                        <a:pt x="0" y="970"/>
                      </a:cubicBezTo>
                      <a:cubicBezTo>
                        <a:pt x="0" y="970"/>
                        <a:pt x="0" y="970"/>
                        <a:pt x="0" y="970"/>
                      </a:cubicBezTo>
                      <a:cubicBezTo>
                        <a:pt x="24" y="962"/>
                        <a:pt x="48" y="953"/>
                        <a:pt x="72" y="943"/>
                      </a:cubicBezTo>
                      <a:cubicBezTo>
                        <a:pt x="72" y="943"/>
                        <a:pt x="72" y="943"/>
                        <a:pt x="72" y="943"/>
                      </a:cubicBezTo>
                      <a:moveTo>
                        <a:pt x="1088" y="0"/>
                      </a:moveTo>
                      <a:cubicBezTo>
                        <a:pt x="1001" y="170"/>
                        <a:pt x="879" y="341"/>
                        <a:pt x="724" y="498"/>
                      </a:cubicBezTo>
                      <a:cubicBezTo>
                        <a:pt x="879" y="341"/>
                        <a:pt x="1001" y="170"/>
                        <a:pt x="1088" y="0"/>
                      </a:cubicBezTo>
                      <a:cubicBezTo>
                        <a:pt x="1088" y="0"/>
                        <a:pt x="1088" y="0"/>
                        <a:pt x="1088"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7" name="Freeform 42"/>
                <p:cNvSpPr/>
                <p:nvPr/>
              </p:nvSpPr>
              <p:spPr bwMode="auto">
                <a:xfrm>
                  <a:off x="5241925" y="2493963"/>
                  <a:ext cx="317500" cy="171450"/>
                </a:xfrm>
                <a:custGeom>
                  <a:avLst/>
                  <a:gdLst/>
                  <a:ahLst/>
                  <a:cxnLst>
                    <a:cxn ang="0">
                      <a:pos x="344" y="0"/>
                    </a:cxn>
                    <a:cxn ang="0">
                      <a:pos x="0" y="186"/>
                    </a:cxn>
                    <a:cxn ang="0">
                      <a:pos x="0" y="186"/>
                    </a:cxn>
                    <a:cxn ang="0">
                      <a:pos x="344" y="0"/>
                    </a:cxn>
                  </a:cxnLst>
                  <a:rect l="0" t="0" r="r" b="b"/>
                  <a:pathLst>
                    <a:path w="344" h="186">
                      <a:moveTo>
                        <a:pt x="344" y="0"/>
                      </a:moveTo>
                      <a:cubicBezTo>
                        <a:pt x="230" y="79"/>
                        <a:pt x="114" y="141"/>
                        <a:pt x="0" y="186"/>
                      </a:cubicBezTo>
                      <a:cubicBezTo>
                        <a:pt x="0" y="186"/>
                        <a:pt x="0" y="186"/>
                        <a:pt x="0" y="186"/>
                      </a:cubicBezTo>
                      <a:cubicBezTo>
                        <a:pt x="114" y="141"/>
                        <a:pt x="230" y="79"/>
                        <a:pt x="344" y="0"/>
                      </a:cubicBezTo>
                    </a:path>
                  </a:pathLst>
                </a:custGeom>
                <a:solidFill>
                  <a:srgbClr val="26456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8" name="Freeform 14"/>
                <p:cNvSpPr/>
                <p:nvPr/>
              </p:nvSpPr>
              <p:spPr bwMode="auto">
                <a:xfrm>
                  <a:off x="5788023" y="1203327"/>
                  <a:ext cx="541338" cy="539750"/>
                </a:xfrm>
                <a:custGeom>
                  <a:avLst/>
                  <a:gdLst/>
                  <a:ahLst/>
                  <a:cxnLst>
                    <a:cxn ang="0">
                      <a:pos x="0" y="142"/>
                    </a:cxn>
                    <a:cxn ang="0">
                      <a:pos x="233" y="357"/>
                    </a:cxn>
                    <a:cxn ang="0">
                      <a:pos x="452" y="587"/>
                    </a:cxn>
                    <a:cxn ang="0">
                      <a:pos x="573" y="12"/>
                    </a:cxn>
                    <a:cxn ang="0">
                      <a:pos x="0" y="142"/>
                    </a:cxn>
                  </a:cxnLst>
                  <a:rect l="0" t="0" r="r" b="b"/>
                  <a:pathLst>
                    <a:path w="588" h="587">
                      <a:moveTo>
                        <a:pt x="0" y="142"/>
                      </a:moveTo>
                      <a:cubicBezTo>
                        <a:pt x="79" y="210"/>
                        <a:pt x="157" y="281"/>
                        <a:pt x="233" y="357"/>
                      </a:cubicBezTo>
                      <a:cubicBezTo>
                        <a:pt x="310" y="433"/>
                        <a:pt x="383" y="510"/>
                        <a:pt x="452" y="587"/>
                      </a:cubicBezTo>
                      <a:cubicBezTo>
                        <a:pt x="546" y="384"/>
                        <a:pt x="588" y="184"/>
                        <a:pt x="573" y="12"/>
                      </a:cubicBezTo>
                      <a:cubicBezTo>
                        <a:pt x="401" y="0"/>
                        <a:pt x="202" y="45"/>
                        <a:pt x="0" y="14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grpSp>
          <p:nvGrpSpPr>
            <p:cNvPr id="17" name="Group 460"/>
            <p:cNvGrpSpPr/>
            <p:nvPr/>
          </p:nvGrpSpPr>
          <p:grpSpPr>
            <a:xfrm flipH="1">
              <a:off x="4422941" y="1485684"/>
              <a:ext cx="2116381" cy="2306228"/>
              <a:chOff x="654280" y="1047000"/>
              <a:chExt cx="3037332" cy="3309787"/>
            </a:xfrm>
          </p:grpSpPr>
          <p:grpSp>
            <p:nvGrpSpPr>
              <p:cNvPr id="165" name="Group 461"/>
              <p:cNvGrpSpPr/>
              <p:nvPr/>
            </p:nvGrpSpPr>
            <p:grpSpPr>
              <a:xfrm>
                <a:off x="654280" y="2079826"/>
                <a:ext cx="3024555" cy="2276961"/>
                <a:chOff x="604505" y="1981058"/>
                <a:chExt cx="3153719" cy="2374200"/>
              </a:xfrm>
            </p:grpSpPr>
            <p:grpSp>
              <p:nvGrpSpPr>
                <p:cNvPr id="186" name="Group 483"/>
                <p:cNvGrpSpPr/>
                <p:nvPr/>
              </p:nvGrpSpPr>
              <p:grpSpPr>
                <a:xfrm rot="15155533" flipH="1">
                  <a:off x="773232" y="1812331"/>
                  <a:ext cx="2374200" cy="2711653"/>
                  <a:chOff x="6326188" y="1654175"/>
                  <a:chExt cx="2410644" cy="3082384"/>
                </a:xfrm>
                <a:solidFill>
                  <a:schemeClr val="bg2">
                    <a:lumMod val="75000"/>
                  </a:schemeClr>
                </a:solidFill>
              </p:grpSpPr>
              <p:sp>
                <p:nvSpPr>
                  <p:cNvPr id="268"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9"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0"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1"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2"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3"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4"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5"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6"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7"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8"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9"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0"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1"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2"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3"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4"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5"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6"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7"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8"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9"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0"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1"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2"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3"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4" name="Freeform 155"/>
                  <p:cNvSpPr/>
                  <p:nvPr/>
                </p:nvSpPr>
                <p:spPr bwMode="auto">
                  <a:xfrm>
                    <a:off x="6471470" y="1748884"/>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5"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6"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7"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8"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9"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0"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1"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2"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3"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4"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5"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6"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7"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187" name="Group 484"/>
                <p:cNvGrpSpPr/>
                <p:nvPr/>
              </p:nvGrpSpPr>
              <p:grpSpPr>
                <a:xfrm rot="15155533" flipH="1">
                  <a:off x="1114059" y="1803071"/>
                  <a:ext cx="2159193" cy="2610180"/>
                  <a:chOff x="6326188" y="1654175"/>
                  <a:chExt cx="2192337" cy="2967038"/>
                </a:xfrm>
                <a:solidFill>
                  <a:schemeClr val="bg2">
                    <a:lumMod val="75000"/>
                  </a:schemeClr>
                </a:solidFill>
              </p:grpSpPr>
              <p:sp>
                <p:nvSpPr>
                  <p:cNvPr id="229"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0"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1"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2"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3"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4"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5"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6"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7"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8"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39"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0"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1"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2"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3"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4"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5"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6"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7"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8"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49"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0"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1"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2"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3"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4"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5"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6"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7"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8"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9"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0"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1"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2"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3"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4"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5"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6"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7"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188" name="Group 485"/>
                <p:cNvGrpSpPr/>
                <p:nvPr/>
              </p:nvGrpSpPr>
              <p:grpSpPr>
                <a:xfrm rot="15155533" flipH="1">
                  <a:off x="1264410" y="1845476"/>
                  <a:ext cx="2259435" cy="2728193"/>
                  <a:chOff x="6224407" y="1520027"/>
                  <a:chExt cx="2294118" cy="3101186"/>
                </a:xfrm>
                <a:solidFill>
                  <a:schemeClr val="bg2">
                    <a:lumMod val="75000"/>
                  </a:schemeClr>
                </a:solidFill>
              </p:grpSpPr>
              <p:sp>
                <p:nvSpPr>
                  <p:cNvPr id="189"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0"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1"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2"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3"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4"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5"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6"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7"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8"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99"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0"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1"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2"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3"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4"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5"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6"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7"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8"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09"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0"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1"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2"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3"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4"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5" name="Freeform 155"/>
                  <p:cNvSpPr/>
                  <p:nvPr/>
                </p:nvSpPr>
                <p:spPr bwMode="auto">
                  <a:xfrm>
                    <a:off x="6224407" y="1520027"/>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6"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7"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8"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19"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0"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1"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2"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3"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4"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5"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6"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7"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28"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grpSp>
            <p:nvGrpSpPr>
              <p:cNvPr id="166" name="Group 462"/>
              <p:cNvGrpSpPr/>
              <p:nvPr/>
            </p:nvGrpSpPr>
            <p:grpSpPr>
              <a:xfrm rot="806963">
                <a:off x="2008129" y="1047000"/>
                <a:ext cx="1683483" cy="1691701"/>
                <a:chOff x="4391025" y="1189038"/>
                <a:chExt cx="1952625" cy="1962150"/>
              </a:xfrm>
            </p:grpSpPr>
            <p:sp>
              <p:nvSpPr>
                <p:cNvPr id="167" name="Freeform 6"/>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close/>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8" name="Freeform 7"/>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path>
                  </a:pathLst>
                </a:custGeom>
                <a:no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9" name="Freeform 8"/>
                <p:cNvSpPr/>
                <p:nvPr/>
              </p:nvSpPr>
              <p:spPr bwMode="auto">
                <a:xfrm>
                  <a:off x="4391025" y="1874838"/>
                  <a:ext cx="1284288" cy="1276350"/>
                </a:xfrm>
                <a:custGeom>
                  <a:avLst/>
                  <a:gdLst/>
                  <a:ahLst/>
                  <a:cxnLst>
                    <a:cxn ang="0">
                      <a:pos x="1114" y="270"/>
                    </a:cxn>
                    <a:cxn ang="0">
                      <a:pos x="140" y="268"/>
                    </a:cxn>
                    <a:cxn ang="0">
                      <a:pos x="0" y="479"/>
                    </a:cxn>
                    <a:cxn ang="0">
                      <a:pos x="766" y="624"/>
                    </a:cxn>
                    <a:cxn ang="0">
                      <a:pos x="922" y="1388"/>
                    </a:cxn>
                    <a:cxn ang="0">
                      <a:pos x="1130" y="1245"/>
                    </a:cxn>
                    <a:cxn ang="0">
                      <a:pos x="1114" y="270"/>
                    </a:cxn>
                  </a:cxnLst>
                  <a:rect l="0" t="0" r="r" b="b"/>
                  <a:pathLst>
                    <a:path w="1395" h="1388">
                      <a:moveTo>
                        <a:pt x="1114" y="270"/>
                      </a:moveTo>
                      <a:cubicBezTo>
                        <a:pt x="841" y="1"/>
                        <a:pt x="405" y="0"/>
                        <a:pt x="140" y="268"/>
                      </a:cubicBezTo>
                      <a:cubicBezTo>
                        <a:pt x="79" y="331"/>
                        <a:pt x="32" y="402"/>
                        <a:pt x="0" y="479"/>
                      </a:cubicBezTo>
                      <a:cubicBezTo>
                        <a:pt x="251" y="369"/>
                        <a:pt x="556" y="417"/>
                        <a:pt x="766" y="624"/>
                      </a:cubicBezTo>
                      <a:cubicBezTo>
                        <a:pt x="976" y="831"/>
                        <a:pt x="1028" y="1136"/>
                        <a:pt x="922" y="1388"/>
                      </a:cubicBezTo>
                      <a:cubicBezTo>
                        <a:pt x="998" y="1355"/>
                        <a:pt x="1069" y="1307"/>
                        <a:pt x="1130" y="1245"/>
                      </a:cubicBezTo>
                      <a:cubicBezTo>
                        <a:pt x="1395" y="976"/>
                        <a:pt x="1388" y="540"/>
                        <a:pt x="1114" y="270"/>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0" name="Freeform 10"/>
                <p:cNvSpPr/>
                <p:nvPr/>
              </p:nvSpPr>
              <p:spPr bwMode="auto">
                <a:xfrm>
                  <a:off x="4854575" y="1189038"/>
                  <a:ext cx="1489075" cy="1501775"/>
                </a:xfrm>
                <a:custGeom>
                  <a:avLst/>
                  <a:gdLst/>
                  <a:ahLst/>
                  <a:cxnLst>
                    <a:cxn ang="0">
                      <a:pos x="462" y="557"/>
                    </a:cxn>
                    <a:cxn ang="0">
                      <a:pos x="0" y="1288"/>
                    </a:cxn>
                    <a:cxn ang="0">
                      <a:pos x="201" y="1433"/>
                    </a:cxn>
                    <a:cxn ang="0">
                      <a:pos x="349" y="1632"/>
                    </a:cxn>
                    <a:cxn ang="0">
                      <a:pos x="1073" y="1160"/>
                    </a:cxn>
                    <a:cxn ang="0">
                      <a:pos x="1589" y="24"/>
                    </a:cxn>
                    <a:cxn ang="0">
                      <a:pos x="462" y="557"/>
                    </a:cxn>
                  </a:cxnLst>
                  <a:rect l="0" t="0" r="r" b="b"/>
                  <a:pathLst>
                    <a:path w="1618" h="1632">
                      <a:moveTo>
                        <a:pt x="462" y="557"/>
                      </a:moveTo>
                      <a:cubicBezTo>
                        <a:pt x="236" y="786"/>
                        <a:pt x="78" y="1044"/>
                        <a:pt x="0" y="1288"/>
                      </a:cubicBezTo>
                      <a:cubicBezTo>
                        <a:pt x="72" y="1325"/>
                        <a:pt x="140" y="1373"/>
                        <a:pt x="201" y="1433"/>
                      </a:cubicBezTo>
                      <a:cubicBezTo>
                        <a:pt x="262" y="1493"/>
                        <a:pt x="311" y="1560"/>
                        <a:pt x="349" y="1632"/>
                      </a:cubicBezTo>
                      <a:cubicBezTo>
                        <a:pt x="591" y="1550"/>
                        <a:pt x="847" y="1389"/>
                        <a:pt x="1073" y="1160"/>
                      </a:cubicBezTo>
                      <a:cubicBezTo>
                        <a:pt x="1432" y="796"/>
                        <a:pt x="1618" y="358"/>
                        <a:pt x="1589" y="24"/>
                      </a:cubicBezTo>
                      <a:cubicBezTo>
                        <a:pt x="1255" y="0"/>
                        <a:pt x="820" y="193"/>
                        <a:pt x="462" y="557"/>
                      </a:cubicBezTo>
                    </a:path>
                  </a:pathLst>
                </a:custGeom>
                <a:solidFill>
                  <a:schemeClr val="tx1">
                    <a:lumMod val="10000"/>
                    <a:lumOff val="90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1" name="Freeform 11"/>
                <p:cNvSpPr/>
                <p:nvPr/>
              </p:nvSpPr>
              <p:spPr bwMode="auto">
                <a:xfrm>
                  <a:off x="5029200" y="1208088"/>
                  <a:ext cx="1314450" cy="1482725"/>
                </a:xfrm>
                <a:custGeom>
                  <a:avLst/>
                  <a:gdLst/>
                  <a:ahLst/>
                  <a:cxnLst>
                    <a:cxn ang="0">
                      <a:pos x="1399" y="2"/>
                    </a:cxn>
                    <a:cxn ang="0">
                      <a:pos x="0" y="1401"/>
                    </a:cxn>
                    <a:cxn ang="0">
                      <a:pos x="11" y="1411"/>
                    </a:cxn>
                    <a:cxn ang="0">
                      <a:pos x="159" y="1610"/>
                    </a:cxn>
                    <a:cxn ang="0">
                      <a:pos x="883" y="1138"/>
                    </a:cxn>
                    <a:cxn ang="0">
                      <a:pos x="1399" y="2"/>
                    </a:cxn>
                  </a:cxnLst>
                  <a:rect l="0" t="0" r="r" b="b"/>
                  <a:pathLst>
                    <a:path w="1428" h="1610">
                      <a:moveTo>
                        <a:pt x="1399" y="2"/>
                      </a:moveTo>
                      <a:cubicBezTo>
                        <a:pt x="1361" y="0"/>
                        <a:pt x="0" y="1401"/>
                        <a:pt x="0" y="1401"/>
                      </a:cubicBezTo>
                      <a:cubicBezTo>
                        <a:pt x="4" y="1405"/>
                        <a:pt x="7" y="1408"/>
                        <a:pt x="11" y="1411"/>
                      </a:cubicBezTo>
                      <a:cubicBezTo>
                        <a:pt x="72" y="1471"/>
                        <a:pt x="121" y="1538"/>
                        <a:pt x="159" y="1610"/>
                      </a:cubicBezTo>
                      <a:cubicBezTo>
                        <a:pt x="401" y="1528"/>
                        <a:pt x="657" y="1367"/>
                        <a:pt x="883" y="1138"/>
                      </a:cubicBezTo>
                      <a:cubicBezTo>
                        <a:pt x="1242" y="774"/>
                        <a:pt x="1428" y="336"/>
                        <a:pt x="1399" y="2"/>
                      </a:cubicBezTo>
                    </a:path>
                  </a:pathLst>
                </a:custGeom>
                <a:solidFill>
                  <a:srgbClr val="CFCFCF"/>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2" name="Freeform 12"/>
                <p:cNvSpPr/>
                <p:nvPr/>
              </p:nvSpPr>
              <p:spPr bwMode="auto">
                <a:xfrm>
                  <a:off x="4814887" y="2097088"/>
                  <a:ext cx="630238" cy="638175"/>
                </a:xfrm>
                <a:custGeom>
                  <a:avLst/>
                  <a:gdLst/>
                  <a:ahLst/>
                  <a:cxnLst>
                    <a:cxn ang="0">
                      <a:pos x="276" y="282"/>
                    </a:cxn>
                    <a:cxn ang="0">
                      <a:pos x="0" y="694"/>
                    </a:cxn>
                    <a:cxn ang="0">
                      <a:pos x="407" y="411"/>
                    </a:cxn>
                    <a:cxn ang="0">
                      <a:pos x="684" y="0"/>
                    </a:cxn>
                    <a:cxn ang="0">
                      <a:pos x="276" y="282"/>
                    </a:cxn>
                  </a:cxnLst>
                  <a:rect l="0" t="0" r="r" b="b"/>
                  <a:pathLst>
                    <a:path w="684" h="694">
                      <a:moveTo>
                        <a:pt x="276" y="282"/>
                      </a:moveTo>
                      <a:cubicBezTo>
                        <a:pt x="127" y="433"/>
                        <a:pt x="24" y="591"/>
                        <a:pt x="0" y="694"/>
                      </a:cubicBezTo>
                      <a:cubicBezTo>
                        <a:pt x="102" y="668"/>
                        <a:pt x="258" y="563"/>
                        <a:pt x="407" y="411"/>
                      </a:cubicBezTo>
                      <a:cubicBezTo>
                        <a:pt x="556" y="260"/>
                        <a:pt x="659" y="103"/>
                        <a:pt x="684" y="0"/>
                      </a:cubicBezTo>
                      <a:cubicBezTo>
                        <a:pt x="581" y="26"/>
                        <a:pt x="425" y="131"/>
                        <a:pt x="276" y="28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3" name="Freeform 23"/>
                <p:cNvSpPr/>
                <p:nvPr/>
              </p:nvSpPr>
              <p:spPr bwMode="auto">
                <a:xfrm>
                  <a:off x="5737225" y="1328738"/>
                  <a:ext cx="468312" cy="468313"/>
                </a:xfrm>
                <a:custGeom>
                  <a:avLst/>
                  <a:gdLst/>
                  <a:ahLst/>
                  <a:cxnLst>
                    <a:cxn ang="0">
                      <a:pos x="57" y="0"/>
                    </a:cxn>
                    <a:cxn ang="0">
                      <a:pos x="2" y="28"/>
                    </a:cxn>
                    <a:cxn ang="0">
                      <a:pos x="479" y="509"/>
                    </a:cxn>
                    <a:cxn ang="0">
                      <a:pos x="509" y="446"/>
                    </a:cxn>
                    <a:cxn ang="0">
                      <a:pos x="57" y="0"/>
                    </a:cxn>
                  </a:cxnLst>
                  <a:rect l="0" t="0" r="r" b="b"/>
                  <a:pathLst>
                    <a:path w="509" h="509">
                      <a:moveTo>
                        <a:pt x="57" y="0"/>
                      </a:moveTo>
                      <a:cubicBezTo>
                        <a:pt x="24" y="15"/>
                        <a:pt x="2" y="28"/>
                        <a:pt x="2" y="28"/>
                      </a:cubicBezTo>
                      <a:cubicBezTo>
                        <a:pt x="0" y="28"/>
                        <a:pt x="288" y="254"/>
                        <a:pt x="479" y="509"/>
                      </a:cubicBezTo>
                      <a:cubicBezTo>
                        <a:pt x="479" y="509"/>
                        <a:pt x="503" y="462"/>
                        <a:pt x="509" y="446"/>
                      </a:cubicBezTo>
                      <a:cubicBezTo>
                        <a:pt x="505" y="287"/>
                        <a:pt x="274" y="7"/>
                        <a:pt x="57" y="0"/>
                      </a:cubicBezTo>
                    </a:path>
                  </a:pathLst>
                </a:custGeom>
                <a:solidFill>
                  <a:schemeClr val="accent1">
                    <a:lumMod val="60000"/>
                    <a:lumOff val="40000"/>
                  </a:schemeClr>
                </a:solidFill>
                <a:ln w="9525">
                  <a:noFill/>
                  <a:round/>
                </a:ln>
              </p:spPr>
              <p:txBody>
                <a:bodyPr vert="horz" wrap="square" lIns="91406" tIns="45703" rIns="91406" bIns="45703" numCol="1" anchor="t" anchorCtr="0" compatLnSpc="1"/>
                <a:lstStyle/>
                <a:p>
                  <a:pPr>
                    <a:lnSpc>
                      <a:spcPct val="120000"/>
                    </a:lnSpc>
                  </a:pPr>
                  <a:endParaRPr lang="en-US" sz="1705" dirty="0">
                    <a:cs typeface="+mn-ea"/>
                    <a:sym typeface="+mn-lt"/>
                  </a:endParaRPr>
                </a:p>
              </p:txBody>
            </p:sp>
            <p:sp>
              <p:nvSpPr>
                <p:cNvPr id="174" name="Freeform 31"/>
                <p:cNvSpPr/>
                <p:nvPr/>
              </p:nvSpPr>
              <p:spPr bwMode="auto">
                <a:xfrm>
                  <a:off x="6318250" y="1219200"/>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5" name="Oval 32"/>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6" name="Freeform 33"/>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7" name="Oval 34"/>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8" name="Freeform 35"/>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79" name="Freeform 36"/>
                <p:cNvSpPr/>
                <p:nvPr/>
              </p:nvSpPr>
              <p:spPr bwMode="auto">
                <a:xfrm>
                  <a:off x="6318250" y="1222375"/>
                  <a:ext cx="1588" cy="1588"/>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0" name="Freeform 37"/>
                <p:cNvSpPr>
                  <a:spLocks noEditPoints="1"/>
                </p:cNvSpPr>
                <p:nvPr/>
              </p:nvSpPr>
              <p:spPr bwMode="auto">
                <a:xfrm>
                  <a:off x="6316662" y="1222375"/>
                  <a:ext cx="4763" cy="115888"/>
                </a:xfrm>
                <a:custGeom>
                  <a:avLst/>
                  <a:gdLst/>
                  <a:ahLst/>
                  <a:cxnLst>
                    <a:cxn ang="0">
                      <a:pos x="1" y="0"/>
                    </a:cxn>
                    <a:cxn ang="0">
                      <a:pos x="3" y="62"/>
                    </a:cxn>
                    <a:cxn ang="0">
                      <a:pos x="0" y="126"/>
                    </a:cxn>
                    <a:cxn ang="0">
                      <a:pos x="1" y="0"/>
                    </a:cxn>
                    <a:cxn ang="0">
                      <a:pos x="1" y="0"/>
                    </a:cxn>
                    <a:cxn ang="0">
                      <a:pos x="1" y="0"/>
                    </a:cxn>
                    <a:cxn ang="0">
                      <a:pos x="1" y="0"/>
                    </a:cxn>
                    <a:cxn ang="0">
                      <a:pos x="1" y="0"/>
                    </a:cxn>
                    <a:cxn ang="0">
                      <a:pos x="1" y="0"/>
                    </a:cxn>
                  </a:cxnLst>
                  <a:rect l="0" t="0" r="r" b="b"/>
                  <a:pathLst>
                    <a:path w="4" h="126">
                      <a:moveTo>
                        <a:pt x="1" y="0"/>
                      </a:moveTo>
                      <a:cubicBezTo>
                        <a:pt x="2" y="20"/>
                        <a:pt x="3" y="41"/>
                        <a:pt x="3" y="62"/>
                      </a:cubicBezTo>
                      <a:cubicBezTo>
                        <a:pt x="3" y="83"/>
                        <a:pt x="2" y="104"/>
                        <a:pt x="0" y="126"/>
                      </a:cubicBezTo>
                      <a:cubicBezTo>
                        <a:pt x="4" y="83"/>
                        <a:pt x="4" y="41"/>
                        <a:pt x="1" y="0"/>
                      </a:cubicBezTo>
                      <a:moveTo>
                        <a:pt x="1" y="0"/>
                      </a:moveTo>
                      <a:cubicBezTo>
                        <a:pt x="1" y="0"/>
                        <a:pt x="1" y="0"/>
                        <a:pt x="1" y="0"/>
                      </a:cubicBezTo>
                      <a:cubicBezTo>
                        <a:pt x="1" y="0"/>
                        <a:pt x="1" y="0"/>
                        <a:pt x="1" y="0"/>
                      </a:cubicBezTo>
                      <a:cubicBezTo>
                        <a:pt x="1" y="0"/>
                        <a:pt x="1" y="0"/>
                        <a:pt x="1" y="0"/>
                      </a:cubicBezTo>
                      <a:cubicBezTo>
                        <a:pt x="1" y="0"/>
                        <a:pt x="1" y="0"/>
                        <a:pt x="1"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1" name="Freeform 38"/>
                <p:cNvSpPr/>
                <p:nvPr/>
              </p:nvSpPr>
              <p:spPr bwMode="auto">
                <a:xfrm>
                  <a:off x="6316662" y="1211263"/>
                  <a:ext cx="3175" cy="68263"/>
                </a:xfrm>
                <a:custGeom>
                  <a:avLst/>
                  <a:gdLst/>
                  <a:ahLst/>
                  <a:cxnLst>
                    <a:cxn ang="0">
                      <a:pos x="1" y="0"/>
                    </a:cxn>
                    <a:cxn ang="0">
                      <a:pos x="0" y="0"/>
                    </a:cxn>
                    <a:cxn ang="0">
                      <a:pos x="1" y="1"/>
                    </a:cxn>
                    <a:cxn ang="0">
                      <a:pos x="4" y="74"/>
                    </a:cxn>
                    <a:cxn ang="0">
                      <a:pos x="2" y="12"/>
                    </a:cxn>
                    <a:cxn ang="0">
                      <a:pos x="2" y="12"/>
                    </a:cxn>
                    <a:cxn ang="0">
                      <a:pos x="2" y="12"/>
                    </a:cxn>
                    <a:cxn ang="0">
                      <a:pos x="2" y="12"/>
                    </a:cxn>
                    <a:cxn ang="0">
                      <a:pos x="2" y="12"/>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0"/>
                    </a:cxn>
                    <a:cxn ang="0">
                      <a:pos x="2" y="10"/>
                    </a:cxn>
                    <a:cxn ang="0">
                      <a:pos x="2" y="10"/>
                    </a:cxn>
                    <a:cxn ang="0">
                      <a:pos x="2" y="10"/>
                    </a:cxn>
                    <a:cxn ang="0">
                      <a:pos x="1" y="0"/>
                    </a:cxn>
                    <a:cxn ang="0">
                      <a:pos x="1" y="0"/>
                    </a:cxn>
                  </a:cxnLst>
                  <a:rect l="0" t="0" r="r" b="b"/>
                  <a:pathLst>
                    <a:path w="4" h="74">
                      <a:moveTo>
                        <a:pt x="1" y="0"/>
                      </a:moveTo>
                      <a:cubicBezTo>
                        <a:pt x="1" y="0"/>
                        <a:pt x="0" y="0"/>
                        <a:pt x="0" y="0"/>
                      </a:cubicBezTo>
                      <a:cubicBezTo>
                        <a:pt x="0" y="0"/>
                        <a:pt x="1" y="1"/>
                        <a:pt x="1" y="1"/>
                      </a:cubicBezTo>
                      <a:cubicBezTo>
                        <a:pt x="3" y="25"/>
                        <a:pt x="4" y="49"/>
                        <a:pt x="4" y="74"/>
                      </a:cubicBezTo>
                      <a:cubicBezTo>
                        <a:pt x="4" y="53"/>
                        <a:pt x="3" y="32"/>
                        <a:pt x="2" y="12"/>
                      </a:cubicBezTo>
                      <a:cubicBezTo>
                        <a:pt x="2" y="12"/>
                        <a:pt x="2" y="12"/>
                        <a:pt x="2" y="12"/>
                      </a:cubicBezTo>
                      <a:cubicBezTo>
                        <a:pt x="2" y="12"/>
                        <a:pt x="2" y="12"/>
                        <a:pt x="2" y="12"/>
                      </a:cubicBezTo>
                      <a:cubicBezTo>
                        <a:pt x="2" y="12"/>
                        <a:pt x="2" y="12"/>
                        <a:pt x="2" y="12"/>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7"/>
                        <a:pt x="1" y="4"/>
                        <a:pt x="1" y="0"/>
                      </a:cubicBezTo>
                      <a:cubicBezTo>
                        <a:pt x="1" y="0"/>
                        <a:pt x="1" y="0"/>
                        <a:pt x="1" y="0"/>
                      </a:cubicBezTo>
                    </a:path>
                  </a:pathLst>
                </a:custGeom>
                <a:solidFill>
                  <a:srgbClr val="B7352B"/>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2" name="Freeform 40"/>
                <p:cNvSpPr/>
                <p:nvPr/>
              </p:nvSpPr>
              <p:spPr bwMode="auto">
                <a:xfrm>
                  <a:off x="6316662" y="1338263"/>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3" name="Freeform 41"/>
                <p:cNvSpPr>
                  <a:spLocks noEditPoints="1"/>
                </p:cNvSpPr>
                <p:nvPr/>
              </p:nvSpPr>
              <p:spPr bwMode="auto">
                <a:xfrm>
                  <a:off x="5175250" y="1797050"/>
                  <a:ext cx="1001713" cy="893763"/>
                </a:xfrm>
                <a:custGeom>
                  <a:avLst/>
                  <a:gdLst/>
                  <a:ahLst/>
                  <a:cxnLst>
                    <a:cxn ang="0">
                      <a:pos x="72" y="943"/>
                    </a:cxn>
                    <a:cxn ang="0">
                      <a:pos x="0" y="970"/>
                    </a:cxn>
                    <a:cxn ang="0">
                      <a:pos x="0" y="970"/>
                    </a:cxn>
                    <a:cxn ang="0">
                      <a:pos x="72" y="943"/>
                    </a:cxn>
                    <a:cxn ang="0">
                      <a:pos x="72" y="943"/>
                    </a:cxn>
                    <a:cxn ang="0">
                      <a:pos x="1088" y="0"/>
                    </a:cxn>
                    <a:cxn ang="0">
                      <a:pos x="724" y="498"/>
                    </a:cxn>
                    <a:cxn ang="0">
                      <a:pos x="1088" y="0"/>
                    </a:cxn>
                    <a:cxn ang="0">
                      <a:pos x="1088" y="0"/>
                    </a:cxn>
                  </a:cxnLst>
                  <a:rect l="0" t="0" r="r" b="b"/>
                  <a:pathLst>
                    <a:path w="1088" h="970">
                      <a:moveTo>
                        <a:pt x="72" y="943"/>
                      </a:moveTo>
                      <a:cubicBezTo>
                        <a:pt x="48" y="953"/>
                        <a:pt x="24" y="962"/>
                        <a:pt x="0" y="970"/>
                      </a:cubicBezTo>
                      <a:cubicBezTo>
                        <a:pt x="0" y="970"/>
                        <a:pt x="0" y="970"/>
                        <a:pt x="0" y="970"/>
                      </a:cubicBezTo>
                      <a:cubicBezTo>
                        <a:pt x="24" y="962"/>
                        <a:pt x="48" y="953"/>
                        <a:pt x="72" y="943"/>
                      </a:cubicBezTo>
                      <a:cubicBezTo>
                        <a:pt x="72" y="943"/>
                        <a:pt x="72" y="943"/>
                        <a:pt x="72" y="943"/>
                      </a:cubicBezTo>
                      <a:moveTo>
                        <a:pt x="1088" y="0"/>
                      </a:moveTo>
                      <a:cubicBezTo>
                        <a:pt x="1001" y="170"/>
                        <a:pt x="879" y="341"/>
                        <a:pt x="724" y="498"/>
                      </a:cubicBezTo>
                      <a:cubicBezTo>
                        <a:pt x="879" y="341"/>
                        <a:pt x="1001" y="170"/>
                        <a:pt x="1088" y="0"/>
                      </a:cubicBezTo>
                      <a:cubicBezTo>
                        <a:pt x="1088" y="0"/>
                        <a:pt x="1088" y="0"/>
                        <a:pt x="1088"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4" name="Freeform 42"/>
                <p:cNvSpPr/>
                <p:nvPr/>
              </p:nvSpPr>
              <p:spPr bwMode="auto">
                <a:xfrm>
                  <a:off x="5241925" y="2493963"/>
                  <a:ext cx="317500" cy="171450"/>
                </a:xfrm>
                <a:custGeom>
                  <a:avLst/>
                  <a:gdLst/>
                  <a:ahLst/>
                  <a:cxnLst>
                    <a:cxn ang="0">
                      <a:pos x="344" y="0"/>
                    </a:cxn>
                    <a:cxn ang="0">
                      <a:pos x="0" y="186"/>
                    </a:cxn>
                    <a:cxn ang="0">
                      <a:pos x="0" y="186"/>
                    </a:cxn>
                    <a:cxn ang="0">
                      <a:pos x="344" y="0"/>
                    </a:cxn>
                  </a:cxnLst>
                  <a:rect l="0" t="0" r="r" b="b"/>
                  <a:pathLst>
                    <a:path w="344" h="186">
                      <a:moveTo>
                        <a:pt x="344" y="0"/>
                      </a:moveTo>
                      <a:cubicBezTo>
                        <a:pt x="230" y="79"/>
                        <a:pt x="114" y="141"/>
                        <a:pt x="0" y="186"/>
                      </a:cubicBezTo>
                      <a:cubicBezTo>
                        <a:pt x="0" y="186"/>
                        <a:pt x="0" y="186"/>
                        <a:pt x="0" y="186"/>
                      </a:cubicBezTo>
                      <a:cubicBezTo>
                        <a:pt x="114" y="141"/>
                        <a:pt x="230" y="79"/>
                        <a:pt x="344" y="0"/>
                      </a:cubicBezTo>
                    </a:path>
                  </a:pathLst>
                </a:custGeom>
                <a:solidFill>
                  <a:srgbClr val="26456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85" name="Freeform 14"/>
                <p:cNvSpPr/>
                <p:nvPr/>
              </p:nvSpPr>
              <p:spPr bwMode="auto">
                <a:xfrm>
                  <a:off x="5788023" y="1203327"/>
                  <a:ext cx="541338" cy="539750"/>
                </a:xfrm>
                <a:custGeom>
                  <a:avLst/>
                  <a:gdLst/>
                  <a:ahLst/>
                  <a:cxnLst>
                    <a:cxn ang="0">
                      <a:pos x="0" y="142"/>
                    </a:cxn>
                    <a:cxn ang="0">
                      <a:pos x="233" y="357"/>
                    </a:cxn>
                    <a:cxn ang="0">
                      <a:pos x="452" y="587"/>
                    </a:cxn>
                    <a:cxn ang="0">
                      <a:pos x="573" y="12"/>
                    </a:cxn>
                    <a:cxn ang="0">
                      <a:pos x="0" y="142"/>
                    </a:cxn>
                  </a:cxnLst>
                  <a:rect l="0" t="0" r="r" b="b"/>
                  <a:pathLst>
                    <a:path w="588" h="587">
                      <a:moveTo>
                        <a:pt x="0" y="142"/>
                      </a:moveTo>
                      <a:cubicBezTo>
                        <a:pt x="79" y="210"/>
                        <a:pt x="157" y="281"/>
                        <a:pt x="233" y="357"/>
                      </a:cubicBezTo>
                      <a:cubicBezTo>
                        <a:pt x="310" y="433"/>
                        <a:pt x="383" y="510"/>
                        <a:pt x="452" y="587"/>
                      </a:cubicBezTo>
                      <a:cubicBezTo>
                        <a:pt x="546" y="384"/>
                        <a:pt x="588" y="184"/>
                        <a:pt x="573" y="12"/>
                      </a:cubicBezTo>
                      <a:cubicBezTo>
                        <a:pt x="401" y="0"/>
                        <a:pt x="202" y="45"/>
                        <a:pt x="0" y="14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grpSp>
          <p:nvGrpSpPr>
            <p:cNvPr id="18" name="Group 605"/>
            <p:cNvGrpSpPr/>
            <p:nvPr/>
          </p:nvGrpSpPr>
          <p:grpSpPr>
            <a:xfrm>
              <a:off x="7456057" y="2515711"/>
              <a:ext cx="1496171" cy="1630379"/>
              <a:chOff x="654280" y="1047000"/>
              <a:chExt cx="3037332" cy="3309787"/>
            </a:xfrm>
          </p:grpSpPr>
          <p:grpSp>
            <p:nvGrpSpPr>
              <p:cNvPr id="22" name="Group 606"/>
              <p:cNvGrpSpPr/>
              <p:nvPr/>
            </p:nvGrpSpPr>
            <p:grpSpPr>
              <a:xfrm>
                <a:off x="654280" y="2079826"/>
                <a:ext cx="3024555" cy="2276961"/>
                <a:chOff x="604505" y="1981058"/>
                <a:chExt cx="3153719" cy="2374200"/>
              </a:xfrm>
            </p:grpSpPr>
            <p:grpSp>
              <p:nvGrpSpPr>
                <p:cNvPr id="43" name="Group 628"/>
                <p:cNvGrpSpPr/>
                <p:nvPr/>
              </p:nvGrpSpPr>
              <p:grpSpPr>
                <a:xfrm rot="15155533" flipH="1">
                  <a:off x="773232" y="1812331"/>
                  <a:ext cx="2374200" cy="2711653"/>
                  <a:chOff x="6326188" y="1654175"/>
                  <a:chExt cx="2410644" cy="3082384"/>
                </a:xfrm>
                <a:solidFill>
                  <a:schemeClr val="bg2">
                    <a:lumMod val="75000"/>
                  </a:schemeClr>
                </a:solidFill>
              </p:grpSpPr>
              <p:sp>
                <p:nvSpPr>
                  <p:cNvPr id="125"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6"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7"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8"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9"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0"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1"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2"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3"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4"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5"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6"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7"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8"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39"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0"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1"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2"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3"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4"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5"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6"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7"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8"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49"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0"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1" name="Freeform 155"/>
                  <p:cNvSpPr/>
                  <p:nvPr/>
                </p:nvSpPr>
                <p:spPr bwMode="auto">
                  <a:xfrm>
                    <a:off x="6471470" y="1748884"/>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2"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3"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4"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5"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6"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7"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8"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59"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0"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1"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2"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3"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64"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44" name="Group 629"/>
                <p:cNvGrpSpPr/>
                <p:nvPr/>
              </p:nvGrpSpPr>
              <p:grpSpPr>
                <a:xfrm rot="15155533" flipH="1">
                  <a:off x="1114059" y="1803071"/>
                  <a:ext cx="2159193" cy="2610180"/>
                  <a:chOff x="6326188" y="1654175"/>
                  <a:chExt cx="2192337" cy="2967038"/>
                </a:xfrm>
                <a:solidFill>
                  <a:schemeClr val="bg2">
                    <a:lumMod val="75000"/>
                  </a:schemeClr>
                </a:solidFill>
              </p:grpSpPr>
              <p:sp>
                <p:nvSpPr>
                  <p:cNvPr id="86"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7"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8"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9"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0"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1"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2"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3"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4"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5"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6"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7"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8"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99"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0"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1"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2"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3"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4"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5"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6"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7"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8"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09"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0"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1"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2"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3"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4"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5"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6"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7"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8"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19"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0"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1"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2"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3"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124"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nvGrpSpPr>
                <p:cNvPr id="45" name="Group 630"/>
                <p:cNvGrpSpPr/>
                <p:nvPr/>
              </p:nvGrpSpPr>
              <p:grpSpPr>
                <a:xfrm rot="15155533" flipH="1">
                  <a:off x="1264410" y="1845476"/>
                  <a:ext cx="2259435" cy="2728193"/>
                  <a:chOff x="6224407" y="1520027"/>
                  <a:chExt cx="2294118" cy="3101186"/>
                </a:xfrm>
                <a:solidFill>
                  <a:schemeClr val="bg2">
                    <a:lumMod val="75000"/>
                  </a:schemeClr>
                </a:solidFill>
              </p:grpSpPr>
              <p:sp>
                <p:nvSpPr>
                  <p:cNvPr id="46" name="Freeform 129"/>
                  <p:cNvSpPr/>
                  <p:nvPr/>
                </p:nvSpPr>
                <p:spPr bwMode="auto">
                  <a:xfrm>
                    <a:off x="8027988" y="1720850"/>
                    <a:ext cx="3175" cy="1588"/>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7" name="Freeform 130"/>
                  <p:cNvSpPr/>
                  <p:nvPr/>
                </p:nvSpPr>
                <p:spPr bwMode="auto">
                  <a:xfrm>
                    <a:off x="7724775" y="1841500"/>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0"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8" name="Freeform 131"/>
                  <p:cNvSpPr/>
                  <p:nvPr/>
                </p:nvSpPr>
                <p:spPr bwMode="auto">
                  <a:xfrm>
                    <a:off x="8218488" y="1671638"/>
                    <a:ext cx="12700" cy="1588"/>
                  </a:xfrm>
                  <a:custGeom>
                    <a:avLst/>
                    <a:gdLst/>
                    <a:ahLst/>
                    <a:cxnLst>
                      <a:cxn ang="0">
                        <a:pos x="0" y="1"/>
                      </a:cxn>
                      <a:cxn ang="0">
                        <a:pos x="0" y="1"/>
                      </a:cxn>
                      <a:cxn ang="0">
                        <a:pos x="5" y="0"/>
                      </a:cxn>
                      <a:cxn ang="0">
                        <a:pos x="0" y="1"/>
                      </a:cxn>
                    </a:cxnLst>
                    <a:rect l="0" t="0" r="r" b="b"/>
                    <a:pathLst>
                      <a:path w="5" h="1">
                        <a:moveTo>
                          <a:pt x="0" y="1"/>
                        </a:moveTo>
                        <a:cubicBezTo>
                          <a:pt x="0" y="1"/>
                          <a:pt x="0" y="1"/>
                          <a:pt x="0" y="1"/>
                        </a:cubicBezTo>
                        <a:cubicBezTo>
                          <a:pt x="5" y="0"/>
                          <a:pt x="5" y="0"/>
                          <a:pt x="5" y="0"/>
                        </a:cubicBezTo>
                        <a:lnTo>
                          <a:pt x="0" y="1"/>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9" name="Freeform 132"/>
                  <p:cNvSpPr/>
                  <p:nvPr/>
                </p:nvSpPr>
                <p:spPr bwMode="auto">
                  <a:xfrm>
                    <a:off x="7169150" y="2263775"/>
                    <a:ext cx="3175" cy="3175"/>
                  </a:xfrm>
                  <a:custGeom>
                    <a:avLst/>
                    <a:gdLst/>
                    <a:ahLst/>
                    <a:cxnLst>
                      <a:cxn ang="0">
                        <a:pos x="0" y="1"/>
                      </a:cxn>
                      <a:cxn ang="0">
                        <a:pos x="1" y="0"/>
                      </a:cxn>
                      <a:cxn ang="0">
                        <a:pos x="0" y="1"/>
                      </a:cxn>
                    </a:cxnLst>
                    <a:rect l="0" t="0" r="r" b="b"/>
                    <a:pathLst>
                      <a:path w="1" h="1">
                        <a:moveTo>
                          <a:pt x="0" y="1"/>
                        </a:moveTo>
                        <a:cubicBezTo>
                          <a:pt x="1" y="0"/>
                          <a:pt x="1" y="0"/>
                          <a:pt x="1" y="0"/>
                        </a:cubicBezTo>
                        <a:cubicBezTo>
                          <a:pt x="1" y="1"/>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0" name="Freeform 133"/>
                  <p:cNvSpPr/>
                  <p:nvPr/>
                </p:nvSpPr>
                <p:spPr bwMode="auto">
                  <a:xfrm>
                    <a:off x="7480300" y="1995488"/>
                    <a:ext cx="4762" cy="4763"/>
                  </a:xfrm>
                  <a:custGeom>
                    <a:avLst/>
                    <a:gdLst/>
                    <a:ahLst/>
                    <a:cxnLst>
                      <a:cxn ang="0">
                        <a:pos x="2" y="0"/>
                      </a:cxn>
                      <a:cxn ang="0">
                        <a:pos x="0" y="2"/>
                      </a:cxn>
                      <a:cxn ang="0">
                        <a:pos x="2" y="0"/>
                      </a:cxn>
                    </a:cxnLst>
                    <a:rect l="0" t="0" r="r" b="b"/>
                    <a:pathLst>
                      <a:path w="2" h="2">
                        <a:moveTo>
                          <a:pt x="2" y="0"/>
                        </a:moveTo>
                        <a:cubicBezTo>
                          <a:pt x="1" y="0"/>
                          <a:pt x="1" y="1"/>
                          <a:pt x="0" y="2"/>
                        </a:cubicBezTo>
                        <a:cubicBezTo>
                          <a:pt x="1" y="1"/>
                          <a:pt x="2" y="0"/>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1" name="Freeform 134"/>
                  <p:cNvSpPr/>
                  <p:nvPr/>
                </p:nvSpPr>
                <p:spPr bwMode="auto">
                  <a:xfrm>
                    <a:off x="8318500" y="1681163"/>
                    <a:ext cx="7937" cy="1588"/>
                  </a:xfrm>
                  <a:custGeom>
                    <a:avLst/>
                    <a:gdLst/>
                    <a:ahLst/>
                    <a:cxnLst>
                      <a:cxn ang="0">
                        <a:pos x="3" y="0"/>
                      </a:cxn>
                      <a:cxn ang="0">
                        <a:pos x="0" y="0"/>
                      </a:cxn>
                      <a:cxn ang="0">
                        <a:pos x="3" y="0"/>
                      </a:cxn>
                    </a:cxnLst>
                    <a:rect l="0" t="0" r="r" b="b"/>
                    <a:pathLst>
                      <a:path w="3">
                        <a:moveTo>
                          <a:pt x="3" y="0"/>
                        </a:moveTo>
                        <a:cubicBezTo>
                          <a:pt x="0" y="0"/>
                          <a:pt x="0" y="0"/>
                          <a:pt x="0" y="0"/>
                        </a:cubicBezTo>
                        <a:cubicBezTo>
                          <a:pt x="0" y="0"/>
                          <a:pt x="1"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2" name="Freeform 135"/>
                  <p:cNvSpPr/>
                  <p:nvPr/>
                </p:nvSpPr>
                <p:spPr bwMode="auto">
                  <a:xfrm>
                    <a:off x="8516938" y="1655763"/>
                    <a:ext cx="1587" cy="1588"/>
                  </a:xfrm>
                  <a:custGeom>
                    <a:avLst/>
                    <a:gdLst/>
                    <a:ahLst/>
                    <a:cxnLst>
                      <a:cxn ang="0">
                        <a:pos x="1" y="0"/>
                      </a:cxn>
                      <a:cxn ang="0">
                        <a:pos x="1" y="0"/>
                      </a:cxn>
                      <a:cxn ang="0">
                        <a:pos x="1" y="0"/>
                      </a:cxn>
                    </a:cxnLst>
                    <a:rect l="0" t="0" r="r" b="b"/>
                    <a:pathLst>
                      <a:path w="1">
                        <a:moveTo>
                          <a:pt x="1" y="0"/>
                        </a:moveTo>
                        <a:cubicBezTo>
                          <a:pt x="1" y="0"/>
                          <a:pt x="1" y="0"/>
                          <a:pt x="1"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3" name="Freeform 136"/>
                  <p:cNvSpPr/>
                  <p:nvPr/>
                </p:nvSpPr>
                <p:spPr bwMode="auto">
                  <a:xfrm>
                    <a:off x="8434388" y="1654175"/>
                    <a:ext cx="7937" cy="1588"/>
                  </a:xfrm>
                  <a:custGeom>
                    <a:avLst/>
                    <a:gdLst/>
                    <a:ahLst/>
                    <a:cxnLst>
                      <a:cxn ang="0">
                        <a:pos x="3" y="0"/>
                      </a:cxn>
                      <a:cxn ang="0">
                        <a:pos x="0" y="0"/>
                      </a:cxn>
                      <a:cxn ang="0">
                        <a:pos x="3" y="0"/>
                      </a:cxn>
                    </a:cxnLst>
                    <a:rect l="0" t="0" r="r" b="b"/>
                    <a:pathLst>
                      <a:path w="3">
                        <a:moveTo>
                          <a:pt x="3" y="0"/>
                        </a:moveTo>
                        <a:cubicBezTo>
                          <a:pt x="2" y="0"/>
                          <a:pt x="1" y="0"/>
                          <a:pt x="0" y="0"/>
                        </a:cubicBezTo>
                        <a:cubicBezTo>
                          <a:pt x="1" y="0"/>
                          <a:pt x="3" y="0"/>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4" name="Freeform 137"/>
                  <p:cNvSpPr/>
                  <p:nvPr/>
                </p:nvSpPr>
                <p:spPr bwMode="auto">
                  <a:xfrm>
                    <a:off x="8432800" y="1654175"/>
                    <a:ext cx="1587" cy="1588"/>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5" name="Freeform 138"/>
                  <p:cNvSpPr/>
                  <p:nvPr/>
                </p:nvSpPr>
                <p:spPr bwMode="auto">
                  <a:xfrm>
                    <a:off x="6326188" y="4597400"/>
                    <a:ext cx="3175" cy="17463"/>
                  </a:xfrm>
                  <a:custGeom>
                    <a:avLst/>
                    <a:gdLst/>
                    <a:ahLst/>
                    <a:cxnLst>
                      <a:cxn ang="0">
                        <a:pos x="0" y="0"/>
                      </a:cxn>
                      <a:cxn ang="0">
                        <a:pos x="1" y="7"/>
                      </a:cxn>
                      <a:cxn ang="0">
                        <a:pos x="0" y="0"/>
                      </a:cxn>
                    </a:cxnLst>
                    <a:rect l="0" t="0" r="r" b="b"/>
                    <a:pathLst>
                      <a:path w="1" h="7">
                        <a:moveTo>
                          <a:pt x="0" y="0"/>
                        </a:moveTo>
                        <a:cubicBezTo>
                          <a:pt x="0" y="3"/>
                          <a:pt x="0" y="5"/>
                          <a:pt x="1" y="7"/>
                        </a:cubicBezTo>
                        <a:lnTo>
                          <a:pt x="0"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6" name="Freeform 139"/>
                  <p:cNvSpPr/>
                  <p:nvPr/>
                </p:nvSpPr>
                <p:spPr bwMode="auto">
                  <a:xfrm>
                    <a:off x="6789738" y="2773363"/>
                    <a:ext cx="3175" cy="1588"/>
                  </a:xfrm>
                  <a:custGeom>
                    <a:avLst/>
                    <a:gdLst/>
                    <a:ahLst/>
                    <a:cxnLst>
                      <a:cxn ang="0">
                        <a:pos x="1" y="1"/>
                      </a:cxn>
                      <a:cxn ang="0">
                        <a:pos x="1" y="0"/>
                      </a:cxn>
                      <a:cxn ang="0">
                        <a:pos x="1" y="1"/>
                      </a:cxn>
                    </a:cxnLst>
                    <a:rect l="0" t="0" r="r" b="b"/>
                    <a:pathLst>
                      <a:path w="1" h="1">
                        <a:moveTo>
                          <a:pt x="1" y="1"/>
                        </a:moveTo>
                        <a:cubicBezTo>
                          <a:pt x="1" y="0"/>
                          <a:pt x="1" y="0"/>
                          <a:pt x="1" y="0"/>
                        </a:cubicBezTo>
                        <a:cubicBezTo>
                          <a:pt x="0" y="1"/>
                          <a:pt x="0" y="1"/>
                          <a:pt x="1"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7" name="Freeform 140"/>
                  <p:cNvSpPr/>
                  <p:nvPr/>
                </p:nvSpPr>
                <p:spPr bwMode="auto">
                  <a:xfrm>
                    <a:off x="6342063" y="4603750"/>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8" name="Freeform 141"/>
                  <p:cNvSpPr/>
                  <p:nvPr/>
                </p:nvSpPr>
                <p:spPr bwMode="auto">
                  <a:xfrm>
                    <a:off x="8207375" y="1704975"/>
                    <a:ext cx="17462" cy="6350"/>
                  </a:xfrm>
                  <a:custGeom>
                    <a:avLst/>
                    <a:gdLst/>
                    <a:ahLst/>
                    <a:cxnLst>
                      <a:cxn ang="0">
                        <a:pos x="7" y="0"/>
                      </a:cxn>
                      <a:cxn ang="0">
                        <a:pos x="0" y="2"/>
                      </a:cxn>
                      <a:cxn ang="0">
                        <a:pos x="7" y="0"/>
                      </a:cxn>
                    </a:cxnLst>
                    <a:rect l="0" t="0" r="r" b="b"/>
                    <a:pathLst>
                      <a:path w="7" h="2">
                        <a:moveTo>
                          <a:pt x="7" y="0"/>
                        </a:moveTo>
                        <a:cubicBezTo>
                          <a:pt x="5" y="1"/>
                          <a:pt x="0" y="1"/>
                          <a:pt x="0" y="2"/>
                        </a:cubicBezTo>
                        <a:cubicBezTo>
                          <a:pt x="3" y="1"/>
                          <a:pt x="6" y="1"/>
                          <a:pt x="7"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59" name="Freeform 142"/>
                  <p:cNvSpPr/>
                  <p:nvPr/>
                </p:nvSpPr>
                <p:spPr bwMode="auto">
                  <a:xfrm>
                    <a:off x="6788150" y="2924175"/>
                    <a:ext cx="1587" cy="4763"/>
                  </a:xfrm>
                  <a:custGeom>
                    <a:avLst/>
                    <a:gdLst/>
                    <a:ahLst/>
                    <a:cxnLst>
                      <a:cxn ang="0">
                        <a:pos x="0" y="0"/>
                      </a:cxn>
                      <a:cxn ang="0">
                        <a:pos x="0" y="2"/>
                      </a:cxn>
                      <a:cxn ang="0">
                        <a:pos x="0" y="0"/>
                      </a:cxn>
                    </a:cxnLst>
                    <a:rect l="0" t="0" r="r" b="b"/>
                    <a:pathLst>
                      <a:path h="2">
                        <a:moveTo>
                          <a:pt x="0" y="0"/>
                        </a:moveTo>
                        <a:cubicBezTo>
                          <a:pt x="0" y="2"/>
                          <a:pt x="0" y="2"/>
                          <a:pt x="0" y="2"/>
                        </a:cubicBezTo>
                        <a:cubicBezTo>
                          <a:pt x="0" y="1"/>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0" name="Freeform 143"/>
                  <p:cNvSpPr/>
                  <p:nvPr/>
                </p:nvSpPr>
                <p:spPr bwMode="auto">
                  <a:xfrm>
                    <a:off x="6342063" y="4602163"/>
                    <a:ext cx="1587" cy="1588"/>
                  </a:xfrm>
                  <a:custGeom>
                    <a:avLst/>
                    <a:gdLst/>
                    <a:ahLst/>
                    <a:cxnLst>
                      <a:cxn ang="0">
                        <a:pos x="0" y="1"/>
                      </a:cxn>
                      <a:cxn ang="0">
                        <a:pos x="0" y="0"/>
                      </a:cxn>
                      <a:cxn ang="0">
                        <a:pos x="0" y="0"/>
                      </a:cxn>
                      <a:cxn ang="0">
                        <a:pos x="0" y="1"/>
                      </a:cxn>
                    </a:cxnLst>
                    <a:rect l="0" t="0" r="r" b="b"/>
                    <a:pathLst>
                      <a:path h="1">
                        <a:moveTo>
                          <a:pt x="0" y="1"/>
                        </a:moveTo>
                        <a:cubicBezTo>
                          <a:pt x="0" y="0"/>
                          <a:pt x="0" y="0"/>
                          <a:pt x="0" y="0"/>
                        </a:cubicBez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1" name="Rectangle 144"/>
                  <p:cNvSpPr>
                    <a:spLocks noChangeArrowheads="1"/>
                  </p:cNvSpPr>
                  <p:nvPr/>
                </p:nvSpPr>
                <p:spPr bwMode="auto">
                  <a:xfrm>
                    <a:off x="6518275" y="3373438"/>
                    <a:ext cx="1587" cy="1588"/>
                  </a:xfrm>
                  <a:prstGeom prst="rect">
                    <a:avLst/>
                  </a:prstGeom>
                  <a:grpFill/>
                  <a:ln w="9525">
                    <a:noFill/>
                    <a:miter lim="800000"/>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2" name="Freeform 145"/>
                  <p:cNvSpPr/>
                  <p:nvPr/>
                </p:nvSpPr>
                <p:spPr bwMode="auto">
                  <a:xfrm>
                    <a:off x="6505575" y="3398838"/>
                    <a:ext cx="1587" cy="6350"/>
                  </a:xfrm>
                  <a:custGeom>
                    <a:avLst/>
                    <a:gdLst/>
                    <a:ahLst/>
                    <a:cxnLst>
                      <a:cxn ang="0">
                        <a:pos x="0" y="3"/>
                      </a:cxn>
                      <a:cxn ang="0">
                        <a:pos x="0" y="0"/>
                      </a:cxn>
                      <a:cxn ang="0">
                        <a:pos x="0" y="3"/>
                      </a:cxn>
                    </a:cxnLst>
                    <a:rect l="0" t="0" r="r" b="b"/>
                    <a:pathLst>
                      <a:path h="3">
                        <a:moveTo>
                          <a:pt x="0" y="3"/>
                        </a:moveTo>
                        <a:cubicBezTo>
                          <a:pt x="0" y="0"/>
                          <a:pt x="0" y="0"/>
                          <a:pt x="0" y="0"/>
                        </a:cubicBezTo>
                        <a:cubicBezTo>
                          <a:pt x="0" y="2"/>
                          <a:pt x="0" y="3"/>
                          <a:pt x="0" y="3"/>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3" name="Freeform 146"/>
                  <p:cNvSpPr/>
                  <p:nvPr/>
                </p:nvSpPr>
                <p:spPr bwMode="auto">
                  <a:xfrm>
                    <a:off x="6329363" y="4614863"/>
                    <a:ext cx="1587" cy="6350"/>
                  </a:xfrm>
                  <a:custGeom>
                    <a:avLst/>
                    <a:gdLst/>
                    <a:ahLst/>
                    <a:cxnLst>
                      <a:cxn ang="0">
                        <a:pos x="0" y="0"/>
                      </a:cxn>
                      <a:cxn ang="0">
                        <a:pos x="0" y="3"/>
                      </a:cxn>
                      <a:cxn ang="0">
                        <a:pos x="0" y="0"/>
                      </a:cxn>
                    </a:cxnLst>
                    <a:rect l="0" t="0" r="r" b="b"/>
                    <a:pathLst>
                      <a:path h="3">
                        <a:moveTo>
                          <a:pt x="0" y="0"/>
                        </a:moveTo>
                        <a:cubicBezTo>
                          <a:pt x="0" y="3"/>
                          <a:pt x="0" y="3"/>
                          <a:pt x="0" y="3"/>
                        </a:cubicBezTo>
                        <a:cubicBezTo>
                          <a:pt x="0" y="2"/>
                          <a:pt x="0" y="1"/>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4" name="Freeform 147"/>
                  <p:cNvSpPr/>
                  <p:nvPr/>
                </p:nvSpPr>
                <p:spPr bwMode="auto">
                  <a:xfrm>
                    <a:off x="6405563" y="3765550"/>
                    <a:ext cx="3175" cy="4763"/>
                  </a:xfrm>
                  <a:custGeom>
                    <a:avLst/>
                    <a:gdLst/>
                    <a:ahLst/>
                    <a:cxnLst>
                      <a:cxn ang="0">
                        <a:pos x="0" y="2"/>
                      </a:cxn>
                      <a:cxn ang="0">
                        <a:pos x="1" y="0"/>
                      </a:cxn>
                      <a:cxn ang="0">
                        <a:pos x="0" y="2"/>
                      </a:cxn>
                    </a:cxnLst>
                    <a:rect l="0" t="0" r="r" b="b"/>
                    <a:pathLst>
                      <a:path w="1" h="2">
                        <a:moveTo>
                          <a:pt x="0" y="2"/>
                        </a:moveTo>
                        <a:cubicBezTo>
                          <a:pt x="1" y="0"/>
                          <a:pt x="1" y="0"/>
                          <a:pt x="1" y="0"/>
                        </a:cubicBezTo>
                        <a:cubicBezTo>
                          <a:pt x="0" y="1"/>
                          <a:pt x="0" y="2"/>
                          <a:pt x="0"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5" name="Freeform 148"/>
                  <p:cNvSpPr/>
                  <p:nvPr/>
                </p:nvSpPr>
                <p:spPr bwMode="auto">
                  <a:xfrm>
                    <a:off x="7507288" y="1978025"/>
                    <a:ext cx="3175" cy="3175"/>
                  </a:xfrm>
                  <a:custGeom>
                    <a:avLst/>
                    <a:gdLst/>
                    <a:ahLst/>
                    <a:cxnLst>
                      <a:cxn ang="0">
                        <a:pos x="0" y="1"/>
                      </a:cxn>
                      <a:cxn ang="0">
                        <a:pos x="1" y="0"/>
                      </a:cxn>
                      <a:cxn ang="0">
                        <a:pos x="0" y="1"/>
                      </a:cxn>
                    </a:cxnLst>
                    <a:rect l="0" t="0" r="r" b="b"/>
                    <a:pathLst>
                      <a:path w="1" h="1">
                        <a:moveTo>
                          <a:pt x="0" y="1"/>
                        </a:moveTo>
                        <a:cubicBezTo>
                          <a:pt x="0" y="1"/>
                          <a:pt x="0" y="1"/>
                          <a:pt x="1" y="0"/>
                        </a:cubicBezTo>
                        <a:cubicBezTo>
                          <a:pt x="1" y="0"/>
                          <a:pt x="1" y="0"/>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6" name="Freeform 149"/>
                  <p:cNvSpPr/>
                  <p:nvPr/>
                </p:nvSpPr>
                <p:spPr bwMode="auto">
                  <a:xfrm>
                    <a:off x="7335838" y="2182813"/>
                    <a:ext cx="3175" cy="1588"/>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7" name="Freeform 150"/>
                  <p:cNvSpPr/>
                  <p:nvPr/>
                </p:nvSpPr>
                <p:spPr bwMode="auto">
                  <a:xfrm>
                    <a:off x="7339013" y="2171700"/>
                    <a:ext cx="6350" cy="11113"/>
                  </a:xfrm>
                  <a:custGeom>
                    <a:avLst/>
                    <a:gdLst/>
                    <a:ahLst/>
                    <a:cxnLst>
                      <a:cxn ang="0">
                        <a:pos x="3" y="0"/>
                      </a:cxn>
                      <a:cxn ang="0">
                        <a:pos x="0" y="4"/>
                      </a:cxn>
                      <a:cxn ang="0">
                        <a:pos x="3" y="0"/>
                      </a:cxn>
                    </a:cxnLst>
                    <a:rect l="0" t="0" r="r" b="b"/>
                    <a:pathLst>
                      <a:path w="3" h="4">
                        <a:moveTo>
                          <a:pt x="3" y="0"/>
                        </a:moveTo>
                        <a:cubicBezTo>
                          <a:pt x="2" y="1"/>
                          <a:pt x="0" y="3"/>
                          <a:pt x="0" y="4"/>
                        </a:cubicBezTo>
                        <a:cubicBezTo>
                          <a:pt x="1" y="3"/>
                          <a:pt x="2" y="2"/>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8" name="Freeform 151"/>
                  <p:cNvSpPr/>
                  <p:nvPr/>
                </p:nvSpPr>
                <p:spPr bwMode="auto">
                  <a:xfrm>
                    <a:off x="7316788" y="2200275"/>
                    <a:ext cx="1587" cy="1588"/>
                  </a:xfrm>
                  <a:custGeom>
                    <a:avLst/>
                    <a:gdLst/>
                    <a:ahLst/>
                    <a:cxnLst>
                      <a:cxn ang="0">
                        <a:pos x="0" y="1"/>
                      </a:cxn>
                      <a:cxn ang="0">
                        <a:pos x="0" y="0"/>
                      </a:cxn>
                      <a:cxn ang="0">
                        <a:pos x="0" y="1"/>
                      </a:cxn>
                    </a:cxnLst>
                    <a:rect l="0" t="0" r="r" b="b"/>
                    <a:pathLst>
                      <a:path h="1">
                        <a:moveTo>
                          <a:pt x="0" y="1"/>
                        </a:moveTo>
                        <a:cubicBezTo>
                          <a:pt x="0" y="0"/>
                          <a:pt x="0" y="0"/>
                          <a:pt x="0" y="0"/>
                        </a:cubicBezTo>
                        <a:cubicBezTo>
                          <a:pt x="0" y="0"/>
                          <a:pt x="0" y="1"/>
                          <a:pt x="0" y="1"/>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69" name="Freeform 152"/>
                  <p:cNvSpPr/>
                  <p:nvPr/>
                </p:nvSpPr>
                <p:spPr bwMode="auto">
                  <a:xfrm>
                    <a:off x="7526338" y="202882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0" name="Freeform 153"/>
                  <p:cNvSpPr/>
                  <p:nvPr/>
                </p:nvSpPr>
                <p:spPr bwMode="auto">
                  <a:xfrm>
                    <a:off x="7481888" y="2063750"/>
                    <a:ext cx="3175" cy="1588"/>
                  </a:xfrm>
                  <a:custGeom>
                    <a:avLst/>
                    <a:gdLst/>
                    <a:ahLst/>
                    <a:cxnLst>
                      <a:cxn ang="0">
                        <a:pos x="1" y="0"/>
                      </a:cxn>
                      <a:cxn ang="0">
                        <a:pos x="0" y="0"/>
                      </a:cxn>
                      <a:cxn ang="0">
                        <a:pos x="1" y="0"/>
                      </a:cxn>
                    </a:cxnLst>
                    <a:rect l="0" t="0" r="r" b="b"/>
                    <a:pathLst>
                      <a:path w="1">
                        <a:moveTo>
                          <a:pt x="1" y="0"/>
                        </a:moveTo>
                        <a:cubicBezTo>
                          <a:pt x="1" y="0"/>
                          <a:pt x="0" y="0"/>
                          <a:pt x="0" y="0"/>
                        </a:cubicBezTo>
                        <a:cubicBezTo>
                          <a:pt x="0"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1" name="Freeform 154"/>
                  <p:cNvSpPr/>
                  <p:nvPr/>
                </p:nvSpPr>
                <p:spPr bwMode="auto">
                  <a:xfrm>
                    <a:off x="7221538" y="23018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2" name="Freeform 155"/>
                  <p:cNvSpPr/>
                  <p:nvPr/>
                </p:nvSpPr>
                <p:spPr bwMode="auto">
                  <a:xfrm>
                    <a:off x="6224407" y="1520027"/>
                    <a:ext cx="2265362" cy="2987675"/>
                  </a:xfrm>
                  <a:custGeom>
                    <a:avLst/>
                    <a:gdLst/>
                    <a:ahLst/>
                    <a:cxnLst>
                      <a:cxn ang="0">
                        <a:pos x="295" y="351"/>
                      </a:cxn>
                      <a:cxn ang="0">
                        <a:pos x="339" y="296"/>
                      </a:cxn>
                      <a:cxn ang="0">
                        <a:pos x="362" y="265"/>
                      </a:cxn>
                      <a:cxn ang="0">
                        <a:pos x="377" y="249"/>
                      </a:cxn>
                      <a:cxn ang="0">
                        <a:pos x="403" y="224"/>
                      </a:cxn>
                      <a:cxn ang="0">
                        <a:pos x="411" y="216"/>
                      </a:cxn>
                      <a:cxn ang="0">
                        <a:pos x="427" y="202"/>
                      </a:cxn>
                      <a:cxn ang="0">
                        <a:pos x="458" y="180"/>
                      </a:cxn>
                      <a:cxn ang="0">
                        <a:pos x="477" y="162"/>
                      </a:cxn>
                      <a:cxn ang="0">
                        <a:pos x="512" y="134"/>
                      </a:cxn>
                      <a:cxn ang="0">
                        <a:pos x="530" y="124"/>
                      </a:cxn>
                      <a:cxn ang="0">
                        <a:pos x="558" y="106"/>
                      </a:cxn>
                      <a:cxn ang="0">
                        <a:pos x="583" y="94"/>
                      </a:cxn>
                      <a:cxn ang="0">
                        <a:pos x="620" y="71"/>
                      </a:cxn>
                      <a:cxn ang="0">
                        <a:pos x="662" y="54"/>
                      </a:cxn>
                      <a:cxn ang="0">
                        <a:pos x="704" y="40"/>
                      </a:cxn>
                      <a:cxn ang="0">
                        <a:pos x="735" y="30"/>
                      </a:cxn>
                      <a:cxn ang="0">
                        <a:pos x="758" y="25"/>
                      </a:cxn>
                      <a:cxn ang="0">
                        <a:pos x="759" y="26"/>
                      </a:cxn>
                      <a:cxn ang="0">
                        <a:pos x="785" y="19"/>
                      </a:cxn>
                      <a:cxn ang="0">
                        <a:pos x="800" y="15"/>
                      </a:cxn>
                      <a:cxn ang="0">
                        <a:pos x="820" y="12"/>
                      </a:cxn>
                      <a:cxn ang="0">
                        <a:pos x="870" y="10"/>
                      </a:cxn>
                      <a:cxn ang="0">
                        <a:pos x="906" y="8"/>
                      </a:cxn>
                      <a:cxn ang="0">
                        <a:pos x="880" y="2"/>
                      </a:cxn>
                      <a:cxn ang="0">
                        <a:pos x="860" y="3"/>
                      </a:cxn>
                      <a:cxn ang="0">
                        <a:pos x="836" y="3"/>
                      </a:cxn>
                      <a:cxn ang="0">
                        <a:pos x="793" y="6"/>
                      </a:cxn>
                      <a:cxn ang="0">
                        <a:pos x="772" y="11"/>
                      </a:cxn>
                      <a:cxn ang="0">
                        <a:pos x="753" y="14"/>
                      </a:cxn>
                      <a:cxn ang="0">
                        <a:pos x="685" y="33"/>
                      </a:cxn>
                      <a:cxn ang="0">
                        <a:pos x="652" y="43"/>
                      </a:cxn>
                      <a:cxn ang="0">
                        <a:pos x="635" y="50"/>
                      </a:cxn>
                      <a:cxn ang="0">
                        <a:pos x="605" y="64"/>
                      </a:cxn>
                      <a:cxn ang="0">
                        <a:pos x="569" y="81"/>
                      </a:cxn>
                      <a:cxn ang="0">
                        <a:pos x="547" y="90"/>
                      </a:cxn>
                      <a:cxn ang="0">
                        <a:pos x="500" y="120"/>
                      </a:cxn>
                      <a:cxn ang="0">
                        <a:pos x="454" y="152"/>
                      </a:cxn>
                      <a:cxn ang="0">
                        <a:pos x="418" y="183"/>
                      </a:cxn>
                      <a:cxn ang="0">
                        <a:pos x="399" y="199"/>
                      </a:cxn>
                      <a:cxn ang="0">
                        <a:pos x="372" y="223"/>
                      </a:cxn>
                      <a:cxn ang="0">
                        <a:pos x="333" y="260"/>
                      </a:cxn>
                      <a:cxn ang="0">
                        <a:pos x="303" y="297"/>
                      </a:cxn>
                      <a:cxn ang="0">
                        <a:pos x="252" y="360"/>
                      </a:cxn>
                      <a:cxn ang="0">
                        <a:pos x="200" y="442"/>
                      </a:cxn>
                      <a:cxn ang="0">
                        <a:pos x="184" y="468"/>
                      </a:cxn>
                      <a:cxn ang="0">
                        <a:pos x="168" y="498"/>
                      </a:cxn>
                      <a:cxn ang="0">
                        <a:pos x="143" y="549"/>
                      </a:cxn>
                      <a:cxn ang="0">
                        <a:pos x="99" y="648"/>
                      </a:cxn>
                      <a:cxn ang="0">
                        <a:pos x="68" y="741"/>
                      </a:cxn>
                      <a:cxn ang="0">
                        <a:pos x="38" y="844"/>
                      </a:cxn>
                      <a:cxn ang="0">
                        <a:pos x="0" y="1116"/>
                      </a:cxn>
                      <a:cxn ang="0">
                        <a:pos x="9" y="1197"/>
                      </a:cxn>
                      <a:cxn ang="0">
                        <a:pos x="11" y="1180"/>
                      </a:cxn>
                      <a:cxn ang="0">
                        <a:pos x="15" y="1154"/>
                      </a:cxn>
                      <a:cxn ang="0">
                        <a:pos x="18" y="1114"/>
                      </a:cxn>
                      <a:cxn ang="0">
                        <a:pos x="40" y="988"/>
                      </a:cxn>
                      <a:cxn ang="0">
                        <a:pos x="89" y="767"/>
                      </a:cxn>
                      <a:cxn ang="0">
                        <a:pos x="117" y="681"/>
                      </a:cxn>
                      <a:cxn ang="0">
                        <a:pos x="157" y="582"/>
                      </a:cxn>
                      <a:cxn ang="0">
                        <a:pos x="164" y="564"/>
                      </a:cxn>
                      <a:cxn ang="0">
                        <a:pos x="193" y="510"/>
                      </a:cxn>
                      <a:cxn ang="0">
                        <a:pos x="216" y="471"/>
                      </a:cxn>
                    </a:cxnLst>
                    <a:rect l="0" t="0" r="r" b="b"/>
                    <a:pathLst>
                      <a:path w="913" h="1204">
                        <a:moveTo>
                          <a:pt x="243" y="429"/>
                        </a:moveTo>
                        <a:cubicBezTo>
                          <a:pt x="254" y="411"/>
                          <a:pt x="268" y="388"/>
                          <a:pt x="280" y="372"/>
                        </a:cubicBezTo>
                        <a:cubicBezTo>
                          <a:pt x="282" y="368"/>
                          <a:pt x="286" y="362"/>
                          <a:pt x="289" y="357"/>
                        </a:cubicBezTo>
                        <a:cubicBezTo>
                          <a:pt x="291" y="358"/>
                          <a:pt x="291" y="358"/>
                          <a:pt x="291" y="358"/>
                        </a:cubicBezTo>
                        <a:cubicBezTo>
                          <a:pt x="294" y="353"/>
                          <a:pt x="294" y="353"/>
                          <a:pt x="294" y="353"/>
                        </a:cubicBezTo>
                        <a:cubicBezTo>
                          <a:pt x="296" y="351"/>
                          <a:pt x="292" y="356"/>
                          <a:pt x="295" y="354"/>
                        </a:cubicBezTo>
                        <a:cubicBezTo>
                          <a:pt x="295" y="351"/>
                          <a:pt x="295" y="351"/>
                          <a:pt x="295" y="351"/>
                        </a:cubicBezTo>
                        <a:cubicBezTo>
                          <a:pt x="296" y="351"/>
                          <a:pt x="304" y="341"/>
                          <a:pt x="299" y="349"/>
                        </a:cubicBezTo>
                        <a:cubicBezTo>
                          <a:pt x="304" y="343"/>
                          <a:pt x="308" y="338"/>
                          <a:pt x="313" y="332"/>
                        </a:cubicBezTo>
                        <a:cubicBezTo>
                          <a:pt x="316" y="329"/>
                          <a:pt x="313" y="329"/>
                          <a:pt x="317" y="325"/>
                        </a:cubicBezTo>
                        <a:cubicBezTo>
                          <a:pt x="318" y="325"/>
                          <a:pt x="316" y="327"/>
                          <a:pt x="317" y="327"/>
                        </a:cubicBezTo>
                        <a:cubicBezTo>
                          <a:pt x="328" y="316"/>
                          <a:pt x="325" y="311"/>
                          <a:pt x="335" y="300"/>
                        </a:cubicBezTo>
                        <a:cubicBezTo>
                          <a:pt x="334" y="301"/>
                          <a:pt x="334" y="301"/>
                          <a:pt x="334" y="301"/>
                        </a:cubicBezTo>
                        <a:cubicBezTo>
                          <a:pt x="336" y="299"/>
                          <a:pt x="339" y="296"/>
                          <a:pt x="339" y="296"/>
                        </a:cubicBezTo>
                        <a:cubicBezTo>
                          <a:pt x="336" y="296"/>
                          <a:pt x="338" y="298"/>
                          <a:pt x="334" y="301"/>
                        </a:cubicBezTo>
                        <a:cubicBezTo>
                          <a:pt x="333" y="299"/>
                          <a:pt x="337" y="296"/>
                          <a:pt x="336" y="295"/>
                        </a:cubicBezTo>
                        <a:cubicBezTo>
                          <a:pt x="338" y="293"/>
                          <a:pt x="339" y="291"/>
                          <a:pt x="341" y="289"/>
                        </a:cubicBezTo>
                        <a:cubicBezTo>
                          <a:pt x="345" y="286"/>
                          <a:pt x="349" y="280"/>
                          <a:pt x="353" y="278"/>
                        </a:cubicBezTo>
                        <a:cubicBezTo>
                          <a:pt x="354" y="276"/>
                          <a:pt x="355" y="273"/>
                          <a:pt x="358" y="269"/>
                        </a:cubicBezTo>
                        <a:cubicBezTo>
                          <a:pt x="362" y="267"/>
                          <a:pt x="359" y="270"/>
                          <a:pt x="363" y="267"/>
                        </a:cubicBezTo>
                        <a:cubicBezTo>
                          <a:pt x="362" y="265"/>
                          <a:pt x="362" y="265"/>
                          <a:pt x="362" y="265"/>
                        </a:cubicBezTo>
                        <a:cubicBezTo>
                          <a:pt x="365" y="262"/>
                          <a:pt x="365" y="263"/>
                          <a:pt x="365" y="264"/>
                        </a:cubicBezTo>
                        <a:cubicBezTo>
                          <a:pt x="369" y="260"/>
                          <a:pt x="367" y="260"/>
                          <a:pt x="371" y="256"/>
                        </a:cubicBezTo>
                        <a:cubicBezTo>
                          <a:pt x="370" y="259"/>
                          <a:pt x="370" y="259"/>
                          <a:pt x="370" y="259"/>
                        </a:cubicBezTo>
                        <a:cubicBezTo>
                          <a:pt x="373" y="256"/>
                          <a:pt x="374" y="255"/>
                          <a:pt x="378" y="251"/>
                        </a:cubicBezTo>
                        <a:cubicBezTo>
                          <a:pt x="378" y="251"/>
                          <a:pt x="377" y="253"/>
                          <a:pt x="375" y="254"/>
                        </a:cubicBezTo>
                        <a:cubicBezTo>
                          <a:pt x="379" y="253"/>
                          <a:pt x="379" y="250"/>
                          <a:pt x="380" y="248"/>
                        </a:cubicBezTo>
                        <a:cubicBezTo>
                          <a:pt x="379" y="249"/>
                          <a:pt x="376" y="251"/>
                          <a:pt x="377" y="249"/>
                        </a:cubicBezTo>
                        <a:cubicBezTo>
                          <a:pt x="379" y="247"/>
                          <a:pt x="381" y="244"/>
                          <a:pt x="383" y="243"/>
                        </a:cubicBezTo>
                        <a:cubicBezTo>
                          <a:pt x="381" y="246"/>
                          <a:pt x="381" y="246"/>
                          <a:pt x="381" y="246"/>
                        </a:cubicBezTo>
                        <a:cubicBezTo>
                          <a:pt x="385" y="241"/>
                          <a:pt x="383" y="243"/>
                          <a:pt x="388" y="238"/>
                        </a:cubicBezTo>
                        <a:cubicBezTo>
                          <a:pt x="388" y="239"/>
                          <a:pt x="388" y="239"/>
                          <a:pt x="388" y="239"/>
                        </a:cubicBezTo>
                        <a:cubicBezTo>
                          <a:pt x="390" y="235"/>
                          <a:pt x="395" y="232"/>
                          <a:pt x="400" y="227"/>
                        </a:cubicBezTo>
                        <a:cubicBezTo>
                          <a:pt x="399" y="228"/>
                          <a:pt x="399" y="228"/>
                          <a:pt x="399" y="228"/>
                        </a:cubicBezTo>
                        <a:cubicBezTo>
                          <a:pt x="401" y="226"/>
                          <a:pt x="402" y="225"/>
                          <a:pt x="403" y="224"/>
                        </a:cubicBezTo>
                        <a:cubicBezTo>
                          <a:pt x="399" y="226"/>
                          <a:pt x="400" y="225"/>
                          <a:pt x="399" y="224"/>
                        </a:cubicBezTo>
                        <a:cubicBezTo>
                          <a:pt x="404" y="222"/>
                          <a:pt x="403" y="218"/>
                          <a:pt x="410" y="213"/>
                        </a:cubicBezTo>
                        <a:cubicBezTo>
                          <a:pt x="410" y="214"/>
                          <a:pt x="409" y="216"/>
                          <a:pt x="407" y="217"/>
                        </a:cubicBezTo>
                        <a:cubicBezTo>
                          <a:pt x="406" y="220"/>
                          <a:pt x="407" y="221"/>
                          <a:pt x="404" y="225"/>
                        </a:cubicBezTo>
                        <a:cubicBezTo>
                          <a:pt x="406" y="223"/>
                          <a:pt x="408" y="220"/>
                          <a:pt x="408" y="221"/>
                        </a:cubicBezTo>
                        <a:cubicBezTo>
                          <a:pt x="408" y="219"/>
                          <a:pt x="408" y="219"/>
                          <a:pt x="408" y="219"/>
                        </a:cubicBezTo>
                        <a:cubicBezTo>
                          <a:pt x="409" y="218"/>
                          <a:pt x="410" y="217"/>
                          <a:pt x="411" y="216"/>
                        </a:cubicBezTo>
                        <a:cubicBezTo>
                          <a:pt x="411" y="215"/>
                          <a:pt x="408" y="217"/>
                          <a:pt x="410" y="214"/>
                        </a:cubicBezTo>
                        <a:cubicBezTo>
                          <a:pt x="414" y="210"/>
                          <a:pt x="413" y="213"/>
                          <a:pt x="413" y="212"/>
                        </a:cubicBezTo>
                        <a:cubicBezTo>
                          <a:pt x="418" y="208"/>
                          <a:pt x="414" y="209"/>
                          <a:pt x="419" y="205"/>
                        </a:cubicBezTo>
                        <a:cubicBezTo>
                          <a:pt x="419" y="206"/>
                          <a:pt x="418" y="207"/>
                          <a:pt x="418" y="207"/>
                        </a:cubicBezTo>
                        <a:cubicBezTo>
                          <a:pt x="422" y="205"/>
                          <a:pt x="426" y="200"/>
                          <a:pt x="428" y="200"/>
                        </a:cubicBezTo>
                        <a:cubicBezTo>
                          <a:pt x="428" y="201"/>
                          <a:pt x="428" y="201"/>
                          <a:pt x="427" y="202"/>
                        </a:cubicBezTo>
                        <a:cubicBezTo>
                          <a:pt x="427" y="202"/>
                          <a:pt x="427" y="202"/>
                          <a:pt x="427" y="202"/>
                        </a:cubicBezTo>
                        <a:cubicBezTo>
                          <a:pt x="424" y="207"/>
                          <a:pt x="430" y="199"/>
                          <a:pt x="430" y="201"/>
                        </a:cubicBezTo>
                        <a:cubicBezTo>
                          <a:pt x="429" y="201"/>
                          <a:pt x="434" y="197"/>
                          <a:pt x="436" y="195"/>
                        </a:cubicBezTo>
                        <a:cubicBezTo>
                          <a:pt x="435" y="195"/>
                          <a:pt x="435" y="195"/>
                          <a:pt x="435" y="195"/>
                        </a:cubicBezTo>
                        <a:cubicBezTo>
                          <a:pt x="440" y="186"/>
                          <a:pt x="436" y="197"/>
                          <a:pt x="443" y="190"/>
                        </a:cubicBezTo>
                        <a:cubicBezTo>
                          <a:pt x="447" y="186"/>
                          <a:pt x="441" y="192"/>
                          <a:pt x="443" y="189"/>
                        </a:cubicBezTo>
                        <a:cubicBezTo>
                          <a:pt x="446" y="186"/>
                          <a:pt x="448" y="186"/>
                          <a:pt x="452" y="182"/>
                        </a:cubicBezTo>
                        <a:cubicBezTo>
                          <a:pt x="454" y="181"/>
                          <a:pt x="457" y="180"/>
                          <a:pt x="458" y="180"/>
                        </a:cubicBezTo>
                        <a:cubicBezTo>
                          <a:pt x="461" y="178"/>
                          <a:pt x="467" y="174"/>
                          <a:pt x="468" y="172"/>
                        </a:cubicBezTo>
                        <a:cubicBezTo>
                          <a:pt x="462" y="175"/>
                          <a:pt x="464" y="177"/>
                          <a:pt x="457" y="180"/>
                        </a:cubicBezTo>
                        <a:cubicBezTo>
                          <a:pt x="458" y="178"/>
                          <a:pt x="458" y="178"/>
                          <a:pt x="458" y="178"/>
                        </a:cubicBezTo>
                        <a:cubicBezTo>
                          <a:pt x="462" y="174"/>
                          <a:pt x="467" y="170"/>
                          <a:pt x="470" y="168"/>
                        </a:cubicBezTo>
                        <a:cubicBezTo>
                          <a:pt x="469" y="168"/>
                          <a:pt x="469" y="168"/>
                          <a:pt x="469" y="168"/>
                        </a:cubicBezTo>
                        <a:cubicBezTo>
                          <a:pt x="474" y="163"/>
                          <a:pt x="475" y="161"/>
                          <a:pt x="481" y="157"/>
                        </a:cubicBezTo>
                        <a:cubicBezTo>
                          <a:pt x="482" y="157"/>
                          <a:pt x="479" y="160"/>
                          <a:pt x="477" y="162"/>
                        </a:cubicBezTo>
                        <a:cubicBezTo>
                          <a:pt x="481" y="160"/>
                          <a:pt x="480" y="159"/>
                          <a:pt x="486" y="155"/>
                        </a:cubicBezTo>
                        <a:cubicBezTo>
                          <a:pt x="487" y="156"/>
                          <a:pt x="482" y="158"/>
                          <a:pt x="482" y="159"/>
                        </a:cubicBezTo>
                        <a:cubicBezTo>
                          <a:pt x="488" y="154"/>
                          <a:pt x="488" y="154"/>
                          <a:pt x="488" y="154"/>
                        </a:cubicBezTo>
                        <a:cubicBezTo>
                          <a:pt x="488" y="154"/>
                          <a:pt x="488" y="154"/>
                          <a:pt x="488" y="154"/>
                        </a:cubicBezTo>
                        <a:cubicBezTo>
                          <a:pt x="488" y="152"/>
                          <a:pt x="493" y="151"/>
                          <a:pt x="497" y="148"/>
                        </a:cubicBezTo>
                        <a:cubicBezTo>
                          <a:pt x="506" y="141"/>
                          <a:pt x="506" y="139"/>
                          <a:pt x="510" y="134"/>
                        </a:cubicBezTo>
                        <a:cubicBezTo>
                          <a:pt x="512" y="133"/>
                          <a:pt x="513" y="134"/>
                          <a:pt x="512" y="134"/>
                        </a:cubicBezTo>
                        <a:cubicBezTo>
                          <a:pt x="510" y="135"/>
                          <a:pt x="510" y="135"/>
                          <a:pt x="510" y="136"/>
                        </a:cubicBezTo>
                        <a:cubicBezTo>
                          <a:pt x="513" y="134"/>
                          <a:pt x="518" y="133"/>
                          <a:pt x="516" y="135"/>
                        </a:cubicBezTo>
                        <a:cubicBezTo>
                          <a:pt x="521" y="131"/>
                          <a:pt x="514" y="135"/>
                          <a:pt x="517" y="133"/>
                        </a:cubicBezTo>
                        <a:cubicBezTo>
                          <a:pt x="524" y="128"/>
                          <a:pt x="524" y="128"/>
                          <a:pt x="524" y="128"/>
                        </a:cubicBezTo>
                        <a:cubicBezTo>
                          <a:pt x="522" y="128"/>
                          <a:pt x="520" y="130"/>
                          <a:pt x="523" y="127"/>
                        </a:cubicBezTo>
                        <a:cubicBezTo>
                          <a:pt x="526" y="125"/>
                          <a:pt x="527" y="124"/>
                          <a:pt x="531" y="121"/>
                        </a:cubicBezTo>
                        <a:cubicBezTo>
                          <a:pt x="531" y="122"/>
                          <a:pt x="533" y="122"/>
                          <a:pt x="530" y="124"/>
                        </a:cubicBezTo>
                        <a:cubicBezTo>
                          <a:pt x="533" y="123"/>
                          <a:pt x="536" y="121"/>
                          <a:pt x="536" y="119"/>
                        </a:cubicBezTo>
                        <a:cubicBezTo>
                          <a:pt x="531" y="121"/>
                          <a:pt x="543" y="114"/>
                          <a:pt x="539" y="115"/>
                        </a:cubicBezTo>
                        <a:cubicBezTo>
                          <a:pt x="544" y="113"/>
                          <a:pt x="544" y="113"/>
                          <a:pt x="544" y="113"/>
                        </a:cubicBezTo>
                        <a:cubicBezTo>
                          <a:pt x="543" y="114"/>
                          <a:pt x="543" y="114"/>
                          <a:pt x="541" y="115"/>
                        </a:cubicBezTo>
                        <a:cubicBezTo>
                          <a:pt x="543" y="115"/>
                          <a:pt x="545" y="112"/>
                          <a:pt x="546" y="111"/>
                        </a:cubicBezTo>
                        <a:cubicBezTo>
                          <a:pt x="548" y="111"/>
                          <a:pt x="552" y="108"/>
                          <a:pt x="553" y="109"/>
                        </a:cubicBezTo>
                        <a:cubicBezTo>
                          <a:pt x="554" y="108"/>
                          <a:pt x="557" y="106"/>
                          <a:pt x="558" y="106"/>
                        </a:cubicBezTo>
                        <a:cubicBezTo>
                          <a:pt x="560" y="105"/>
                          <a:pt x="558" y="105"/>
                          <a:pt x="559" y="104"/>
                        </a:cubicBezTo>
                        <a:cubicBezTo>
                          <a:pt x="566" y="100"/>
                          <a:pt x="566" y="100"/>
                          <a:pt x="566" y="100"/>
                        </a:cubicBezTo>
                        <a:cubicBezTo>
                          <a:pt x="567" y="101"/>
                          <a:pt x="568" y="102"/>
                          <a:pt x="567" y="103"/>
                        </a:cubicBezTo>
                        <a:cubicBezTo>
                          <a:pt x="570" y="101"/>
                          <a:pt x="567" y="101"/>
                          <a:pt x="571" y="98"/>
                        </a:cubicBezTo>
                        <a:cubicBezTo>
                          <a:pt x="570" y="101"/>
                          <a:pt x="577" y="96"/>
                          <a:pt x="575" y="100"/>
                        </a:cubicBezTo>
                        <a:cubicBezTo>
                          <a:pt x="577" y="99"/>
                          <a:pt x="584" y="96"/>
                          <a:pt x="588" y="93"/>
                        </a:cubicBezTo>
                        <a:cubicBezTo>
                          <a:pt x="589" y="91"/>
                          <a:pt x="583" y="95"/>
                          <a:pt x="583" y="94"/>
                        </a:cubicBezTo>
                        <a:cubicBezTo>
                          <a:pt x="593" y="88"/>
                          <a:pt x="592" y="85"/>
                          <a:pt x="601" y="81"/>
                        </a:cubicBezTo>
                        <a:cubicBezTo>
                          <a:pt x="598" y="82"/>
                          <a:pt x="598" y="82"/>
                          <a:pt x="598" y="82"/>
                        </a:cubicBezTo>
                        <a:cubicBezTo>
                          <a:pt x="603" y="79"/>
                          <a:pt x="602" y="80"/>
                          <a:pt x="605" y="77"/>
                        </a:cubicBezTo>
                        <a:cubicBezTo>
                          <a:pt x="604" y="79"/>
                          <a:pt x="612" y="78"/>
                          <a:pt x="620" y="74"/>
                        </a:cubicBezTo>
                        <a:cubicBezTo>
                          <a:pt x="620" y="73"/>
                          <a:pt x="615" y="75"/>
                          <a:pt x="616" y="73"/>
                        </a:cubicBezTo>
                        <a:cubicBezTo>
                          <a:pt x="621" y="70"/>
                          <a:pt x="621" y="70"/>
                          <a:pt x="621" y="70"/>
                        </a:cubicBezTo>
                        <a:cubicBezTo>
                          <a:pt x="622" y="70"/>
                          <a:pt x="621" y="71"/>
                          <a:pt x="620" y="71"/>
                        </a:cubicBezTo>
                        <a:cubicBezTo>
                          <a:pt x="625" y="69"/>
                          <a:pt x="630" y="69"/>
                          <a:pt x="631" y="67"/>
                        </a:cubicBezTo>
                        <a:cubicBezTo>
                          <a:pt x="637" y="67"/>
                          <a:pt x="637" y="67"/>
                          <a:pt x="637" y="67"/>
                        </a:cubicBezTo>
                        <a:cubicBezTo>
                          <a:pt x="634" y="67"/>
                          <a:pt x="634" y="67"/>
                          <a:pt x="634" y="67"/>
                        </a:cubicBezTo>
                        <a:cubicBezTo>
                          <a:pt x="635" y="66"/>
                          <a:pt x="640" y="63"/>
                          <a:pt x="641" y="62"/>
                        </a:cubicBezTo>
                        <a:cubicBezTo>
                          <a:pt x="646" y="59"/>
                          <a:pt x="649" y="59"/>
                          <a:pt x="652" y="59"/>
                        </a:cubicBezTo>
                        <a:cubicBezTo>
                          <a:pt x="651" y="58"/>
                          <a:pt x="648" y="58"/>
                          <a:pt x="652" y="56"/>
                        </a:cubicBezTo>
                        <a:cubicBezTo>
                          <a:pt x="653" y="58"/>
                          <a:pt x="662" y="53"/>
                          <a:pt x="662" y="54"/>
                        </a:cubicBezTo>
                        <a:cubicBezTo>
                          <a:pt x="664" y="54"/>
                          <a:pt x="668" y="53"/>
                          <a:pt x="667" y="52"/>
                        </a:cubicBezTo>
                        <a:cubicBezTo>
                          <a:pt x="668" y="54"/>
                          <a:pt x="668" y="54"/>
                          <a:pt x="668" y="54"/>
                        </a:cubicBezTo>
                        <a:cubicBezTo>
                          <a:pt x="667" y="52"/>
                          <a:pt x="674" y="49"/>
                          <a:pt x="679" y="47"/>
                        </a:cubicBezTo>
                        <a:cubicBezTo>
                          <a:pt x="679" y="50"/>
                          <a:pt x="684" y="45"/>
                          <a:pt x="688" y="46"/>
                        </a:cubicBezTo>
                        <a:cubicBezTo>
                          <a:pt x="688" y="44"/>
                          <a:pt x="696" y="43"/>
                          <a:pt x="697" y="41"/>
                        </a:cubicBezTo>
                        <a:cubicBezTo>
                          <a:pt x="701" y="39"/>
                          <a:pt x="701" y="41"/>
                          <a:pt x="702" y="41"/>
                        </a:cubicBezTo>
                        <a:cubicBezTo>
                          <a:pt x="704" y="40"/>
                          <a:pt x="704" y="40"/>
                          <a:pt x="704" y="40"/>
                        </a:cubicBezTo>
                        <a:cubicBezTo>
                          <a:pt x="706" y="40"/>
                          <a:pt x="713" y="38"/>
                          <a:pt x="718" y="37"/>
                        </a:cubicBezTo>
                        <a:cubicBezTo>
                          <a:pt x="722" y="35"/>
                          <a:pt x="722" y="35"/>
                          <a:pt x="722" y="35"/>
                        </a:cubicBezTo>
                        <a:cubicBezTo>
                          <a:pt x="723" y="35"/>
                          <a:pt x="723" y="35"/>
                          <a:pt x="723" y="35"/>
                        </a:cubicBezTo>
                        <a:cubicBezTo>
                          <a:pt x="724" y="34"/>
                          <a:pt x="727" y="33"/>
                          <a:pt x="725" y="33"/>
                        </a:cubicBezTo>
                        <a:cubicBezTo>
                          <a:pt x="727" y="33"/>
                          <a:pt x="727" y="33"/>
                          <a:pt x="727" y="33"/>
                        </a:cubicBezTo>
                        <a:cubicBezTo>
                          <a:pt x="727" y="31"/>
                          <a:pt x="730" y="31"/>
                          <a:pt x="735" y="29"/>
                        </a:cubicBezTo>
                        <a:cubicBezTo>
                          <a:pt x="736" y="29"/>
                          <a:pt x="736" y="30"/>
                          <a:pt x="735" y="30"/>
                        </a:cubicBezTo>
                        <a:cubicBezTo>
                          <a:pt x="737" y="30"/>
                          <a:pt x="736" y="31"/>
                          <a:pt x="738" y="31"/>
                        </a:cubicBezTo>
                        <a:cubicBezTo>
                          <a:pt x="736" y="31"/>
                          <a:pt x="745" y="26"/>
                          <a:pt x="739" y="27"/>
                        </a:cubicBezTo>
                        <a:cubicBezTo>
                          <a:pt x="738" y="26"/>
                          <a:pt x="741" y="25"/>
                          <a:pt x="744" y="24"/>
                        </a:cubicBezTo>
                        <a:cubicBezTo>
                          <a:pt x="745" y="26"/>
                          <a:pt x="745" y="26"/>
                          <a:pt x="745" y="26"/>
                        </a:cubicBezTo>
                        <a:cubicBezTo>
                          <a:pt x="748" y="23"/>
                          <a:pt x="748" y="23"/>
                          <a:pt x="748" y="23"/>
                        </a:cubicBezTo>
                        <a:cubicBezTo>
                          <a:pt x="751" y="22"/>
                          <a:pt x="753" y="23"/>
                          <a:pt x="756" y="22"/>
                        </a:cubicBezTo>
                        <a:cubicBezTo>
                          <a:pt x="753" y="23"/>
                          <a:pt x="750" y="27"/>
                          <a:pt x="758" y="25"/>
                        </a:cubicBezTo>
                        <a:cubicBezTo>
                          <a:pt x="754" y="26"/>
                          <a:pt x="752" y="28"/>
                          <a:pt x="750" y="28"/>
                        </a:cubicBezTo>
                        <a:cubicBezTo>
                          <a:pt x="752" y="28"/>
                          <a:pt x="752" y="28"/>
                          <a:pt x="750" y="29"/>
                        </a:cubicBezTo>
                        <a:cubicBezTo>
                          <a:pt x="756" y="27"/>
                          <a:pt x="752" y="28"/>
                          <a:pt x="758" y="26"/>
                        </a:cubicBezTo>
                        <a:cubicBezTo>
                          <a:pt x="758" y="28"/>
                          <a:pt x="759" y="28"/>
                          <a:pt x="764" y="27"/>
                        </a:cubicBezTo>
                        <a:cubicBezTo>
                          <a:pt x="760" y="27"/>
                          <a:pt x="760" y="27"/>
                          <a:pt x="760" y="27"/>
                        </a:cubicBezTo>
                        <a:cubicBezTo>
                          <a:pt x="761" y="27"/>
                          <a:pt x="761" y="27"/>
                          <a:pt x="761" y="26"/>
                        </a:cubicBezTo>
                        <a:cubicBezTo>
                          <a:pt x="760" y="27"/>
                          <a:pt x="759" y="26"/>
                          <a:pt x="759" y="26"/>
                        </a:cubicBezTo>
                        <a:cubicBezTo>
                          <a:pt x="760" y="26"/>
                          <a:pt x="765" y="23"/>
                          <a:pt x="766" y="23"/>
                        </a:cubicBezTo>
                        <a:cubicBezTo>
                          <a:pt x="760" y="22"/>
                          <a:pt x="776" y="19"/>
                          <a:pt x="772" y="19"/>
                        </a:cubicBezTo>
                        <a:cubicBezTo>
                          <a:pt x="773" y="18"/>
                          <a:pt x="777" y="17"/>
                          <a:pt x="777" y="18"/>
                        </a:cubicBezTo>
                        <a:cubicBezTo>
                          <a:pt x="772" y="20"/>
                          <a:pt x="781" y="19"/>
                          <a:pt x="781" y="20"/>
                        </a:cubicBezTo>
                        <a:cubicBezTo>
                          <a:pt x="782" y="19"/>
                          <a:pt x="777" y="20"/>
                          <a:pt x="779" y="19"/>
                        </a:cubicBezTo>
                        <a:cubicBezTo>
                          <a:pt x="782" y="18"/>
                          <a:pt x="784" y="19"/>
                          <a:pt x="786" y="19"/>
                        </a:cubicBezTo>
                        <a:cubicBezTo>
                          <a:pt x="785" y="19"/>
                          <a:pt x="785" y="19"/>
                          <a:pt x="785" y="19"/>
                        </a:cubicBezTo>
                        <a:cubicBezTo>
                          <a:pt x="789" y="19"/>
                          <a:pt x="789" y="19"/>
                          <a:pt x="789" y="19"/>
                        </a:cubicBezTo>
                        <a:cubicBezTo>
                          <a:pt x="790" y="18"/>
                          <a:pt x="785" y="19"/>
                          <a:pt x="789" y="17"/>
                        </a:cubicBezTo>
                        <a:cubicBezTo>
                          <a:pt x="790" y="18"/>
                          <a:pt x="794" y="16"/>
                          <a:pt x="794" y="17"/>
                        </a:cubicBezTo>
                        <a:cubicBezTo>
                          <a:pt x="792" y="18"/>
                          <a:pt x="794" y="19"/>
                          <a:pt x="790" y="20"/>
                        </a:cubicBezTo>
                        <a:cubicBezTo>
                          <a:pt x="793" y="20"/>
                          <a:pt x="802" y="18"/>
                          <a:pt x="798" y="17"/>
                        </a:cubicBezTo>
                        <a:cubicBezTo>
                          <a:pt x="802" y="17"/>
                          <a:pt x="802" y="17"/>
                          <a:pt x="802" y="17"/>
                        </a:cubicBezTo>
                        <a:cubicBezTo>
                          <a:pt x="800" y="16"/>
                          <a:pt x="793" y="16"/>
                          <a:pt x="800" y="15"/>
                        </a:cubicBezTo>
                        <a:cubicBezTo>
                          <a:pt x="800" y="15"/>
                          <a:pt x="800" y="15"/>
                          <a:pt x="800" y="15"/>
                        </a:cubicBezTo>
                        <a:cubicBezTo>
                          <a:pt x="805" y="13"/>
                          <a:pt x="805" y="13"/>
                          <a:pt x="805" y="13"/>
                        </a:cubicBezTo>
                        <a:cubicBezTo>
                          <a:pt x="807" y="14"/>
                          <a:pt x="807" y="14"/>
                          <a:pt x="807" y="14"/>
                        </a:cubicBezTo>
                        <a:cubicBezTo>
                          <a:pt x="807" y="13"/>
                          <a:pt x="808" y="13"/>
                          <a:pt x="810" y="13"/>
                        </a:cubicBezTo>
                        <a:cubicBezTo>
                          <a:pt x="810" y="13"/>
                          <a:pt x="812" y="13"/>
                          <a:pt x="812" y="14"/>
                        </a:cubicBezTo>
                        <a:cubicBezTo>
                          <a:pt x="817" y="13"/>
                          <a:pt x="817" y="12"/>
                          <a:pt x="817" y="12"/>
                        </a:cubicBezTo>
                        <a:cubicBezTo>
                          <a:pt x="820" y="11"/>
                          <a:pt x="821" y="11"/>
                          <a:pt x="820" y="12"/>
                        </a:cubicBezTo>
                        <a:cubicBezTo>
                          <a:pt x="824" y="12"/>
                          <a:pt x="831" y="11"/>
                          <a:pt x="834" y="11"/>
                        </a:cubicBezTo>
                        <a:cubicBezTo>
                          <a:pt x="839" y="10"/>
                          <a:pt x="833" y="11"/>
                          <a:pt x="836" y="10"/>
                        </a:cubicBezTo>
                        <a:cubicBezTo>
                          <a:pt x="841" y="12"/>
                          <a:pt x="854" y="9"/>
                          <a:pt x="863" y="8"/>
                        </a:cubicBezTo>
                        <a:cubicBezTo>
                          <a:pt x="860" y="6"/>
                          <a:pt x="865" y="7"/>
                          <a:pt x="867" y="5"/>
                        </a:cubicBezTo>
                        <a:cubicBezTo>
                          <a:pt x="865" y="6"/>
                          <a:pt x="875" y="7"/>
                          <a:pt x="868" y="8"/>
                        </a:cubicBezTo>
                        <a:cubicBezTo>
                          <a:pt x="872" y="7"/>
                          <a:pt x="872" y="7"/>
                          <a:pt x="872" y="7"/>
                        </a:cubicBezTo>
                        <a:cubicBezTo>
                          <a:pt x="876" y="8"/>
                          <a:pt x="865" y="9"/>
                          <a:pt x="870" y="10"/>
                        </a:cubicBezTo>
                        <a:cubicBezTo>
                          <a:pt x="875" y="9"/>
                          <a:pt x="878" y="7"/>
                          <a:pt x="884" y="7"/>
                        </a:cubicBezTo>
                        <a:cubicBezTo>
                          <a:pt x="882" y="9"/>
                          <a:pt x="889" y="7"/>
                          <a:pt x="888" y="9"/>
                        </a:cubicBezTo>
                        <a:cubicBezTo>
                          <a:pt x="887" y="9"/>
                          <a:pt x="885" y="9"/>
                          <a:pt x="883" y="9"/>
                        </a:cubicBezTo>
                        <a:cubicBezTo>
                          <a:pt x="884" y="9"/>
                          <a:pt x="884" y="9"/>
                          <a:pt x="884" y="9"/>
                        </a:cubicBezTo>
                        <a:cubicBezTo>
                          <a:pt x="896" y="9"/>
                          <a:pt x="887" y="7"/>
                          <a:pt x="894" y="6"/>
                        </a:cubicBezTo>
                        <a:cubicBezTo>
                          <a:pt x="901" y="6"/>
                          <a:pt x="899" y="7"/>
                          <a:pt x="900" y="8"/>
                        </a:cubicBezTo>
                        <a:cubicBezTo>
                          <a:pt x="901" y="8"/>
                          <a:pt x="904" y="8"/>
                          <a:pt x="906" y="8"/>
                        </a:cubicBezTo>
                        <a:cubicBezTo>
                          <a:pt x="902" y="9"/>
                          <a:pt x="898" y="7"/>
                          <a:pt x="900" y="6"/>
                        </a:cubicBezTo>
                        <a:cubicBezTo>
                          <a:pt x="903" y="7"/>
                          <a:pt x="911" y="6"/>
                          <a:pt x="913" y="5"/>
                        </a:cubicBezTo>
                        <a:cubicBezTo>
                          <a:pt x="902" y="3"/>
                          <a:pt x="906" y="5"/>
                          <a:pt x="896" y="3"/>
                        </a:cubicBezTo>
                        <a:cubicBezTo>
                          <a:pt x="895" y="4"/>
                          <a:pt x="895" y="5"/>
                          <a:pt x="889" y="5"/>
                        </a:cubicBezTo>
                        <a:cubicBezTo>
                          <a:pt x="893" y="4"/>
                          <a:pt x="889" y="4"/>
                          <a:pt x="888" y="4"/>
                        </a:cubicBezTo>
                        <a:cubicBezTo>
                          <a:pt x="889" y="5"/>
                          <a:pt x="884" y="4"/>
                          <a:pt x="882" y="5"/>
                        </a:cubicBezTo>
                        <a:cubicBezTo>
                          <a:pt x="880" y="4"/>
                          <a:pt x="885" y="2"/>
                          <a:pt x="880" y="2"/>
                        </a:cubicBezTo>
                        <a:cubicBezTo>
                          <a:pt x="879" y="5"/>
                          <a:pt x="879" y="5"/>
                          <a:pt x="879" y="5"/>
                        </a:cubicBezTo>
                        <a:cubicBezTo>
                          <a:pt x="876" y="4"/>
                          <a:pt x="879" y="3"/>
                          <a:pt x="875" y="4"/>
                        </a:cubicBezTo>
                        <a:cubicBezTo>
                          <a:pt x="877" y="2"/>
                          <a:pt x="874" y="2"/>
                          <a:pt x="880" y="1"/>
                        </a:cubicBezTo>
                        <a:cubicBezTo>
                          <a:pt x="872" y="0"/>
                          <a:pt x="868" y="3"/>
                          <a:pt x="862" y="4"/>
                        </a:cubicBezTo>
                        <a:cubicBezTo>
                          <a:pt x="863" y="4"/>
                          <a:pt x="863" y="4"/>
                          <a:pt x="864" y="4"/>
                        </a:cubicBezTo>
                        <a:cubicBezTo>
                          <a:pt x="862" y="4"/>
                          <a:pt x="860" y="4"/>
                          <a:pt x="858" y="5"/>
                        </a:cubicBezTo>
                        <a:cubicBezTo>
                          <a:pt x="854" y="4"/>
                          <a:pt x="861" y="3"/>
                          <a:pt x="860" y="3"/>
                        </a:cubicBezTo>
                        <a:cubicBezTo>
                          <a:pt x="854" y="3"/>
                          <a:pt x="854" y="3"/>
                          <a:pt x="854" y="3"/>
                        </a:cubicBezTo>
                        <a:cubicBezTo>
                          <a:pt x="853" y="3"/>
                          <a:pt x="853" y="3"/>
                          <a:pt x="853" y="3"/>
                        </a:cubicBezTo>
                        <a:cubicBezTo>
                          <a:pt x="852" y="4"/>
                          <a:pt x="850" y="4"/>
                          <a:pt x="850" y="4"/>
                        </a:cubicBezTo>
                        <a:cubicBezTo>
                          <a:pt x="851" y="3"/>
                          <a:pt x="852" y="2"/>
                          <a:pt x="853" y="1"/>
                        </a:cubicBezTo>
                        <a:cubicBezTo>
                          <a:pt x="847" y="3"/>
                          <a:pt x="847" y="3"/>
                          <a:pt x="847" y="3"/>
                        </a:cubicBezTo>
                        <a:cubicBezTo>
                          <a:pt x="847" y="3"/>
                          <a:pt x="841" y="3"/>
                          <a:pt x="846" y="2"/>
                        </a:cubicBezTo>
                        <a:cubicBezTo>
                          <a:pt x="836" y="3"/>
                          <a:pt x="836" y="3"/>
                          <a:pt x="836" y="3"/>
                        </a:cubicBezTo>
                        <a:cubicBezTo>
                          <a:pt x="835" y="2"/>
                          <a:pt x="835" y="2"/>
                          <a:pt x="835" y="2"/>
                        </a:cubicBezTo>
                        <a:cubicBezTo>
                          <a:pt x="832" y="2"/>
                          <a:pt x="832" y="3"/>
                          <a:pt x="835" y="2"/>
                        </a:cubicBezTo>
                        <a:cubicBezTo>
                          <a:pt x="832" y="2"/>
                          <a:pt x="820" y="7"/>
                          <a:pt x="821" y="4"/>
                        </a:cubicBezTo>
                        <a:cubicBezTo>
                          <a:pt x="814" y="6"/>
                          <a:pt x="811" y="6"/>
                          <a:pt x="801" y="8"/>
                        </a:cubicBezTo>
                        <a:cubicBezTo>
                          <a:pt x="808" y="6"/>
                          <a:pt x="793" y="8"/>
                          <a:pt x="800" y="6"/>
                        </a:cubicBezTo>
                        <a:cubicBezTo>
                          <a:pt x="796" y="6"/>
                          <a:pt x="795" y="8"/>
                          <a:pt x="791" y="9"/>
                        </a:cubicBezTo>
                        <a:cubicBezTo>
                          <a:pt x="788" y="9"/>
                          <a:pt x="789" y="7"/>
                          <a:pt x="793" y="6"/>
                        </a:cubicBezTo>
                        <a:cubicBezTo>
                          <a:pt x="789" y="7"/>
                          <a:pt x="789" y="7"/>
                          <a:pt x="789" y="7"/>
                        </a:cubicBezTo>
                        <a:cubicBezTo>
                          <a:pt x="789" y="7"/>
                          <a:pt x="789" y="7"/>
                          <a:pt x="789" y="7"/>
                        </a:cubicBezTo>
                        <a:cubicBezTo>
                          <a:pt x="785" y="9"/>
                          <a:pt x="785" y="9"/>
                          <a:pt x="785" y="9"/>
                        </a:cubicBezTo>
                        <a:cubicBezTo>
                          <a:pt x="781" y="9"/>
                          <a:pt x="784" y="7"/>
                          <a:pt x="780" y="8"/>
                        </a:cubicBezTo>
                        <a:cubicBezTo>
                          <a:pt x="779" y="9"/>
                          <a:pt x="779" y="9"/>
                          <a:pt x="779" y="9"/>
                        </a:cubicBezTo>
                        <a:cubicBezTo>
                          <a:pt x="776" y="9"/>
                          <a:pt x="776" y="9"/>
                          <a:pt x="776" y="9"/>
                        </a:cubicBezTo>
                        <a:cubicBezTo>
                          <a:pt x="777" y="9"/>
                          <a:pt x="775" y="10"/>
                          <a:pt x="772" y="11"/>
                        </a:cubicBezTo>
                        <a:cubicBezTo>
                          <a:pt x="772" y="11"/>
                          <a:pt x="772" y="11"/>
                          <a:pt x="772" y="11"/>
                        </a:cubicBezTo>
                        <a:cubicBezTo>
                          <a:pt x="769" y="12"/>
                          <a:pt x="769" y="12"/>
                          <a:pt x="769" y="12"/>
                        </a:cubicBezTo>
                        <a:cubicBezTo>
                          <a:pt x="772" y="10"/>
                          <a:pt x="765" y="12"/>
                          <a:pt x="767" y="11"/>
                        </a:cubicBezTo>
                        <a:cubicBezTo>
                          <a:pt x="764" y="11"/>
                          <a:pt x="764" y="11"/>
                          <a:pt x="758" y="13"/>
                        </a:cubicBezTo>
                        <a:cubicBezTo>
                          <a:pt x="759" y="14"/>
                          <a:pt x="759" y="14"/>
                          <a:pt x="759" y="14"/>
                        </a:cubicBezTo>
                        <a:cubicBezTo>
                          <a:pt x="752" y="16"/>
                          <a:pt x="759" y="12"/>
                          <a:pt x="753" y="14"/>
                        </a:cubicBezTo>
                        <a:cubicBezTo>
                          <a:pt x="753" y="14"/>
                          <a:pt x="753" y="14"/>
                          <a:pt x="753" y="14"/>
                        </a:cubicBezTo>
                        <a:cubicBezTo>
                          <a:pt x="745" y="15"/>
                          <a:pt x="740" y="19"/>
                          <a:pt x="733" y="19"/>
                        </a:cubicBezTo>
                        <a:cubicBezTo>
                          <a:pt x="737" y="18"/>
                          <a:pt x="735" y="17"/>
                          <a:pt x="735" y="18"/>
                        </a:cubicBezTo>
                        <a:cubicBezTo>
                          <a:pt x="730" y="19"/>
                          <a:pt x="722" y="22"/>
                          <a:pt x="716" y="24"/>
                        </a:cubicBezTo>
                        <a:cubicBezTo>
                          <a:pt x="714" y="24"/>
                          <a:pt x="713" y="23"/>
                          <a:pt x="708" y="24"/>
                        </a:cubicBezTo>
                        <a:cubicBezTo>
                          <a:pt x="704" y="26"/>
                          <a:pt x="703" y="26"/>
                          <a:pt x="702" y="27"/>
                        </a:cubicBezTo>
                        <a:cubicBezTo>
                          <a:pt x="698" y="28"/>
                          <a:pt x="691" y="31"/>
                          <a:pt x="690" y="30"/>
                        </a:cubicBezTo>
                        <a:cubicBezTo>
                          <a:pt x="690" y="31"/>
                          <a:pt x="687" y="31"/>
                          <a:pt x="685" y="33"/>
                        </a:cubicBezTo>
                        <a:cubicBezTo>
                          <a:pt x="684" y="32"/>
                          <a:pt x="684" y="32"/>
                          <a:pt x="684" y="32"/>
                        </a:cubicBezTo>
                        <a:cubicBezTo>
                          <a:pt x="685" y="33"/>
                          <a:pt x="685" y="33"/>
                          <a:pt x="685" y="33"/>
                        </a:cubicBezTo>
                        <a:cubicBezTo>
                          <a:pt x="677" y="33"/>
                          <a:pt x="674" y="38"/>
                          <a:pt x="666" y="39"/>
                        </a:cubicBezTo>
                        <a:cubicBezTo>
                          <a:pt x="667" y="39"/>
                          <a:pt x="667" y="39"/>
                          <a:pt x="667" y="39"/>
                        </a:cubicBezTo>
                        <a:cubicBezTo>
                          <a:pt x="665" y="40"/>
                          <a:pt x="665" y="40"/>
                          <a:pt x="665" y="40"/>
                        </a:cubicBezTo>
                        <a:cubicBezTo>
                          <a:pt x="664" y="40"/>
                          <a:pt x="665" y="39"/>
                          <a:pt x="665" y="38"/>
                        </a:cubicBezTo>
                        <a:cubicBezTo>
                          <a:pt x="661" y="40"/>
                          <a:pt x="656" y="42"/>
                          <a:pt x="652" y="43"/>
                        </a:cubicBezTo>
                        <a:cubicBezTo>
                          <a:pt x="654" y="43"/>
                          <a:pt x="654" y="43"/>
                          <a:pt x="654" y="43"/>
                        </a:cubicBezTo>
                        <a:cubicBezTo>
                          <a:pt x="652" y="44"/>
                          <a:pt x="650" y="46"/>
                          <a:pt x="647" y="47"/>
                        </a:cubicBezTo>
                        <a:cubicBezTo>
                          <a:pt x="651" y="43"/>
                          <a:pt x="642" y="48"/>
                          <a:pt x="641" y="48"/>
                        </a:cubicBezTo>
                        <a:cubicBezTo>
                          <a:pt x="644" y="46"/>
                          <a:pt x="644" y="46"/>
                          <a:pt x="644" y="46"/>
                        </a:cubicBezTo>
                        <a:cubicBezTo>
                          <a:pt x="640" y="48"/>
                          <a:pt x="640" y="48"/>
                          <a:pt x="641" y="49"/>
                        </a:cubicBezTo>
                        <a:cubicBezTo>
                          <a:pt x="636" y="51"/>
                          <a:pt x="636" y="48"/>
                          <a:pt x="632" y="51"/>
                        </a:cubicBezTo>
                        <a:cubicBezTo>
                          <a:pt x="635" y="50"/>
                          <a:pt x="635" y="50"/>
                          <a:pt x="635" y="50"/>
                        </a:cubicBezTo>
                        <a:cubicBezTo>
                          <a:pt x="637" y="50"/>
                          <a:pt x="635" y="52"/>
                          <a:pt x="632" y="53"/>
                        </a:cubicBezTo>
                        <a:cubicBezTo>
                          <a:pt x="632" y="53"/>
                          <a:pt x="630" y="53"/>
                          <a:pt x="632" y="52"/>
                        </a:cubicBezTo>
                        <a:cubicBezTo>
                          <a:pt x="628" y="54"/>
                          <a:pt x="622" y="57"/>
                          <a:pt x="620" y="58"/>
                        </a:cubicBezTo>
                        <a:cubicBezTo>
                          <a:pt x="618" y="58"/>
                          <a:pt x="618" y="57"/>
                          <a:pt x="619" y="57"/>
                        </a:cubicBezTo>
                        <a:cubicBezTo>
                          <a:pt x="611" y="61"/>
                          <a:pt x="616" y="58"/>
                          <a:pt x="608" y="63"/>
                        </a:cubicBezTo>
                        <a:cubicBezTo>
                          <a:pt x="607" y="62"/>
                          <a:pt x="607" y="62"/>
                          <a:pt x="607" y="62"/>
                        </a:cubicBezTo>
                        <a:cubicBezTo>
                          <a:pt x="605" y="64"/>
                          <a:pt x="605" y="64"/>
                          <a:pt x="605" y="64"/>
                        </a:cubicBezTo>
                        <a:cubicBezTo>
                          <a:pt x="600" y="65"/>
                          <a:pt x="600" y="65"/>
                          <a:pt x="600" y="65"/>
                        </a:cubicBezTo>
                        <a:cubicBezTo>
                          <a:pt x="602" y="65"/>
                          <a:pt x="602" y="65"/>
                          <a:pt x="602" y="65"/>
                        </a:cubicBezTo>
                        <a:cubicBezTo>
                          <a:pt x="599" y="67"/>
                          <a:pt x="598" y="68"/>
                          <a:pt x="595" y="69"/>
                        </a:cubicBezTo>
                        <a:cubicBezTo>
                          <a:pt x="595" y="68"/>
                          <a:pt x="595" y="68"/>
                          <a:pt x="595" y="68"/>
                        </a:cubicBezTo>
                        <a:cubicBezTo>
                          <a:pt x="588" y="72"/>
                          <a:pt x="586" y="71"/>
                          <a:pt x="579" y="76"/>
                        </a:cubicBezTo>
                        <a:cubicBezTo>
                          <a:pt x="579" y="76"/>
                          <a:pt x="580" y="75"/>
                          <a:pt x="580" y="74"/>
                        </a:cubicBezTo>
                        <a:cubicBezTo>
                          <a:pt x="574" y="79"/>
                          <a:pt x="575" y="76"/>
                          <a:pt x="569" y="81"/>
                        </a:cubicBezTo>
                        <a:cubicBezTo>
                          <a:pt x="569" y="80"/>
                          <a:pt x="568" y="80"/>
                          <a:pt x="568" y="80"/>
                        </a:cubicBezTo>
                        <a:cubicBezTo>
                          <a:pt x="565" y="82"/>
                          <a:pt x="565" y="82"/>
                          <a:pt x="565" y="82"/>
                        </a:cubicBezTo>
                        <a:cubicBezTo>
                          <a:pt x="565" y="81"/>
                          <a:pt x="565" y="81"/>
                          <a:pt x="565" y="81"/>
                        </a:cubicBezTo>
                        <a:cubicBezTo>
                          <a:pt x="563" y="84"/>
                          <a:pt x="563" y="84"/>
                          <a:pt x="563" y="84"/>
                        </a:cubicBezTo>
                        <a:cubicBezTo>
                          <a:pt x="561" y="84"/>
                          <a:pt x="561" y="84"/>
                          <a:pt x="561" y="84"/>
                        </a:cubicBezTo>
                        <a:cubicBezTo>
                          <a:pt x="560" y="85"/>
                          <a:pt x="560" y="85"/>
                          <a:pt x="560" y="85"/>
                        </a:cubicBezTo>
                        <a:cubicBezTo>
                          <a:pt x="556" y="85"/>
                          <a:pt x="552" y="89"/>
                          <a:pt x="547" y="90"/>
                        </a:cubicBezTo>
                        <a:cubicBezTo>
                          <a:pt x="548" y="91"/>
                          <a:pt x="548" y="91"/>
                          <a:pt x="548" y="91"/>
                        </a:cubicBezTo>
                        <a:cubicBezTo>
                          <a:pt x="539" y="100"/>
                          <a:pt x="522" y="104"/>
                          <a:pt x="510" y="114"/>
                        </a:cubicBezTo>
                        <a:cubicBezTo>
                          <a:pt x="510" y="113"/>
                          <a:pt x="510" y="113"/>
                          <a:pt x="510" y="113"/>
                        </a:cubicBezTo>
                        <a:cubicBezTo>
                          <a:pt x="505" y="118"/>
                          <a:pt x="505" y="118"/>
                          <a:pt x="505" y="118"/>
                        </a:cubicBezTo>
                        <a:cubicBezTo>
                          <a:pt x="502" y="119"/>
                          <a:pt x="507" y="116"/>
                          <a:pt x="505" y="116"/>
                        </a:cubicBezTo>
                        <a:cubicBezTo>
                          <a:pt x="500" y="120"/>
                          <a:pt x="504" y="119"/>
                          <a:pt x="498" y="123"/>
                        </a:cubicBezTo>
                        <a:cubicBezTo>
                          <a:pt x="494" y="125"/>
                          <a:pt x="498" y="122"/>
                          <a:pt x="500" y="120"/>
                        </a:cubicBezTo>
                        <a:cubicBezTo>
                          <a:pt x="494" y="125"/>
                          <a:pt x="485" y="132"/>
                          <a:pt x="481" y="134"/>
                        </a:cubicBezTo>
                        <a:cubicBezTo>
                          <a:pt x="481" y="135"/>
                          <a:pt x="480" y="135"/>
                          <a:pt x="481" y="135"/>
                        </a:cubicBezTo>
                        <a:cubicBezTo>
                          <a:pt x="477" y="138"/>
                          <a:pt x="472" y="142"/>
                          <a:pt x="467" y="145"/>
                        </a:cubicBezTo>
                        <a:cubicBezTo>
                          <a:pt x="467" y="144"/>
                          <a:pt x="468" y="143"/>
                          <a:pt x="469" y="143"/>
                        </a:cubicBezTo>
                        <a:cubicBezTo>
                          <a:pt x="467" y="144"/>
                          <a:pt x="465" y="145"/>
                          <a:pt x="464" y="146"/>
                        </a:cubicBezTo>
                        <a:cubicBezTo>
                          <a:pt x="465" y="144"/>
                          <a:pt x="465" y="144"/>
                          <a:pt x="465" y="144"/>
                        </a:cubicBezTo>
                        <a:cubicBezTo>
                          <a:pt x="462" y="147"/>
                          <a:pt x="456" y="152"/>
                          <a:pt x="454" y="152"/>
                        </a:cubicBezTo>
                        <a:cubicBezTo>
                          <a:pt x="455" y="152"/>
                          <a:pt x="455" y="153"/>
                          <a:pt x="453" y="155"/>
                        </a:cubicBezTo>
                        <a:cubicBezTo>
                          <a:pt x="450" y="155"/>
                          <a:pt x="445" y="162"/>
                          <a:pt x="440" y="165"/>
                        </a:cubicBezTo>
                        <a:cubicBezTo>
                          <a:pt x="440" y="164"/>
                          <a:pt x="444" y="161"/>
                          <a:pt x="443" y="162"/>
                        </a:cubicBezTo>
                        <a:cubicBezTo>
                          <a:pt x="440" y="163"/>
                          <a:pt x="439" y="166"/>
                          <a:pt x="437" y="168"/>
                        </a:cubicBezTo>
                        <a:cubicBezTo>
                          <a:pt x="437" y="167"/>
                          <a:pt x="437" y="167"/>
                          <a:pt x="437" y="167"/>
                        </a:cubicBezTo>
                        <a:cubicBezTo>
                          <a:pt x="427" y="176"/>
                          <a:pt x="427" y="176"/>
                          <a:pt x="427" y="176"/>
                        </a:cubicBezTo>
                        <a:cubicBezTo>
                          <a:pt x="425" y="176"/>
                          <a:pt x="418" y="184"/>
                          <a:pt x="418" y="183"/>
                        </a:cubicBezTo>
                        <a:cubicBezTo>
                          <a:pt x="414" y="186"/>
                          <a:pt x="421" y="181"/>
                          <a:pt x="417" y="185"/>
                        </a:cubicBezTo>
                        <a:cubicBezTo>
                          <a:pt x="415" y="185"/>
                          <a:pt x="413" y="189"/>
                          <a:pt x="412" y="188"/>
                        </a:cubicBezTo>
                        <a:cubicBezTo>
                          <a:pt x="413" y="187"/>
                          <a:pt x="413" y="187"/>
                          <a:pt x="413" y="187"/>
                        </a:cubicBezTo>
                        <a:cubicBezTo>
                          <a:pt x="410" y="190"/>
                          <a:pt x="410" y="190"/>
                          <a:pt x="410" y="190"/>
                        </a:cubicBezTo>
                        <a:cubicBezTo>
                          <a:pt x="411" y="187"/>
                          <a:pt x="411" y="187"/>
                          <a:pt x="411" y="187"/>
                        </a:cubicBezTo>
                        <a:cubicBezTo>
                          <a:pt x="408" y="190"/>
                          <a:pt x="407" y="193"/>
                          <a:pt x="408" y="193"/>
                        </a:cubicBezTo>
                        <a:cubicBezTo>
                          <a:pt x="405" y="195"/>
                          <a:pt x="401" y="199"/>
                          <a:pt x="399" y="199"/>
                        </a:cubicBezTo>
                        <a:cubicBezTo>
                          <a:pt x="400" y="198"/>
                          <a:pt x="400" y="198"/>
                          <a:pt x="400" y="198"/>
                        </a:cubicBezTo>
                        <a:cubicBezTo>
                          <a:pt x="393" y="205"/>
                          <a:pt x="386" y="207"/>
                          <a:pt x="382" y="214"/>
                        </a:cubicBezTo>
                        <a:cubicBezTo>
                          <a:pt x="381" y="214"/>
                          <a:pt x="381" y="214"/>
                          <a:pt x="382" y="213"/>
                        </a:cubicBezTo>
                        <a:cubicBezTo>
                          <a:pt x="378" y="217"/>
                          <a:pt x="378" y="217"/>
                          <a:pt x="378" y="217"/>
                        </a:cubicBezTo>
                        <a:cubicBezTo>
                          <a:pt x="378" y="215"/>
                          <a:pt x="378" y="215"/>
                          <a:pt x="378" y="215"/>
                        </a:cubicBezTo>
                        <a:cubicBezTo>
                          <a:pt x="372" y="223"/>
                          <a:pt x="372" y="223"/>
                          <a:pt x="372" y="223"/>
                        </a:cubicBezTo>
                        <a:cubicBezTo>
                          <a:pt x="372" y="223"/>
                          <a:pt x="372" y="223"/>
                          <a:pt x="372" y="223"/>
                        </a:cubicBezTo>
                        <a:cubicBezTo>
                          <a:pt x="367" y="227"/>
                          <a:pt x="360" y="235"/>
                          <a:pt x="354" y="241"/>
                        </a:cubicBezTo>
                        <a:cubicBezTo>
                          <a:pt x="355" y="240"/>
                          <a:pt x="355" y="240"/>
                          <a:pt x="355" y="240"/>
                        </a:cubicBezTo>
                        <a:cubicBezTo>
                          <a:pt x="349" y="247"/>
                          <a:pt x="348" y="246"/>
                          <a:pt x="344" y="251"/>
                        </a:cubicBezTo>
                        <a:cubicBezTo>
                          <a:pt x="344" y="251"/>
                          <a:pt x="344" y="251"/>
                          <a:pt x="344" y="250"/>
                        </a:cubicBezTo>
                        <a:cubicBezTo>
                          <a:pt x="340" y="255"/>
                          <a:pt x="340" y="255"/>
                          <a:pt x="340" y="255"/>
                        </a:cubicBezTo>
                        <a:cubicBezTo>
                          <a:pt x="340" y="253"/>
                          <a:pt x="340" y="253"/>
                          <a:pt x="340" y="253"/>
                        </a:cubicBezTo>
                        <a:cubicBezTo>
                          <a:pt x="338" y="258"/>
                          <a:pt x="331" y="262"/>
                          <a:pt x="333" y="260"/>
                        </a:cubicBezTo>
                        <a:cubicBezTo>
                          <a:pt x="332" y="263"/>
                          <a:pt x="329" y="266"/>
                          <a:pt x="329" y="267"/>
                        </a:cubicBezTo>
                        <a:cubicBezTo>
                          <a:pt x="325" y="272"/>
                          <a:pt x="328" y="268"/>
                          <a:pt x="325" y="271"/>
                        </a:cubicBezTo>
                        <a:cubicBezTo>
                          <a:pt x="321" y="274"/>
                          <a:pt x="322" y="276"/>
                          <a:pt x="317" y="280"/>
                        </a:cubicBezTo>
                        <a:cubicBezTo>
                          <a:pt x="317" y="280"/>
                          <a:pt x="317" y="280"/>
                          <a:pt x="317" y="280"/>
                        </a:cubicBezTo>
                        <a:cubicBezTo>
                          <a:pt x="315" y="282"/>
                          <a:pt x="314" y="284"/>
                          <a:pt x="311" y="287"/>
                        </a:cubicBezTo>
                        <a:cubicBezTo>
                          <a:pt x="312" y="286"/>
                          <a:pt x="312" y="286"/>
                          <a:pt x="312" y="286"/>
                        </a:cubicBezTo>
                        <a:cubicBezTo>
                          <a:pt x="308" y="292"/>
                          <a:pt x="305" y="291"/>
                          <a:pt x="303" y="297"/>
                        </a:cubicBezTo>
                        <a:cubicBezTo>
                          <a:pt x="301" y="299"/>
                          <a:pt x="298" y="304"/>
                          <a:pt x="297" y="303"/>
                        </a:cubicBezTo>
                        <a:cubicBezTo>
                          <a:pt x="283" y="322"/>
                          <a:pt x="283" y="322"/>
                          <a:pt x="283" y="322"/>
                        </a:cubicBezTo>
                        <a:cubicBezTo>
                          <a:pt x="281" y="322"/>
                          <a:pt x="282" y="324"/>
                          <a:pt x="278" y="327"/>
                        </a:cubicBezTo>
                        <a:cubicBezTo>
                          <a:pt x="279" y="328"/>
                          <a:pt x="279" y="328"/>
                          <a:pt x="279" y="328"/>
                        </a:cubicBezTo>
                        <a:cubicBezTo>
                          <a:pt x="272" y="337"/>
                          <a:pt x="262" y="347"/>
                          <a:pt x="254" y="358"/>
                        </a:cubicBezTo>
                        <a:cubicBezTo>
                          <a:pt x="253" y="357"/>
                          <a:pt x="253" y="357"/>
                          <a:pt x="253" y="357"/>
                        </a:cubicBezTo>
                        <a:cubicBezTo>
                          <a:pt x="252" y="360"/>
                          <a:pt x="252" y="360"/>
                          <a:pt x="252" y="360"/>
                        </a:cubicBezTo>
                        <a:cubicBezTo>
                          <a:pt x="244" y="372"/>
                          <a:pt x="233" y="387"/>
                          <a:pt x="226" y="396"/>
                        </a:cubicBezTo>
                        <a:cubicBezTo>
                          <a:pt x="225" y="400"/>
                          <a:pt x="223" y="405"/>
                          <a:pt x="219" y="410"/>
                        </a:cubicBezTo>
                        <a:cubicBezTo>
                          <a:pt x="219" y="409"/>
                          <a:pt x="219" y="409"/>
                          <a:pt x="219" y="409"/>
                        </a:cubicBezTo>
                        <a:cubicBezTo>
                          <a:pt x="214" y="418"/>
                          <a:pt x="209" y="428"/>
                          <a:pt x="202" y="437"/>
                        </a:cubicBezTo>
                        <a:cubicBezTo>
                          <a:pt x="202" y="436"/>
                          <a:pt x="202" y="437"/>
                          <a:pt x="202" y="436"/>
                        </a:cubicBezTo>
                        <a:cubicBezTo>
                          <a:pt x="202" y="439"/>
                          <a:pt x="199" y="442"/>
                          <a:pt x="197" y="444"/>
                        </a:cubicBezTo>
                        <a:cubicBezTo>
                          <a:pt x="200" y="442"/>
                          <a:pt x="200" y="442"/>
                          <a:pt x="200" y="442"/>
                        </a:cubicBezTo>
                        <a:cubicBezTo>
                          <a:pt x="199" y="445"/>
                          <a:pt x="196" y="448"/>
                          <a:pt x="194" y="449"/>
                        </a:cubicBezTo>
                        <a:cubicBezTo>
                          <a:pt x="192" y="454"/>
                          <a:pt x="192" y="454"/>
                          <a:pt x="192" y="454"/>
                        </a:cubicBezTo>
                        <a:cubicBezTo>
                          <a:pt x="192" y="455"/>
                          <a:pt x="192" y="455"/>
                          <a:pt x="192" y="455"/>
                        </a:cubicBezTo>
                        <a:cubicBezTo>
                          <a:pt x="192" y="456"/>
                          <a:pt x="192" y="456"/>
                          <a:pt x="192" y="456"/>
                        </a:cubicBezTo>
                        <a:cubicBezTo>
                          <a:pt x="189" y="458"/>
                          <a:pt x="189" y="458"/>
                          <a:pt x="189" y="458"/>
                        </a:cubicBezTo>
                        <a:cubicBezTo>
                          <a:pt x="189" y="459"/>
                          <a:pt x="186" y="465"/>
                          <a:pt x="186" y="467"/>
                        </a:cubicBezTo>
                        <a:cubicBezTo>
                          <a:pt x="185" y="467"/>
                          <a:pt x="182" y="471"/>
                          <a:pt x="184" y="468"/>
                        </a:cubicBezTo>
                        <a:cubicBezTo>
                          <a:pt x="175" y="484"/>
                          <a:pt x="175" y="484"/>
                          <a:pt x="175" y="484"/>
                        </a:cubicBezTo>
                        <a:cubicBezTo>
                          <a:pt x="176" y="482"/>
                          <a:pt x="176" y="482"/>
                          <a:pt x="176" y="482"/>
                        </a:cubicBezTo>
                        <a:cubicBezTo>
                          <a:pt x="178" y="482"/>
                          <a:pt x="175" y="487"/>
                          <a:pt x="174" y="489"/>
                        </a:cubicBezTo>
                        <a:cubicBezTo>
                          <a:pt x="175" y="486"/>
                          <a:pt x="172" y="488"/>
                          <a:pt x="171" y="490"/>
                        </a:cubicBezTo>
                        <a:cubicBezTo>
                          <a:pt x="170" y="492"/>
                          <a:pt x="173" y="488"/>
                          <a:pt x="173" y="489"/>
                        </a:cubicBezTo>
                        <a:cubicBezTo>
                          <a:pt x="172" y="493"/>
                          <a:pt x="169" y="499"/>
                          <a:pt x="168" y="500"/>
                        </a:cubicBezTo>
                        <a:cubicBezTo>
                          <a:pt x="168" y="498"/>
                          <a:pt x="168" y="498"/>
                          <a:pt x="168" y="498"/>
                        </a:cubicBezTo>
                        <a:cubicBezTo>
                          <a:pt x="167" y="502"/>
                          <a:pt x="164" y="503"/>
                          <a:pt x="162" y="507"/>
                        </a:cubicBezTo>
                        <a:cubicBezTo>
                          <a:pt x="161" y="511"/>
                          <a:pt x="159" y="513"/>
                          <a:pt x="161" y="513"/>
                        </a:cubicBezTo>
                        <a:cubicBezTo>
                          <a:pt x="159" y="518"/>
                          <a:pt x="159" y="514"/>
                          <a:pt x="158" y="516"/>
                        </a:cubicBezTo>
                        <a:cubicBezTo>
                          <a:pt x="158" y="518"/>
                          <a:pt x="154" y="525"/>
                          <a:pt x="153" y="525"/>
                        </a:cubicBezTo>
                        <a:cubicBezTo>
                          <a:pt x="153" y="529"/>
                          <a:pt x="145" y="538"/>
                          <a:pt x="147" y="540"/>
                        </a:cubicBezTo>
                        <a:cubicBezTo>
                          <a:pt x="143" y="544"/>
                          <a:pt x="143" y="544"/>
                          <a:pt x="143" y="544"/>
                        </a:cubicBezTo>
                        <a:cubicBezTo>
                          <a:pt x="144" y="544"/>
                          <a:pt x="145" y="545"/>
                          <a:pt x="143" y="549"/>
                        </a:cubicBezTo>
                        <a:cubicBezTo>
                          <a:pt x="141" y="552"/>
                          <a:pt x="141" y="551"/>
                          <a:pt x="140" y="551"/>
                        </a:cubicBezTo>
                        <a:cubicBezTo>
                          <a:pt x="141" y="554"/>
                          <a:pt x="141" y="554"/>
                          <a:pt x="141" y="554"/>
                        </a:cubicBezTo>
                        <a:cubicBezTo>
                          <a:pt x="130" y="571"/>
                          <a:pt x="121" y="596"/>
                          <a:pt x="111" y="615"/>
                        </a:cubicBezTo>
                        <a:cubicBezTo>
                          <a:pt x="107" y="624"/>
                          <a:pt x="104" y="636"/>
                          <a:pt x="99" y="647"/>
                        </a:cubicBezTo>
                        <a:cubicBezTo>
                          <a:pt x="100" y="645"/>
                          <a:pt x="100" y="645"/>
                          <a:pt x="100" y="645"/>
                        </a:cubicBezTo>
                        <a:cubicBezTo>
                          <a:pt x="95" y="656"/>
                          <a:pt x="95" y="656"/>
                          <a:pt x="95" y="656"/>
                        </a:cubicBezTo>
                        <a:cubicBezTo>
                          <a:pt x="99" y="648"/>
                          <a:pt x="99" y="648"/>
                          <a:pt x="99" y="648"/>
                        </a:cubicBezTo>
                        <a:cubicBezTo>
                          <a:pt x="98" y="651"/>
                          <a:pt x="98" y="653"/>
                          <a:pt x="97" y="655"/>
                        </a:cubicBezTo>
                        <a:cubicBezTo>
                          <a:pt x="92" y="666"/>
                          <a:pt x="85" y="681"/>
                          <a:pt x="81" y="696"/>
                        </a:cubicBezTo>
                        <a:cubicBezTo>
                          <a:pt x="80" y="706"/>
                          <a:pt x="77" y="702"/>
                          <a:pt x="76" y="711"/>
                        </a:cubicBezTo>
                        <a:cubicBezTo>
                          <a:pt x="76" y="710"/>
                          <a:pt x="76" y="710"/>
                          <a:pt x="76" y="709"/>
                        </a:cubicBezTo>
                        <a:cubicBezTo>
                          <a:pt x="73" y="719"/>
                          <a:pt x="72" y="725"/>
                          <a:pt x="70" y="735"/>
                        </a:cubicBezTo>
                        <a:cubicBezTo>
                          <a:pt x="68" y="733"/>
                          <a:pt x="68" y="741"/>
                          <a:pt x="67" y="740"/>
                        </a:cubicBezTo>
                        <a:cubicBezTo>
                          <a:pt x="68" y="741"/>
                          <a:pt x="68" y="741"/>
                          <a:pt x="68" y="741"/>
                        </a:cubicBezTo>
                        <a:cubicBezTo>
                          <a:pt x="67" y="743"/>
                          <a:pt x="65" y="748"/>
                          <a:pt x="65" y="747"/>
                        </a:cubicBezTo>
                        <a:cubicBezTo>
                          <a:pt x="64" y="752"/>
                          <a:pt x="64" y="752"/>
                          <a:pt x="64" y="752"/>
                        </a:cubicBezTo>
                        <a:cubicBezTo>
                          <a:pt x="63" y="752"/>
                          <a:pt x="63" y="752"/>
                          <a:pt x="63" y="752"/>
                        </a:cubicBezTo>
                        <a:cubicBezTo>
                          <a:pt x="62" y="757"/>
                          <a:pt x="59" y="770"/>
                          <a:pt x="56" y="772"/>
                        </a:cubicBezTo>
                        <a:cubicBezTo>
                          <a:pt x="53" y="787"/>
                          <a:pt x="47" y="809"/>
                          <a:pt x="42" y="827"/>
                        </a:cubicBezTo>
                        <a:cubicBezTo>
                          <a:pt x="43" y="830"/>
                          <a:pt x="41" y="835"/>
                          <a:pt x="40" y="839"/>
                        </a:cubicBezTo>
                        <a:cubicBezTo>
                          <a:pt x="38" y="844"/>
                          <a:pt x="38" y="844"/>
                          <a:pt x="38" y="844"/>
                        </a:cubicBezTo>
                        <a:cubicBezTo>
                          <a:pt x="38" y="848"/>
                          <a:pt x="38" y="853"/>
                          <a:pt x="36" y="856"/>
                        </a:cubicBezTo>
                        <a:cubicBezTo>
                          <a:pt x="36" y="856"/>
                          <a:pt x="36" y="856"/>
                          <a:pt x="36" y="856"/>
                        </a:cubicBezTo>
                        <a:cubicBezTo>
                          <a:pt x="36" y="860"/>
                          <a:pt x="34" y="864"/>
                          <a:pt x="34" y="868"/>
                        </a:cubicBezTo>
                        <a:cubicBezTo>
                          <a:pt x="33" y="873"/>
                          <a:pt x="32" y="877"/>
                          <a:pt x="31" y="876"/>
                        </a:cubicBezTo>
                        <a:cubicBezTo>
                          <a:pt x="33" y="877"/>
                          <a:pt x="29" y="886"/>
                          <a:pt x="29" y="886"/>
                        </a:cubicBezTo>
                        <a:cubicBezTo>
                          <a:pt x="29" y="886"/>
                          <a:pt x="15" y="946"/>
                          <a:pt x="7" y="1014"/>
                        </a:cubicBezTo>
                        <a:cubicBezTo>
                          <a:pt x="3" y="1049"/>
                          <a:pt x="1" y="1085"/>
                          <a:pt x="0" y="1116"/>
                        </a:cubicBezTo>
                        <a:cubicBezTo>
                          <a:pt x="0" y="1148"/>
                          <a:pt x="1" y="1175"/>
                          <a:pt x="4" y="1189"/>
                        </a:cubicBezTo>
                        <a:cubicBezTo>
                          <a:pt x="5" y="1191"/>
                          <a:pt x="5" y="1197"/>
                          <a:pt x="6" y="1195"/>
                        </a:cubicBezTo>
                        <a:cubicBezTo>
                          <a:pt x="7" y="1199"/>
                          <a:pt x="5" y="1201"/>
                          <a:pt x="6" y="1202"/>
                        </a:cubicBezTo>
                        <a:cubicBezTo>
                          <a:pt x="7" y="1196"/>
                          <a:pt x="9" y="1204"/>
                          <a:pt x="10" y="1198"/>
                        </a:cubicBezTo>
                        <a:cubicBezTo>
                          <a:pt x="10" y="1202"/>
                          <a:pt x="10" y="1202"/>
                          <a:pt x="10" y="1202"/>
                        </a:cubicBezTo>
                        <a:cubicBezTo>
                          <a:pt x="11" y="1203"/>
                          <a:pt x="9" y="1197"/>
                          <a:pt x="11" y="1198"/>
                        </a:cubicBezTo>
                        <a:cubicBezTo>
                          <a:pt x="9" y="1197"/>
                          <a:pt x="9" y="1197"/>
                          <a:pt x="9" y="1197"/>
                        </a:cubicBezTo>
                        <a:cubicBezTo>
                          <a:pt x="9" y="1194"/>
                          <a:pt x="9" y="1192"/>
                          <a:pt x="10" y="1191"/>
                        </a:cubicBezTo>
                        <a:cubicBezTo>
                          <a:pt x="9" y="1188"/>
                          <a:pt x="7" y="1186"/>
                          <a:pt x="8" y="1180"/>
                        </a:cubicBezTo>
                        <a:cubicBezTo>
                          <a:pt x="8" y="1182"/>
                          <a:pt x="8" y="1182"/>
                          <a:pt x="8" y="1182"/>
                        </a:cubicBezTo>
                        <a:cubicBezTo>
                          <a:pt x="8" y="1176"/>
                          <a:pt x="9" y="1178"/>
                          <a:pt x="10" y="1177"/>
                        </a:cubicBezTo>
                        <a:cubicBezTo>
                          <a:pt x="10" y="1178"/>
                          <a:pt x="10" y="1178"/>
                          <a:pt x="10" y="1178"/>
                        </a:cubicBezTo>
                        <a:cubicBezTo>
                          <a:pt x="11" y="1174"/>
                          <a:pt x="11" y="1174"/>
                          <a:pt x="11" y="1174"/>
                        </a:cubicBezTo>
                        <a:cubicBezTo>
                          <a:pt x="10" y="1177"/>
                          <a:pt x="11" y="1183"/>
                          <a:pt x="11" y="1180"/>
                        </a:cubicBezTo>
                        <a:cubicBezTo>
                          <a:pt x="12" y="1174"/>
                          <a:pt x="11" y="1182"/>
                          <a:pt x="11" y="1177"/>
                        </a:cubicBezTo>
                        <a:cubicBezTo>
                          <a:pt x="11" y="1174"/>
                          <a:pt x="12" y="1175"/>
                          <a:pt x="12" y="1175"/>
                        </a:cubicBezTo>
                        <a:cubicBezTo>
                          <a:pt x="12" y="1170"/>
                          <a:pt x="12" y="1170"/>
                          <a:pt x="12" y="1170"/>
                        </a:cubicBezTo>
                        <a:cubicBezTo>
                          <a:pt x="13" y="1170"/>
                          <a:pt x="12" y="1173"/>
                          <a:pt x="13" y="1171"/>
                        </a:cubicBezTo>
                        <a:cubicBezTo>
                          <a:pt x="12" y="1164"/>
                          <a:pt x="12" y="1164"/>
                          <a:pt x="12" y="1164"/>
                        </a:cubicBezTo>
                        <a:cubicBezTo>
                          <a:pt x="14" y="1163"/>
                          <a:pt x="11" y="1157"/>
                          <a:pt x="13" y="1154"/>
                        </a:cubicBezTo>
                        <a:cubicBezTo>
                          <a:pt x="14" y="1159"/>
                          <a:pt x="14" y="1153"/>
                          <a:pt x="15" y="1154"/>
                        </a:cubicBezTo>
                        <a:cubicBezTo>
                          <a:pt x="15" y="1142"/>
                          <a:pt x="15" y="1142"/>
                          <a:pt x="15" y="1142"/>
                        </a:cubicBezTo>
                        <a:cubicBezTo>
                          <a:pt x="16" y="1141"/>
                          <a:pt x="16" y="1145"/>
                          <a:pt x="16" y="1144"/>
                        </a:cubicBezTo>
                        <a:cubicBezTo>
                          <a:pt x="16" y="1141"/>
                          <a:pt x="15" y="1140"/>
                          <a:pt x="15" y="1139"/>
                        </a:cubicBezTo>
                        <a:cubicBezTo>
                          <a:pt x="16" y="1138"/>
                          <a:pt x="16" y="1130"/>
                          <a:pt x="17" y="1130"/>
                        </a:cubicBezTo>
                        <a:cubicBezTo>
                          <a:pt x="19" y="1122"/>
                          <a:pt x="15" y="1127"/>
                          <a:pt x="17" y="1119"/>
                        </a:cubicBezTo>
                        <a:cubicBezTo>
                          <a:pt x="18" y="1118"/>
                          <a:pt x="17" y="1125"/>
                          <a:pt x="18" y="1122"/>
                        </a:cubicBezTo>
                        <a:cubicBezTo>
                          <a:pt x="18" y="1114"/>
                          <a:pt x="18" y="1114"/>
                          <a:pt x="18" y="1114"/>
                        </a:cubicBezTo>
                        <a:cubicBezTo>
                          <a:pt x="18" y="1115"/>
                          <a:pt x="19" y="1116"/>
                          <a:pt x="19" y="1119"/>
                        </a:cubicBezTo>
                        <a:cubicBezTo>
                          <a:pt x="21" y="1098"/>
                          <a:pt x="26" y="1087"/>
                          <a:pt x="27" y="1067"/>
                        </a:cubicBezTo>
                        <a:cubicBezTo>
                          <a:pt x="28" y="1065"/>
                          <a:pt x="27" y="1069"/>
                          <a:pt x="28" y="1071"/>
                        </a:cubicBezTo>
                        <a:cubicBezTo>
                          <a:pt x="28" y="1057"/>
                          <a:pt x="32" y="1052"/>
                          <a:pt x="33" y="1040"/>
                        </a:cubicBezTo>
                        <a:cubicBezTo>
                          <a:pt x="32" y="1040"/>
                          <a:pt x="32" y="1040"/>
                          <a:pt x="32" y="1040"/>
                        </a:cubicBezTo>
                        <a:cubicBezTo>
                          <a:pt x="36" y="1024"/>
                          <a:pt x="37" y="1004"/>
                          <a:pt x="41" y="986"/>
                        </a:cubicBezTo>
                        <a:cubicBezTo>
                          <a:pt x="40" y="988"/>
                          <a:pt x="40" y="988"/>
                          <a:pt x="40" y="988"/>
                        </a:cubicBezTo>
                        <a:cubicBezTo>
                          <a:pt x="39" y="985"/>
                          <a:pt x="40" y="981"/>
                          <a:pt x="40" y="978"/>
                        </a:cubicBezTo>
                        <a:cubicBezTo>
                          <a:pt x="40" y="977"/>
                          <a:pt x="41" y="980"/>
                          <a:pt x="42" y="975"/>
                        </a:cubicBezTo>
                        <a:cubicBezTo>
                          <a:pt x="41" y="976"/>
                          <a:pt x="41" y="978"/>
                          <a:pt x="40" y="977"/>
                        </a:cubicBezTo>
                        <a:cubicBezTo>
                          <a:pt x="45" y="962"/>
                          <a:pt x="50" y="928"/>
                          <a:pt x="56" y="903"/>
                        </a:cubicBezTo>
                        <a:cubicBezTo>
                          <a:pt x="62" y="868"/>
                          <a:pt x="72" y="831"/>
                          <a:pt x="81" y="797"/>
                        </a:cubicBezTo>
                        <a:cubicBezTo>
                          <a:pt x="79" y="802"/>
                          <a:pt x="78" y="799"/>
                          <a:pt x="79" y="796"/>
                        </a:cubicBezTo>
                        <a:cubicBezTo>
                          <a:pt x="86" y="786"/>
                          <a:pt x="84" y="777"/>
                          <a:pt x="89" y="767"/>
                        </a:cubicBezTo>
                        <a:cubicBezTo>
                          <a:pt x="94" y="747"/>
                          <a:pt x="103" y="731"/>
                          <a:pt x="106" y="712"/>
                        </a:cubicBezTo>
                        <a:cubicBezTo>
                          <a:pt x="107" y="712"/>
                          <a:pt x="107" y="712"/>
                          <a:pt x="107" y="712"/>
                        </a:cubicBezTo>
                        <a:cubicBezTo>
                          <a:pt x="108" y="710"/>
                          <a:pt x="108" y="709"/>
                          <a:pt x="109" y="706"/>
                        </a:cubicBezTo>
                        <a:cubicBezTo>
                          <a:pt x="109" y="706"/>
                          <a:pt x="109" y="706"/>
                          <a:pt x="109" y="706"/>
                        </a:cubicBezTo>
                        <a:cubicBezTo>
                          <a:pt x="112" y="700"/>
                          <a:pt x="113" y="691"/>
                          <a:pt x="115" y="688"/>
                        </a:cubicBezTo>
                        <a:cubicBezTo>
                          <a:pt x="114" y="687"/>
                          <a:pt x="114" y="687"/>
                          <a:pt x="114" y="687"/>
                        </a:cubicBezTo>
                        <a:cubicBezTo>
                          <a:pt x="116" y="683"/>
                          <a:pt x="116" y="685"/>
                          <a:pt x="117" y="681"/>
                        </a:cubicBezTo>
                        <a:cubicBezTo>
                          <a:pt x="117" y="681"/>
                          <a:pt x="117" y="681"/>
                          <a:pt x="117" y="681"/>
                        </a:cubicBezTo>
                        <a:cubicBezTo>
                          <a:pt x="118" y="676"/>
                          <a:pt x="118" y="676"/>
                          <a:pt x="118" y="676"/>
                        </a:cubicBezTo>
                        <a:cubicBezTo>
                          <a:pt x="120" y="677"/>
                          <a:pt x="122" y="665"/>
                          <a:pt x="124" y="663"/>
                        </a:cubicBezTo>
                        <a:cubicBezTo>
                          <a:pt x="126" y="657"/>
                          <a:pt x="129" y="648"/>
                          <a:pt x="132" y="640"/>
                        </a:cubicBezTo>
                        <a:cubicBezTo>
                          <a:pt x="134" y="639"/>
                          <a:pt x="137" y="630"/>
                          <a:pt x="140" y="624"/>
                        </a:cubicBezTo>
                        <a:cubicBezTo>
                          <a:pt x="145" y="613"/>
                          <a:pt x="151" y="596"/>
                          <a:pt x="158" y="582"/>
                        </a:cubicBezTo>
                        <a:cubicBezTo>
                          <a:pt x="157" y="582"/>
                          <a:pt x="157" y="582"/>
                          <a:pt x="157" y="582"/>
                        </a:cubicBezTo>
                        <a:cubicBezTo>
                          <a:pt x="159" y="578"/>
                          <a:pt x="159" y="578"/>
                          <a:pt x="159" y="578"/>
                        </a:cubicBezTo>
                        <a:cubicBezTo>
                          <a:pt x="159" y="578"/>
                          <a:pt x="159" y="578"/>
                          <a:pt x="159" y="578"/>
                        </a:cubicBezTo>
                        <a:cubicBezTo>
                          <a:pt x="162" y="576"/>
                          <a:pt x="163" y="569"/>
                          <a:pt x="165" y="567"/>
                        </a:cubicBezTo>
                        <a:cubicBezTo>
                          <a:pt x="163" y="568"/>
                          <a:pt x="164" y="569"/>
                          <a:pt x="163" y="572"/>
                        </a:cubicBezTo>
                        <a:cubicBezTo>
                          <a:pt x="161" y="574"/>
                          <a:pt x="161" y="571"/>
                          <a:pt x="163" y="567"/>
                        </a:cubicBezTo>
                        <a:cubicBezTo>
                          <a:pt x="164" y="567"/>
                          <a:pt x="164" y="567"/>
                          <a:pt x="164" y="567"/>
                        </a:cubicBezTo>
                        <a:cubicBezTo>
                          <a:pt x="164" y="564"/>
                          <a:pt x="164" y="564"/>
                          <a:pt x="164" y="564"/>
                        </a:cubicBezTo>
                        <a:cubicBezTo>
                          <a:pt x="165" y="564"/>
                          <a:pt x="167" y="562"/>
                          <a:pt x="168" y="562"/>
                        </a:cubicBezTo>
                        <a:cubicBezTo>
                          <a:pt x="174" y="550"/>
                          <a:pt x="176" y="541"/>
                          <a:pt x="183" y="528"/>
                        </a:cubicBezTo>
                        <a:cubicBezTo>
                          <a:pt x="183" y="530"/>
                          <a:pt x="187" y="519"/>
                          <a:pt x="188" y="523"/>
                        </a:cubicBezTo>
                        <a:cubicBezTo>
                          <a:pt x="191" y="515"/>
                          <a:pt x="186" y="523"/>
                          <a:pt x="186" y="519"/>
                        </a:cubicBezTo>
                        <a:cubicBezTo>
                          <a:pt x="188" y="517"/>
                          <a:pt x="188" y="515"/>
                          <a:pt x="189" y="515"/>
                        </a:cubicBezTo>
                        <a:cubicBezTo>
                          <a:pt x="189" y="516"/>
                          <a:pt x="191" y="513"/>
                          <a:pt x="190" y="515"/>
                        </a:cubicBezTo>
                        <a:cubicBezTo>
                          <a:pt x="193" y="510"/>
                          <a:pt x="193" y="510"/>
                          <a:pt x="193" y="510"/>
                        </a:cubicBezTo>
                        <a:cubicBezTo>
                          <a:pt x="193" y="510"/>
                          <a:pt x="193" y="511"/>
                          <a:pt x="193" y="512"/>
                        </a:cubicBezTo>
                        <a:cubicBezTo>
                          <a:pt x="197" y="501"/>
                          <a:pt x="203" y="494"/>
                          <a:pt x="207" y="485"/>
                        </a:cubicBezTo>
                        <a:cubicBezTo>
                          <a:pt x="207" y="484"/>
                          <a:pt x="205" y="488"/>
                          <a:pt x="205" y="487"/>
                        </a:cubicBezTo>
                        <a:cubicBezTo>
                          <a:pt x="209" y="478"/>
                          <a:pt x="211" y="480"/>
                          <a:pt x="215" y="471"/>
                        </a:cubicBezTo>
                        <a:cubicBezTo>
                          <a:pt x="214" y="473"/>
                          <a:pt x="214" y="473"/>
                          <a:pt x="214" y="473"/>
                        </a:cubicBezTo>
                        <a:cubicBezTo>
                          <a:pt x="215" y="470"/>
                          <a:pt x="215" y="469"/>
                          <a:pt x="219" y="465"/>
                        </a:cubicBezTo>
                        <a:cubicBezTo>
                          <a:pt x="220" y="465"/>
                          <a:pt x="217" y="469"/>
                          <a:pt x="216" y="471"/>
                        </a:cubicBezTo>
                        <a:cubicBezTo>
                          <a:pt x="218" y="468"/>
                          <a:pt x="223" y="461"/>
                          <a:pt x="220" y="462"/>
                        </a:cubicBezTo>
                        <a:cubicBezTo>
                          <a:pt x="222" y="459"/>
                          <a:pt x="224" y="458"/>
                          <a:pt x="225" y="456"/>
                        </a:cubicBezTo>
                        <a:cubicBezTo>
                          <a:pt x="225" y="456"/>
                          <a:pt x="223" y="459"/>
                          <a:pt x="223" y="457"/>
                        </a:cubicBezTo>
                        <a:cubicBezTo>
                          <a:pt x="227" y="452"/>
                          <a:pt x="231" y="444"/>
                          <a:pt x="235" y="439"/>
                        </a:cubicBezTo>
                        <a:cubicBezTo>
                          <a:pt x="235" y="439"/>
                          <a:pt x="236" y="439"/>
                          <a:pt x="236" y="439"/>
                        </a:cubicBezTo>
                        <a:cubicBezTo>
                          <a:pt x="238" y="434"/>
                          <a:pt x="239" y="436"/>
                          <a:pt x="243" y="429"/>
                        </a:cubicBezTo>
                        <a:close/>
                      </a:path>
                    </a:pathLst>
                  </a:custGeom>
                  <a:solidFill>
                    <a:schemeClr val="bg1">
                      <a:lumMod val="85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3" name="Freeform 156"/>
                  <p:cNvSpPr/>
                  <p:nvPr/>
                </p:nvSpPr>
                <p:spPr bwMode="auto">
                  <a:xfrm>
                    <a:off x="7526338" y="2025650"/>
                    <a:ext cx="7937" cy="7938"/>
                  </a:xfrm>
                  <a:custGeom>
                    <a:avLst/>
                    <a:gdLst/>
                    <a:ahLst/>
                    <a:cxnLst>
                      <a:cxn ang="0">
                        <a:pos x="3" y="0"/>
                      </a:cxn>
                      <a:cxn ang="0">
                        <a:pos x="0" y="1"/>
                      </a:cxn>
                      <a:cxn ang="0">
                        <a:pos x="0" y="3"/>
                      </a:cxn>
                      <a:cxn ang="0">
                        <a:pos x="3" y="0"/>
                      </a:cxn>
                    </a:cxnLst>
                    <a:rect l="0" t="0" r="r" b="b"/>
                    <a:pathLst>
                      <a:path w="3" h="3">
                        <a:moveTo>
                          <a:pt x="3" y="0"/>
                        </a:moveTo>
                        <a:cubicBezTo>
                          <a:pt x="0" y="1"/>
                          <a:pt x="0" y="1"/>
                          <a:pt x="0" y="1"/>
                        </a:cubicBezTo>
                        <a:cubicBezTo>
                          <a:pt x="1" y="2"/>
                          <a:pt x="1" y="2"/>
                          <a:pt x="0" y="3"/>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4" name="Freeform 157"/>
                  <p:cNvSpPr/>
                  <p:nvPr/>
                </p:nvSpPr>
                <p:spPr bwMode="auto">
                  <a:xfrm>
                    <a:off x="7278688" y="2239963"/>
                    <a:ext cx="1587" cy="1588"/>
                  </a:xfrm>
                  <a:custGeom>
                    <a:avLst/>
                    <a:gdLst/>
                    <a:ahLst/>
                    <a:cxnLst>
                      <a:cxn ang="0">
                        <a:pos x="0" y="0"/>
                      </a:cxn>
                      <a:cxn ang="0">
                        <a:pos x="0" y="1"/>
                      </a:cxn>
                      <a:cxn ang="0">
                        <a:pos x="0" y="0"/>
                      </a:cxn>
                    </a:cxnLst>
                    <a:rect l="0" t="0" r="r" b="b"/>
                    <a:pathLst>
                      <a:path h="1">
                        <a:moveTo>
                          <a:pt x="0" y="0"/>
                        </a:moveTo>
                        <a:cubicBezTo>
                          <a:pt x="0" y="0"/>
                          <a:pt x="0" y="1"/>
                          <a:pt x="0" y="1"/>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5" name="Freeform 158"/>
                  <p:cNvSpPr/>
                  <p:nvPr/>
                </p:nvSpPr>
                <p:spPr bwMode="auto">
                  <a:xfrm>
                    <a:off x="7221538" y="2297113"/>
                    <a:ext cx="7937" cy="4763"/>
                  </a:xfrm>
                  <a:custGeom>
                    <a:avLst/>
                    <a:gdLst/>
                    <a:ahLst/>
                    <a:cxnLst>
                      <a:cxn ang="0">
                        <a:pos x="2" y="2"/>
                      </a:cxn>
                      <a:cxn ang="0">
                        <a:pos x="0" y="2"/>
                      </a:cxn>
                      <a:cxn ang="0">
                        <a:pos x="2" y="2"/>
                      </a:cxn>
                    </a:cxnLst>
                    <a:rect l="0" t="0" r="r" b="b"/>
                    <a:pathLst>
                      <a:path w="3" h="2">
                        <a:moveTo>
                          <a:pt x="2" y="2"/>
                        </a:moveTo>
                        <a:cubicBezTo>
                          <a:pt x="3" y="0"/>
                          <a:pt x="1" y="1"/>
                          <a:pt x="0" y="2"/>
                        </a:cubicBezTo>
                        <a:cubicBezTo>
                          <a:pt x="1" y="2"/>
                          <a:pt x="1" y="2"/>
                          <a:pt x="2"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6" name="Freeform 159"/>
                  <p:cNvSpPr/>
                  <p:nvPr/>
                </p:nvSpPr>
                <p:spPr bwMode="auto">
                  <a:xfrm>
                    <a:off x="7685088" y="1916113"/>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7" name="Freeform 160"/>
                  <p:cNvSpPr/>
                  <p:nvPr/>
                </p:nvSpPr>
                <p:spPr bwMode="auto">
                  <a:xfrm>
                    <a:off x="8167688" y="1717675"/>
                    <a:ext cx="1587"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8" name="Freeform 161"/>
                  <p:cNvSpPr/>
                  <p:nvPr/>
                </p:nvSpPr>
                <p:spPr bwMode="auto">
                  <a:xfrm>
                    <a:off x="8132763" y="1720850"/>
                    <a:ext cx="6350" cy="1588"/>
                  </a:xfrm>
                  <a:custGeom>
                    <a:avLst/>
                    <a:gdLst/>
                    <a:ahLst/>
                    <a:cxnLst>
                      <a:cxn ang="0">
                        <a:pos x="3" y="0"/>
                      </a:cxn>
                      <a:cxn ang="0">
                        <a:pos x="0" y="1"/>
                      </a:cxn>
                      <a:cxn ang="0">
                        <a:pos x="3" y="0"/>
                      </a:cxn>
                    </a:cxnLst>
                    <a:rect l="0" t="0" r="r" b="b"/>
                    <a:pathLst>
                      <a:path w="3" h="1">
                        <a:moveTo>
                          <a:pt x="3" y="0"/>
                        </a:moveTo>
                        <a:cubicBezTo>
                          <a:pt x="2" y="0"/>
                          <a:pt x="1" y="1"/>
                          <a:pt x="0" y="1"/>
                        </a:cubicBezTo>
                        <a:cubicBezTo>
                          <a:pt x="1" y="1"/>
                          <a:pt x="2" y="1"/>
                          <a:pt x="3"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79" name="Freeform 162"/>
                  <p:cNvSpPr/>
                  <p:nvPr/>
                </p:nvSpPr>
                <p:spPr bwMode="auto">
                  <a:xfrm>
                    <a:off x="7577138" y="1984375"/>
                    <a:ext cx="4762" cy="4763"/>
                  </a:xfrm>
                  <a:custGeom>
                    <a:avLst/>
                    <a:gdLst/>
                    <a:ahLst/>
                    <a:cxnLst>
                      <a:cxn ang="0">
                        <a:pos x="2" y="0"/>
                      </a:cxn>
                      <a:cxn ang="0">
                        <a:pos x="0" y="2"/>
                      </a:cxn>
                      <a:cxn ang="0">
                        <a:pos x="2" y="0"/>
                      </a:cxn>
                    </a:cxnLst>
                    <a:rect l="0" t="0" r="r" b="b"/>
                    <a:pathLst>
                      <a:path w="2" h="2">
                        <a:moveTo>
                          <a:pt x="2" y="0"/>
                        </a:moveTo>
                        <a:cubicBezTo>
                          <a:pt x="1" y="1"/>
                          <a:pt x="1" y="1"/>
                          <a:pt x="0" y="2"/>
                        </a:cubicBezTo>
                        <a:cubicBezTo>
                          <a:pt x="1" y="1"/>
                          <a:pt x="2"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0" name="Freeform 163"/>
                  <p:cNvSpPr/>
                  <p:nvPr/>
                </p:nvSpPr>
                <p:spPr bwMode="auto">
                  <a:xfrm>
                    <a:off x="8120063" y="1725613"/>
                    <a:ext cx="7937" cy="3175"/>
                  </a:xfrm>
                  <a:custGeom>
                    <a:avLst/>
                    <a:gdLst/>
                    <a:ahLst/>
                    <a:cxnLst>
                      <a:cxn ang="0">
                        <a:pos x="3" y="0"/>
                      </a:cxn>
                      <a:cxn ang="0">
                        <a:pos x="0" y="1"/>
                      </a:cxn>
                      <a:cxn ang="0">
                        <a:pos x="0" y="1"/>
                      </a:cxn>
                      <a:cxn ang="0">
                        <a:pos x="3" y="0"/>
                      </a:cxn>
                    </a:cxnLst>
                    <a:rect l="0" t="0" r="r" b="b"/>
                    <a:pathLst>
                      <a:path w="3" h="1">
                        <a:moveTo>
                          <a:pt x="3" y="0"/>
                        </a:moveTo>
                        <a:cubicBezTo>
                          <a:pt x="0" y="1"/>
                          <a:pt x="0" y="1"/>
                          <a:pt x="0" y="1"/>
                        </a:cubicBezTo>
                        <a:cubicBezTo>
                          <a:pt x="0" y="1"/>
                          <a:pt x="0" y="1"/>
                          <a:pt x="0" y="1"/>
                        </a:cubicBezTo>
                        <a:lnTo>
                          <a:pt x="3"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1" name="Freeform 164"/>
                  <p:cNvSpPr/>
                  <p:nvPr/>
                </p:nvSpPr>
                <p:spPr bwMode="auto">
                  <a:xfrm>
                    <a:off x="8167688" y="1716088"/>
                    <a:ext cx="9525" cy="1588"/>
                  </a:xfrm>
                  <a:custGeom>
                    <a:avLst/>
                    <a:gdLst/>
                    <a:ahLst/>
                    <a:cxnLst>
                      <a:cxn ang="0">
                        <a:pos x="4" y="0"/>
                      </a:cxn>
                      <a:cxn ang="0">
                        <a:pos x="0" y="1"/>
                      </a:cxn>
                      <a:cxn ang="0">
                        <a:pos x="4" y="0"/>
                      </a:cxn>
                    </a:cxnLst>
                    <a:rect l="0" t="0" r="r" b="b"/>
                    <a:pathLst>
                      <a:path w="4" h="1">
                        <a:moveTo>
                          <a:pt x="4" y="0"/>
                        </a:moveTo>
                        <a:cubicBezTo>
                          <a:pt x="3" y="1"/>
                          <a:pt x="1" y="1"/>
                          <a:pt x="0" y="1"/>
                        </a:cubicBezTo>
                        <a:cubicBezTo>
                          <a:pt x="2" y="1"/>
                          <a:pt x="3" y="1"/>
                          <a:pt x="4"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2" name="Freeform 165"/>
                  <p:cNvSpPr/>
                  <p:nvPr/>
                </p:nvSpPr>
                <p:spPr bwMode="auto">
                  <a:xfrm>
                    <a:off x="7850188" y="1822450"/>
                    <a:ext cx="4762" cy="4763"/>
                  </a:xfrm>
                  <a:custGeom>
                    <a:avLst/>
                    <a:gdLst/>
                    <a:ahLst/>
                    <a:cxnLst>
                      <a:cxn ang="0">
                        <a:pos x="2" y="0"/>
                      </a:cxn>
                      <a:cxn ang="0">
                        <a:pos x="2" y="1"/>
                      </a:cxn>
                      <a:cxn ang="0">
                        <a:pos x="2" y="0"/>
                      </a:cxn>
                    </a:cxnLst>
                    <a:rect l="0" t="0" r="r" b="b"/>
                    <a:pathLst>
                      <a:path w="2" h="2">
                        <a:moveTo>
                          <a:pt x="2" y="0"/>
                        </a:moveTo>
                        <a:cubicBezTo>
                          <a:pt x="2" y="1"/>
                          <a:pt x="2" y="1"/>
                          <a:pt x="2" y="1"/>
                        </a:cubicBezTo>
                        <a:cubicBezTo>
                          <a:pt x="0" y="2"/>
                          <a:pt x="1" y="1"/>
                          <a:pt x="2"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3" name="Freeform 166"/>
                  <p:cNvSpPr/>
                  <p:nvPr/>
                </p:nvSpPr>
                <p:spPr bwMode="auto">
                  <a:xfrm>
                    <a:off x="8094663" y="1738313"/>
                    <a:ext cx="3175" cy="1588"/>
                  </a:xfrm>
                  <a:custGeom>
                    <a:avLst/>
                    <a:gdLst/>
                    <a:ahLst/>
                    <a:cxnLst>
                      <a:cxn ang="0">
                        <a:pos x="2" y="0"/>
                      </a:cxn>
                      <a:cxn ang="0">
                        <a:pos x="2" y="0"/>
                      </a:cxn>
                      <a:cxn ang="0">
                        <a:pos x="0" y="1"/>
                      </a:cxn>
                      <a:cxn ang="0">
                        <a:pos x="2" y="0"/>
                      </a:cxn>
                    </a:cxnLst>
                    <a:rect l="0" t="0" r="r" b="b"/>
                    <a:pathLst>
                      <a:path w="2" h="1">
                        <a:moveTo>
                          <a:pt x="2" y="0"/>
                        </a:moveTo>
                        <a:lnTo>
                          <a:pt x="2" y="0"/>
                        </a:lnTo>
                        <a:lnTo>
                          <a:pt x="0" y="1"/>
                        </a:lnTo>
                        <a:lnTo>
                          <a:pt x="2" y="0"/>
                        </a:ln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4" name="Freeform 167"/>
                  <p:cNvSpPr/>
                  <p:nvPr/>
                </p:nvSpPr>
                <p:spPr bwMode="auto">
                  <a:xfrm>
                    <a:off x="8204200" y="1711325"/>
                    <a:ext cx="4762" cy="1588"/>
                  </a:xfrm>
                  <a:custGeom>
                    <a:avLst/>
                    <a:gdLst/>
                    <a:ahLst/>
                    <a:cxnLst>
                      <a:cxn ang="0">
                        <a:pos x="1" y="0"/>
                      </a:cxn>
                      <a:cxn ang="0">
                        <a:pos x="0" y="0"/>
                      </a:cxn>
                      <a:cxn ang="0">
                        <a:pos x="2" y="0"/>
                      </a:cxn>
                      <a:cxn ang="0">
                        <a:pos x="1" y="0"/>
                      </a:cxn>
                    </a:cxnLst>
                    <a:rect l="0" t="0" r="r" b="b"/>
                    <a:pathLst>
                      <a:path w="2">
                        <a:moveTo>
                          <a:pt x="1" y="0"/>
                        </a:moveTo>
                        <a:cubicBezTo>
                          <a:pt x="1" y="0"/>
                          <a:pt x="0" y="0"/>
                          <a:pt x="0" y="0"/>
                        </a:cubicBezTo>
                        <a:cubicBezTo>
                          <a:pt x="2" y="0"/>
                          <a:pt x="2" y="0"/>
                          <a:pt x="2" y="0"/>
                        </a:cubicBezTo>
                        <a:cubicBezTo>
                          <a:pt x="1" y="0"/>
                          <a:pt x="1" y="0"/>
                          <a:pt x="1" y="0"/>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85" name="Freeform 168"/>
                  <p:cNvSpPr/>
                  <p:nvPr/>
                </p:nvSpPr>
                <p:spPr bwMode="auto">
                  <a:xfrm>
                    <a:off x="7956550" y="1779588"/>
                    <a:ext cx="1587" cy="4763"/>
                  </a:xfrm>
                  <a:custGeom>
                    <a:avLst/>
                    <a:gdLst/>
                    <a:ahLst/>
                    <a:cxnLst>
                      <a:cxn ang="0">
                        <a:pos x="1" y="2"/>
                      </a:cxn>
                      <a:cxn ang="0">
                        <a:pos x="1" y="0"/>
                      </a:cxn>
                      <a:cxn ang="0">
                        <a:pos x="1" y="2"/>
                      </a:cxn>
                    </a:cxnLst>
                    <a:rect l="0" t="0" r="r" b="b"/>
                    <a:pathLst>
                      <a:path w="1" h="2">
                        <a:moveTo>
                          <a:pt x="1" y="2"/>
                        </a:moveTo>
                        <a:cubicBezTo>
                          <a:pt x="1" y="1"/>
                          <a:pt x="1" y="1"/>
                          <a:pt x="1" y="0"/>
                        </a:cubicBezTo>
                        <a:cubicBezTo>
                          <a:pt x="0" y="1"/>
                          <a:pt x="0" y="1"/>
                          <a:pt x="1" y="2"/>
                        </a:cubicBezTo>
                        <a:close/>
                      </a:path>
                    </a:pathLst>
                  </a:custGeom>
                  <a:grp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grpSp>
            <p:nvGrpSpPr>
              <p:cNvPr id="23" name="Group 607"/>
              <p:cNvGrpSpPr/>
              <p:nvPr/>
            </p:nvGrpSpPr>
            <p:grpSpPr>
              <a:xfrm rot="806963">
                <a:off x="2008129" y="1047000"/>
                <a:ext cx="1683483" cy="1691701"/>
                <a:chOff x="4391025" y="1189038"/>
                <a:chExt cx="1952625" cy="1962150"/>
              </a:xfrm>
            </p:grpSpPr>
            <p:sp>
              <p:nvSpPr>
                <p:cNvPr id="24" name="Freeform 6"/>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close/>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5" name="Freeform 7"/>
                <p:cNvSpPr/>
                <p:nvPr/>
              </p:nvSpPr>
              <p:spPr bwMode="auto">
                <a:xfrm>
                  <a:off x="4856162" y="2362200"/>
                  <a:ext cx="342900" cy="342900"/>
                </a:xfrm>
                <a:custGeom>
                  <a:avLst/>
                  <a:gdLst/>
                  <a:ahLst/>
                  <a:cxnLst>
                    <a:cxn ang="0">
                      <a:pos x="0" y="54"/>
                    </a:cxn>
                    <a:cxn ang="0">
                      <a:pos x="164" y="216"/>
                    </a:cxn>
                    <a:cxn ang="0">
                      <a:pos x="216" y="163"/>
                    </a:cxn>
                    <a:cxn ang="0">
                      <a:pos x="52" y="0"/>
                    </a:cxn>
                    <a:cxn ang="0">
                      <a:pos x="0" y="54"/>
                    </a:cxn>
                  </a:cxnLst>
                  <a:rect l="0" t="0" r="r" b="b"/>
                  <a:pathLst>
                    <a:path w="216" h="216">
                      <a:moveTo>
                        <a:pt x="0" y="54"/>
                      </a:moveTo>
                      <a:lnTo>
                        <a:pt x="164" y="216"/>
                      </a:lnTo>
                      <a:lnTo>
                        <a:pt x="216" y="163"/>
                      </a:lnTo>
                      <a:lnTo>
                        <a:pt x="52" y="0"/>
                      </a:lnTo>
                      <a:lnTo>
                        <a:pt x="0" y="54"/>
                      </a:lnTo>
                    </a:path>
                  </a:pathLst>
                </a:custGeom>
                <a:no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6" name="Freeform 8"/>
                <p:cNvSpPr/>
                <p:nvPr/>
              </p:nvSpPr>
              <p:spPr bwMode="auto">
                <a:xfrm>
                  <a:off x="4391025" y="1874838"/>
                  <a:ext cx="1284288" cy="1276350"/>
                </a:xfrm>
                <a:custGeom>
                  <a:avLst/>
                  <a:gdLst/>
                  <a:ahLst/>
                  <a:cxnLst>
                    <a:cxn ang="0">
                      <a:pos x="1114" y="270"/>
                    </a:cxn>
                    <a:cxn ang="0">
                      <a:pos x="140" y="268"/>
                    </a:cxn>
                    <a:cxn ang="0">
                      <a:pos x="0" y="479"/>
                    </a:cxn>
                    <a:cxn ang="0">
                      <a:pos x="766" y="624"/>
                    </a:cxn>
                    <a:cxn ang="0">
                      <a:pos x="922" y="1388"/>
                    </a:cxn>
                    <a:cxn ang="0">
                      <a:pos x="1130" y="1245"/>
                    </a:cxn>
                    <a:cxn ang="0">
                      <a:pos x="1114" y="270"/>
                    </a:cxn>
                  </a:cxnLst>
                  <a:rect l="0" t="0" r="r" b="b"/>
                  <a:pathLst>
                    <a:path w="1395" h="1388">
                      <a:moveTo>
                        <a:pt x="1114" y="270"/>
                      </a:moveTo>
                      <a:cubicBezTo>
                        <a:pt x="841" y="1"/>
                        <a:pt x="405" y="0"/>
                        <a:pt x="140" y="268"/>
                      </a:cubicBezTo>
                      <a:cubicBezTo>
                        <a:pt x="79" y="331"/>
                        <a:pt x="32" y="402"/>
                        <a:pt x="0" y="479"/>
                      </a:cubicBezTo>
                      <a:cubicBezTo>
                        <a:pt x="251" y="369"/>
                        <a:pt x="556" y="417"/>
                        <a:pt x="766" y="624"/>
                      </a:cubicBezTo>
                      <a:cubicBezTo>
                        <a:pt x="976" y="831"/>
                        <a:pt x="1028" y="1136"/>
                        <a:pt x="922" y="1388"/>
                      </a:cubicBezTo>
                      <a:cubicBezTo>
                        <a:pt x="998" y="1355"/>
                        <a:pt x="1069" y="1307"/>
                        <a:pt x="1130" y="1245"/>
                      </a:cubicBezTo>
                      <a:cubicBezTo>
                        <a:pt x="1395" y="976"/>
                        <a:pt x="1388" y="540"/>
                        <a:pt x="1114" y="270"/>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7" name="Freeform 10"/>
                <p:cNvSpPr/>
                <p:nvPr/>
              </p:nvSpPr>
              <p:spPr bwMode="auto">
                <a:xfrm>
                  <a:off x="4854575" y="1189038"/>
                  <a:ext cx="1489075" cy="1501775"/>
                </a:xfrm>
                <a:custGeom>
                  <a:avLst/>
                  <a:gdLst/>
                  <a:ahLst/>
                  <a:cxnLst>
                    <a:cxn ang="0">
                      <a:pos x="462" y="557"/>
                    </a:cxn>
                    <a:cxn ang="0">
                      <a:pos x="0" y="1288"/>
                    </a:cxn>
                    <a:cxn ang="0">
                      <a:pos x="201" y="1433"/>
                    </a:cxn>
                    <a:cxn ang="0">
                      <a:pos x="349" y="1632"/>
                    </a:cxn>
                    <a:cxn ang="0">
                      <a:pos x="1073" y="1160"/>
                    </a:cxn>
                    <a:cxn ang="0">
                      <a:pos x="1589" y="24"/>
                    </a:cxn>
                    <a:cxn ang="0">
                      <a:pos x="462" y="557"/>
                    </a:cxn>
                  </a:cxnLst>
                  <a:rect l="0" t="0" r="r" b="b"/>
                  <a:pathLst>
                    <a:path w="1618" h="1632">
                      <a:moveTo>
                        <a:pt x="462" y="557"/>
                      </a:moveTo>
                      <a:cubicBezTo>
                        <a:pt x="236" y="786"/>
                        <a:pt x="78" y="1044"/>
                        <a:pt x="0" y="1288"/>
                      </a:cubicBezTo>
                      <a:cubicBezTo>
                        <a:pt x="72" y="1325"/>
                        <a:pt x="140" y="1373"/>
                        <a:pt x="201" y="1433"/>
                      </a:cubicBezTo>
                      <a:cubicBezTo>
                        <a:pt x="262" y="1493"/>
                        <a:pt x="311" y="1560"/>
                        <a:pt x="349" y="1632"/>
                      </a:cubicBezTo>
                      <a:cubicBezTo>
                        <a:pt x="591" y="1550"/>
                        <a:pt x="847" y="1389"/>
                        <a:pt x="1073" y="1160"/>
                      </a:cubicBezTo>
                      <a:cubicBezTo>
                        <a:pt x="1432" y="796"/>
                        <a:pt x="1618" y="358"/>
                        <a:pt x="1589" y="24"/>
                      </a:cubicBezTo>
                      <a:cubicBezTo>
                        <a:pt x="1255" y="0"/>
                        <a:pt x="820" y="193"/>
                        <a:pt x="462" y="557"/>
                      </a:cubicBezTo>
                    </a:path>
                  </a:pathLst>
                </a:custGeom>
                <a:solidFill>
                  <a:schemeClr val="tx1">
                    <a:lumMod val="10000"/>
                    <a:lumOff val="90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8" name="Freeform 11"/>
                <p:cNvSpPr/>
                <p:nvPr/>
              </p:nvSpPr>
              <p:spPr bwMode="auto">
                <a:xfrm>
                  <a:off x="5029200" y="1208088"/>
                  <a:ext cx="1314450" cy="1482725"/>
                </a:xfrm>
                <a:custGeom>
                  <a:avLst/>
                  <a:gdLst/>
                  <a:ahLst/>
                  <a:cxnLst>
                    <a:cxn ang="0">
                      <a:pos x="1399" y="2"/>
                    </a:cxn>
                    <a:cxn ang="0">
                      <a:pos x="0" y="1401"/>
                    </a:cxn>
                    <a:cxn ang="0">
                      <a:pos x="11" y="1411"/>
                    </a:cxn>
                    <a:cxn ang="0">
                      <a:pos x="159" y="1610"/>
                    </a:cxn>
                    <a:cxn ang="0">
                      <a:pos x="883" y="1138"/>
                    </a:cxn>
                    <a:cxn ang="0">
                      <a:pos x="1399" y="2"/>
                    </a:cxn>
                  </a:cxnLst>
                  <a:rect l="0" t="0" r="r" b="b"/>
                  <a:pathLst>
                    <a:path w="1428" h="1610">
                      <a:moveTo>
                        <a:pt x="1399" y="2"/>
                      </a:moveTo>
                      <a:cubicBezTo>
                        <a:pt x="1361" y="0"/>
                        <a:pt x="0" y="1401"/>
                        <a:pt x="0" y="1401"/>
                      </a:cubicBezTo>
                      <a:cubicBezTo>
                        <a:pt x="4" y="1405"/>
                        <a:pt x="7" y="1408"/>
                        <a:pt x="11" y="1411"/>
                      </a:cubicBezTo>
                      <a:cubicBezTo>
                        <a:pt x="72" y="1471"/>
                        <a:pt x="121" y="1538"/>
                        <a:pt x="159" y="1610"/>
                      </a:cubicBezTo>
                      <a:cubicBezTo>
                        <a:pt x="401" y="1528"/>
                        <a:pt x="657" y="1367"/>
                        <a:pt x="883" y="1138"/>
                      </a:cubicBezTo>
                      <a:cubicBezTo>
                        <a:pt x="1242" y="774"/>
                        <a:pt x="1428" y="336"/>
                        <a:pt x="1399" y="2"/>
                      </a:cubicBezTo>
                    </a:path>
                  </a:pathLst>
                </a:custGeom>
                <a:solidFill>
                  <a:srgbClr val="CFCFCF"/>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29" name="Freeform 12"/>
                <p:cNvSpPr/>
                <p:nvPr/>
              </p:nvSpPr>
              <p:spPr bwMode="auto">
                <a:xfrm>
                  <a:off x="4814887" y="2097088"/>
                  <a:ext cx="630238" cy="638175"/>
                </a:xfrm>
                <a:custGeom>
                  <a:avLst/>
                  <a:gdLst/>
                  <a:ahLst/>
                  <a:cxnLst>
                    <a:cxn ang="0">
                      <a:pos x="276" y="282"/>
                    </a:cxn>
                    <a:cxn ang="0">
                      <a:pos x="0" y="694"/>
                    </a:cxn>
                    <a:cxn ang="0">
                      <a:pos x="407" y="411"/>
                    </a:cxn>
                    <a:cxn ang="0">
                      <a:pos x="684" y="0"/>
                    </a:cxn>
                    <a:cxn ang="0">
                      <a:pos x="276" y="282"/>
                    </a:cxn>
                  </a:cxnLst>
                  <a:rect l="0" t="0" r="r" b="b"/>
                  <a:pathLst>
                    <a:path w="684" h="694">
                      <a:moveTo>
                        <a:pt x="276" y="282"/>
                      </a:moveTo>
                      <a:cubicBezTo>
                        <a:pt x="127" y="433"/>
                        <a:pt x="24" y="591"/>
                        <a:pt x="0" y="694"/>
                      </a:cubicBezTo>
                      <a:cubicBezTo>
                        <a:pt x="102" y="668"/>
                        <a:pt x="258" y="563"/>
                        <a:pt x="407" y="411"/>
                      </a:cubicBezTo>
                      <a:cubicBezTo>
                        <a:pt x="556" y="260"/>
                        <a:pt x="659" y="103"/>
                        <a:pt x="684" y="0"/>
                      </a:cubicBezTo>
                      <a:cubicBezTo>
                        <a:pt x="581" y="26"/>
                        <a:pt x="425" y="131"/>
                        <a:pt x="276" y="28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0" name="Freeform 23"/>
                <p:cNvSpPr/>
                <p:nvPr/>
              </p:nvSpPr>
              <p:spPr bwMode="auto">
                <a:xfrm>
                  <a:off x="5737225" y="1328738"/>
                  <a:ext cx="468313" cy="468313"/>
                </a:xfrm>
                <a:custGeom>
                  <a:avLst/>
                  <a:gdLst/>
                  <a:ahLst/>
                  <a:cxnLst>
                    <a:cxn ang="0">
                      <a:pos x="57" y="0"/>
                    </a:cxn>
                    <a:cxn ang="0">
                      <a:pos x="2" y="28"/>
                    </a:cxn>
                    <a:cxn ang="0">
                      <a:pos x="479" y="509"/>
                    </a:cxn>
                    <a:cxn ang="0">
                      <a:pos x="509" y="446"/>
                    </a:cxn>
                    <a:cxn ang="0">
                      <a:pos x="57" y="0"/>
                    </a:cxn>
                  </a:cxnLst>
                  <a:rect l="0" t="0" r="r" b="b"/>
                  <a:pathLst>
                    <a:path w="509" h="509">
                      <a:moveTo>
                        <a:pt x="57" y="0"/>
                      </a:moveTo>
                      <a:cubicBezTo>
                        <a:pt x="24" y="15"/>
                        <a:pt x="2" y="28"/>
                        <a:pt x="2" y="28"/>
                      </a:cubicBezTo>
                      <a:cubicBezTo>
                        <a:pt x="0" y="28"/>
                        <a:pt x="288" y="254"/>
                        <a:pt x="479" y="509"/>
                      </a:cubicBezTo>
                      <a:cubicBezTo>
                        <a:pt x="479" y="509"/>
                        <a:pt x="503" y="462"/>
                        <a:pt x="509" y="446"/>
                      </a:cubicBezTo>
                      <a:cubicBezTo>
                        <a:pt x="505" y="287"/>
                        <a:pt x="274" y="7"/>
                        <a:pt x="57" y="0"/>
                      </a:cubicBezTo>
                    </a:path>
                  </a:pathLst>
                </a:custGeom>
                <a:solidFill>
                  <a:schemeClr val="accent1">
                    <a:lumMod val="60000"/>
                    <a:lumOff val="40000"/>
                  </a:schemeClr>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1" name="Freeform 31"/>
                <p:cNvSpPr/>
                <p:nvPr/>
              </p:nvSpPr>
              <p:spPr bwMode="auto">
                <a:xfrm>
                  <a:off x="6318250" y="1219200"/>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2" name="Oval 32"/>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3" name="Freeform 33"/>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4" name="Oval 34"/>
                <p:cNvSpPr>
                  <a:spLocks noChangeArrowheads="1"/>
                </p:cNvSpPr>
                <p:nvPr/>
              </p:nvSpPr>
              <p:spPr bwMode="auto">
                <a:xfrm>
                  <a:off x="6318250" y="1220788"/>
                  <a:ext cx="1588" cy="1588"/>
                </a:xfrm>
                <a:prstGeom prst="ellipse">
                  <a:avLst/>
                </a:pr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5" name="Freeform 35"/>
                <p:cNvSpPr/>
                <p:nvPr/>
              </p:nvSpPr>
              <p:spPr bwMode="auto">
                <a:xfrm>
                  <a:off x="6318250" y="1220788"/>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6" name="Freeform 36"/>
                <p:cNvSpPr/>
                <p:nvPr/>
              </p:nvSpPr>
              <p:spPr bwMode="auto">
                <a:xfrm>
                  <a:off x="6318250" y="1222375"/>
                  <a:ext cx="1588" cy="1588"/>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7" name="Freeform 37"/>
                <p:cNvSpPr>
                  <a:spLocks noEditPoints="1"/>
                </p:cNvSpPr>
                <p:nvPr/>
              </p:nvSpPr>
              <p:spPr bwMode="auto">
                <a:xfrm>
                  <a:off x="6316662" y="1222375"/>
                  <a:ext cx="4763" cy="115888"/>
                </a:xfrm>
                <a:custGeom>
                  <a:avLst/>
                  <a:gdLst/>
                  <a:ahLst/>
                  <a:cxnLst>
                    <a:cxn ang="0">
                      <a:pos x="1" y="0"/>
                    </a:cxn>
                    <a:cxn ang="0">
                      <a:pos x="3" y="62"/>
                    </a:cxn>
                    <a:cxn ang="0">
                      <a:pos x="0" y="126"/>
                    </a:cxn>
                    <a:cxn ang="0">
                      <a:pos x="1" y="0"/>
                    </a:cxn>
                    <a:cxn ang="0">
                      <a:pos x="1" y="0"/>
                    </a:cxn>
                    <a:cxn ang="0">
                      <a:pos x="1" y="0"/>
                    </a:cxn>
                    <a:cxn ang="0">
                      <a:pos x="1" y="0"/>
                    </a:cxn>
                    <a:cxn ang="0">
                      <a:pos x="1" y="0"/>
                    </a:cxn>
                    <a:cxn ang="0">
                      <a:pos x="1" y="0"/>
                    </a:cxn>
                  </a:cxnLst>
                  <a:rect l="0" t="0" r="r" b="b"/>
                  <a:pathLst>
                    <a:path w="4" h="126">
                      <a:moveTo>
                        <a:pt x="1" y="0"/>
                      </a:moveTo>
                      <a:cubicBezTo>
                        <a:pt x="2" y="20"/>
                        <a:pt x="3" y="41"/>
                        <a:pt x="3" y="62"/>
                      </a:cubicBezTo>
                      <a:cubicBezTo>
                        <a:pt x="3" y="83"/>
                        <a:pt x="2" y="104"/>
                        <a:pt x="0" y="126"/>
                      </a:cubicBezTo>
                      <a:cubicBezTo>
                        <a:pt x="4" y="83"/>
                        <a:pt x="4" y="41"/>
                        <a:pt x="1" y="0"/>
                      </a:cubicBezTo>
                      <a:moveTo>
                        <a:pt x="1" y="0"/>
                      </a:moveTo>
                      <a:cubicBezTo>
                        <a:pt x="1" y="0"/>
                        <a:pt x="1" y="0"/>
                        <a:pt x="1" y="0"/>
                      </a:cubicBezTo>
                      <a:cubicBezTo>
                        <a:pt x="1" y="0"/>
                        <a:pt x="1" y="0"/>
                        <a:pt x="1" y="0"/>
                      </a:cubicBezTo>
                      <a:cubicBezTo>
                        <a:pt x="1" y="0"/>
                        <a:pt x="1" y="0"/>
                        <a:pt x="1" y="0"/>
                      </a:cubicBezTo>
                      <a:cubicBezTo>
                        <a:pt x="1" y="0"/>
                        <a:pt x="1" y="0"/>
                        <a:pt x="1"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8" name="Freeform 38"/>
                <p:cNvSpPr/>
                <p:nvPr/>
              </p:nvSpPr>
              <p:spPr bwMode="auto">
                <a:xfrm>
                  <a:off x="6316662" y="1211263"/>
                  <a:ext cx="3175" cy="68263"/>
                </a:xfrm>
                <a:custGeom>
                  <a:avLst/>
                  <a:gdLst/>
                  <a:ahLst/>
                  <a:cxnLst>
                    <a:cxn ang="0">
                      <a:pos x="1" y="0"/>
                    </a:cxn>
                    <a:cxn ang="0">
                      <a:pos x="0" y="0"/>
                    </a:cxn>
                    <a:cxn ang="0">
                      <a:pos x="1" y="1"/>
                    </a:cxn>
                    <a:cxn ang="0">
                      <a:pos x="4" y="74"/>
                    </a:cxn>
                    <a:cxn ang="0">
                      <a:pos x="2" y="12"/>
                    </a:cxn>
                    <a:cxn ang="0">
                      <a:pos x="2" y="12"/>
                    </a:cxn>
                    <a:cxn ang="0">
                      <a:pos x="2" y="12"/>
                    </a:cxn>
                    <a:cxn ang="0">
                      <a:pos x="2" y="12"/>
                    </a:cxn>
                    <a:cxn ang="0">
                      <a:pos x="2" y="12"/>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1"/>
                    </a:cxn>
                    <a:cxn ang="0">
                      <a:pos x="2" y="10"/>
                    </a:cxn>
                    <a:cxn ang="0">
                      <a:pos x="2" y="10"/>
                    </a:cxn>
                    <a:cxn ang="0">
                      <a:pos x="2" y="10"/>
                    </a:cxn>
                    <a:cxn ang="0">
                      <a:pos x="2" y="10"/>
                    </a:cxn>
                    <a:cxn ang="0">
                      <a:pos x="1" y="0"/>
                    </a:cxn>
                    <a:cxn ang="0">
                      <a:pos x="1" y="0"/>
                    </a:cxn>
                  </a:cxnLst>
                  <a:rect l="0" t="0" r="r" b="b"/>
                  <a:pathLst>
                    <a:path w="4" h="74">
                      <a:moveTo>
                        <a:pt x="1" y="0"/>
                      </a:moveTo>
                      <a:cubicBezTo>
                        <a:pt x="1" y="0"/>
                        <a:pt x="0" y="0"/>
                        <a:pt x="0" y="0"/>
                      </a:cubicBezTo>
                      <a:cubicBezTo>
                        <a:pt x="0" y="0"/>
                        <a:pt x="1" y="1"/>
                        <a:pt x="1" y="1"/>
                      </a:cubicBezTo>
                      <a:cubicBezTo>
                        <a:pt x="3" y="25"/>
                        <a:pt x="4" y="49"/>
                        <a:pt x="4" y="74"/>
                      </a:cubicBezTo>
                      <a:cubicBezTo>
                        <a:pt x="4" y="53"/>
                        <a:pt x="3" y="32"/>
                        <a:pt x="2" y="12"/>
                      </a:cubicBezTo>
                      <a:cubicBezTo>
                        <a:pt x="2" y="12"/>
                        <a:pt x="2" y="12"/>
                        <a:pt x="2" y="12"/>
                      </a:cubicBezTo>
                      <a:cubicBezTo>
                        <a:pt x="2" y="12"/>
                        <a:pt x="2" y="12"/>
                        <a:pt x="2" y="12"/>
                      </a:cubicBezTo>
                      <a:cubicBezTo>
                        <a:pt x="2" y="12"/>
                        <a:pt x="2" y="12"/>
                        <a:pt x="2" y="12"/>
                      </a:cubicBezTo>
                      <a:cubicBezTo>
                        <a:pt x="2" y="12"/>
                        <a:pt x="2" y="12"/>
                        <a:pt x="2" y="12"/>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2" y="10"/>
                        <a:pt x="2" y="10"/>
                        <a:pt x="2" y="10"/>
                      </a:cubicBezTo>
                      <a:cubicBezTo>
                        <a:pt x="2" y="7"/>
                        <a:pt x="1" y="4"/>
                        <a:pt x="1" y="0"/>
                      </a:cubicBezTo>
                      <a:cubicBezTo>
                        <a:pt x="1" y="0"/>
                        <a:pt x="1" y="0"/>
                        <a:pt x="1" y="0"/>
                      </a:cubicBezTo>
                    </a:path>
                  </a:pathLst>
                </a:custGeom>
                <a:solidFill>
                  <a:srgbClr val="B7352B"/>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39" name="Freeform 40"/>
                <p:cNvSpPr/>
                <p:nvPr/>
              </p:nvSpPr>
              <p:spPr bwMode="auto">
                <a:xfrm>
                  <a:off x="6316662" y="1338263"/>
                  <a:ext cx="1588" cy="1588"/>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F2F2F2"/>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0" name="Freeform 41"/>
                <p:cNvSpPr>
                  <a:spLocks noEditPoints="1"/>
                </p:cNvSpPr>
                <p:nvPr/>
              </p:nvSpPr>
              <p:spPr bwMode="auto">
                <a:xfrm>
                  <a:off x="5175250" y="1797050"/>
                  <a:ext cx="1001713" cy="893763"/>
                </a:xfrm>
                <a:custGeom>
                  <a:avLst/>
                  <a:gdLst/>
                  <a:ahLst/>
                  <a:cxnLst>
                    <a:cxn ang="0">
                      <a:pos x="72" y="943"/>
                    </a:cxn>
                    <a:cxn ang="0">
                      <a:pos x="0" y="970"/>
                    </a:cxn>
                    <a:cxn ang="0">
                      <a:pos x="0" y="970"/>
                    </a:cxn>
                    <a:cxn ang="0">
                      <a:pos x="72" y="943"/>
                    </a:cxn>
                    <a:cxn ang="0">
                      <a:pos x="72" y="943"/>
                    </a:cxn>
                    <a:cxn ang="0">
                      <a:pos x="1088" y="0"/>
                    </a:cxn>
                    <a:cxn ang="0">
                      <a:pos x="724" y="498"/>
                    </a:cxn>
                    <a:cxn ang="0">
                      <a:pos x="1088" y="0"/>
                    </a:cxn>
                    <a:cxn ang="0">
                      <a:pos x="1088" y="0"/>
                    </a:cxn>
                  </a:cxnLst>
                  <a:rect l="0" t="0" r="r" b="b"/>
                  <a:pathLst>
                    <a:path w="1088" h="970">
                      <a:moveTo>
                        <a:pt x="72" y="943"/>
                      </a:moveTo>
                      <a:cubicBezTo>
                        <a:pt x="48" y="953"/>
                        <a:pt x="24" y="962"/>
                        <a:pt x="0" y="970"/>
                      </a:cubicBezTo>
                      <a:cubicBezTo>
                        <a:pt x="0" y="970"/>
                        <a:pt x="0" y="970"/>
                        <a:pt x="0" y="970"/>
                      </a:cubicBezTo>
                      <a:cubicBezTo>
                        <a:pt x="24" y="962"/>
                        <a:pt x="48" y="953"/>
                        <a:pt x="72" y="943"/>
                      </a:cubicBezTo>
                      <a:cubicBezTo>
                        <a:pt x="72" y="943"/>
                        <a:pt x="72" y="943"/>
                        <a:pt x="72" y="943"/>
                      </a:cubicBezTo>
                      <a:moveTo>
                        <a:pt x="1088" y="0"/>
                      </a:moveTo>
                      <a:cubicBezTo>
                        <a:pt x="1001" y="170"/>
                        <a:pt x="879" y="341"/>
                        <a:pt x="724" y="498"/>
                      </a:cubicBezTo>
                      <a:cubicBezTo>
                        <a:pt x="879" y="341"/>
                        <a:pt x="1001" y="170"/>
                        <a:pt x="1088" y="0"/>
                      </a:cubicBezTo>
                      <a:cubicBezTo>
                        <a:pt x="1088" y="0"/>
                        <a:pt x="1088" y="0"/>
                        <a:pt x="1088" y="0"/>
                      </a:cubicBezTo>
                    </a:path>
                  </a:pathLst>
                </a:custGeom>
                <a:solidFill>
                  <a:srgbClr val="C6C6C6"/>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1" name="Freeform 42"/>
                <p:cNvSpPr/>
                <p:nvPr/>
              </p:nvSpPr>
              <p:spPr bwMode="auto">
                <a:xfrm>
                  <a:off x="5241925" y="2493963"/>
                  <a:ext cx="317500" cy="171450"/>
                </a:xfrm>
                <a:custGeom>
                  <a:avLst/>
                  <a:gdLst/>
                  <a:ahLst/>
                  <a:cxnLst>
                    <a:cxn ang="0">
                      <a:pos x="344" y="0"/>
                    </a:cxn>
                    <a:cxn ang="0">
                      <a:pos x="0" y="186"/>
                    </a:cxn>
                    <a:cxn ang="0">
                      <a:pos x="0" y="186"/>
                    </a:cxn>
                    <a:cxn ang="0">
                      <a:pos x="344" y="0"/>
                    </a:cxn>
                  </a:cxnLst>
                  <a:rect l="0" t="0" r="r" b="b"/>
                  <a:pathLst>
                    <a:path w="344" h="186">
                      <a:moveTo>
                        <a:pt x="344" y="0"/>
                      </a:moveTo>
                      <a:cubicBezTo>
                        <a:pt x="230" y="79"/>
                        <a:pt x="114" y="141"/>
                        <a:pt x="0" y="186"/>
                      </a:cubicBezTo>
                      <a:cubicBezTo>
                        <a:pt x="0" y="186"/>
                        <a:pt x="0" y="186"/>
                        <a:pt x="0" y="186"/>
                      </a:cubicBezTo>
                      <a:cubicBezTo>
                        <a:pt x="114" y="141"/>
                        <a:pt x="230" y="79"/>
                        <a:pt x="344" y="0"/>
                      </a:cubicBezTo>
                    </a:path>
                  </a:pathLst>
                </a:custGeom>
                <a:solidFill>
                  <a:srgbClr val="26456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sp>
              <p:nvSpPr>
                <p:cNvPr id="42" name="Freeform 14"/>
                <p:cNvSpPr/>
                <p:nvPr/>
              </p:nvSpPr>
              <p:spPr bwMode="auto">
                <a:xfrm>
                  <a:off x="5788023" y="1203327"/>
                  <a:ext cx="541338" cy="539750"/>
                </a:xfrm>
                <a:custGeom>
                  <a:avLst/>
                  <a:gdLst/>
                  <a:ahLst/>
                  <a:cxnLst>
                    <a:cxn ang="0">
                      <a:pos x="0" y="142"/>
                    </a:cxn>
                    <a:cxn ang="0">
                      <a:pos x="233" y="357"/>
                    </a:cxn>
                    <a:cxn ang="0">
                      <a:pos x="452" y="587"/>
                    </a:cxn>
                    <a:cxn ang="0">
                      <a:pos x="573" y="12"/>
                    </a:cxn>
                    <a:cxn ang="0">
                      <a:pos x="0" y="142"/>
                    </a:cxn>
                  </a:cxnLst>
                  <a:rect l="0" t="0" r="r" b="b"/>
                  <a:pathLst>
                    <a:path w="588" h="587">
                      <a:moveTo>
                        <a:pt x="0" y="142"/>
                      </a:moveTo>
                      <a:cubicBezTo>
                        <a:pt x="79" y="210"/>
                        <a:pt x="157" y="281"/>
                        <a:pt x="233" y="357"/>
                      </a:cubicBezTo>
                      <a:cubicBezTo>
                        <a:pt x="310" y="433"/>
                        <a:pt x="383" y="510"/>
                        <a:pt x="452" y="587"/>
                      </a:cubicBezTo>
                      <a:cubicBezTo>
                        <a:pt x="546" y="384"/>
                        <a:pt x="588" y="184"/>
                        <a:pt x="573" y="12"/>
                      </a:cubicBezTo>
                      <a:cubicBezTo>
                        <a:pt x="401" y="0"/>
                        <a:pt x="202" y="45"/>
                        <a:pt x="0" y="142"/>
                      </a:cubicBezTo>
                    </a:path>
                  </a:pathLst>
                </a:custGeom>
                <a:solidFill>
                  <a:schemeClr val="accent1"/>
                </a:solidFill>
                <a:ln w="9525">
                  <a:noFill/>
                  <a:round/>
                </a:ln>
              </p:spPr>
              <p:txBody>
                <a:bodyPr vert="horz" wrap="square" lIns="91406" tIns="45703" rIns="91406" bIns="45703" numCol="1" anchor="t" anchorCtr="0" compatLnSpc="1"/>
                <a:lstStyle/>
                <a:p>
                  <a:pPr>
                    <a:lnSpc>
                      <a:spcPct val="120000"/>
                    </a:lnSpc>
                  </a:pPr>
                  <a:endParaRPr lang="en-US" sz="1705">
                    <a:cs typeface="+mn-ea"/>
                    <a:sym typeface="+mn-lt"/>
                  </a:endParaRPr>
                </a:p>
              </p:txBody>
            </p:sp>
          </p:grpSp>
        </p:grpSp>
        <p:sp>
          <p:nvSpPr>
            <p:cNvPr id="19" name="Text Placeholder 3"/>
            <p:cNvSpPr txBox="1"/>
            <p:nvPr/>
          </p:nvSpPr>
          <p:spPr>
            <a:xfrm>
              <a:off x="4328868" y="4078528"/>
              <a:ext cx="461833" cy="301859"/>
            </a:xfrm>
            <a:prstGeom prst="rect">
              <a:avLst/>
            </a:prstGeom>
          </p:spPr>
          <p:txBody>
            <a:bodyPr wrap="none" lIns="0" tIns="0" rIns="0" bIns="0" anchor="ctr">
              <a:spAutoFit/>
              <a:scene3d>
                <a:camera prst="orthographicFront"/>
                <a:lightRig rig="threePt" dir="t"/>
              </a:scene3d>
              <a:sp3d contourW="12700"/>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913765">
                <a:lnSpc>
                  <a:spcPct val="120000"/>
                </a:lnSpc>
                <a:defRPr/>
              </a:pPr>
              <a:r>
                <a:rPr lang="en-US" sz="1800" dirty="0">
                  <a:solidFill>
                    <a:schemeClr val="tx1">
                      <a:lumMod val="65000"/>
                      <a:lumOff val="35000"/>
                    </a:schemeClr>
                  </a:solidFill>
                  <a:cs typeface="+mn-ea"/>
                  <a:sym typeface="+mn-lt"/>
                </a:rPr>
                <a:t>15%</a:t>
              </a:r>
            </a:p>
          </p:txBody>
        </p:sp>
        <p:sp>
          <p:nvSpPr>
            <p:cNvPr id="20" name="Text Placeholder 3"/>
            <p:cNvSpPr txBox="1"/>
            <p:nvPr/>
          </p:nvSpPr>
          <p:spPr>
            <a:xfrm>
              <a:off x="7388465" y="3977897"/>
              <a:ext cx="513147" cy="335407"/>
            </a:xfrm>
            <a:prstGeom prst="rect">
              <a:avLst/>
            </a:prstGeom>
          </p:spPr>
          <p:txBody>
            <a:bodyPr wrap="none" lIns="0" tIns="0" rIns="0" bIns="0" anchor="ctr">
              <a:spAutoFit/>
              <a:scene3d>
                <a:camera prst="orthographicFront"/>
                <a:lightRig rig="threePt" dir="t"/>
              </a:scene3d>
              <a:sp3d contourW="12700"/>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913765">
                <a:lnSpc>
                  <a:spcPct val="120000"/>
                </a:lnSpc>
                <a:defRPr/>
              </a:pPr>
              <a:r>
                <a:rPr lang="en-US" sz="2000" dirty="0">
                  <a:solidFill>
                    <a:schemeClr val="tx1">
                      <a:lumMod val="65000"/>
                      <a:lumOff val="35000"/>
                    </a:schemeClr>
                  </a:solidFill>
                  <a:cs typeface="+mn-ea"/>
                  <a:sym typeface="+mn-lt"/>
                </a:rPr>
                <a:t>45%</a:t>
              </a:r>
            </a:p>
          </p:txBody>
        </p:sp>
        <p:sp>
          <p:nvSpPr>
            <p:cNvPr id="21" name="Text Placeholder 3"/>
            <p:cNvSpPr txBox="1"/>
            <p:nvPr/>
          </p:nvSpPr>
          <p:spPr>
            <a:xfrm>
              <a:off x="5516568" y="3644306"/>
              <a:ext cx="923666" cy="603782"/>
            </a:xfrm>
            <a:prstGeom prst="rect">
              <a:avLst/>
            </a:prstGeom>
          </p:spPr>
          <p:txBody>
            <a:bodyPr wrap="none" lIns="0" tIns="0" rIns="0" bIns="0" anchor="b">
              <a:spAutoFit/>
              <a:scene3d>
                <a:camera prst="orthographicFront"/>
                <a:lightRig rig="threePt" dir="t"/>
              </a:scene3d>
              <a:sp3d contourW="12700"/>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913765">
                <a:lnSpc>
                  <a:spcPct val="120000"/>
                </a:lnSpc>
                <a:defRPr/>
              </a:pPr>
              <a:r>
                <a:rPr lang="en-US" sz="3600" dirty="0">
                  <a:solidFill>
                    <a:schemeClr val="tx1">
                      <a:lumMod val="65000"/>
                      <a:lumOff val="35000"/>
                    </a:schemeClr>
                  </a:solidFill>
                  <a:cs typeface="+mn-ea"/>
                  <a:sym typeface="+mn-lt"/>
                </a:rPr>
                <a:t>85%</a:t>
              </a:r>
            </a:p>
          </p:txBody>
        </p:sp>
      </p:grpSp>
      <p:grpSp>
        <p:nvGrpSpPr>
          <p:cNvPr id="457" name="组合 456"/>
          <p:cNvGrpSpPr/>
          <p:nvPr/>
        </p:nvGrpSpPr>
        <p:grpSpPr>
          <a:xfrm>
            <a:off x="4137657" y="5087942"/>
            <a:ext cx="4042419" cy="990911"/>
            <a:chOff x="1088298" y="4213143"/>
            <a:chExt cx="4043889" cy="991272"/>
          </a:xfrm>
        </p:grpSpPr>
        <p:sp>
          <p:nvSpPr>
            <p:cNvPr id="458" name="矩形 457"/>
            <p:cNvSpPr/>
            <p:nvPr/>
          </p:nvSpPr>
          <p:spPr>
            <a:xfrm>
              <a:off x="1088298" y="4594795"/>
              <a:ext cx="4043889" cy="609620"/>
            </a:xfrm>
            <a:prstGeom prst="rect">
              <a:avLst/>
            </a:prstGeom>
          </p:spPr>
          <p:txBody>
            <a:bodyPr wrap="square">
              <a:spAutoFit/>
              <a:scene3d>
                <a:camera prst="orthographicFront"/>
                <a:lightRig rig="threePt" dir="t"/>
              </a:scene3d>
              <a:sp3d contourW="6350"/>
            </a:bodyPr>
            <a:lstStyle/>
            <a:p>
              <a:pPr>
                <a:lnSpc>
                  <a:spcPct val="120000"/>
                </a:lnSpc>
              </a:pPr>
              <a:r>
                <a:rPr lang="zh-CN" altLang="en-US" sz="1400" dirty="0">
                  <a:solidFill>
                    <a:schemeClr val="tx1">
                      <a:lumMod val="50000"/>
                      <a:lumOff val="50000"/>
                    </a:schemeClr>
                  </a:solidFill>
                  <a:cs typeface="+mn-ea"/>
                  <a:sym typeface="+mn-lt"/>
                </a:rPr>
                <a:t>用户可以在投影仪或者计算机上进行演示也可以将演示文稿打印出来制作成胶片</a:t>
              </a:r>
            </a:p>
          </p:txBody>
        </p:sp>
        <p:sp>
          <p:nvSpPr>
            <p:cNvPr id="459" name="矩形 458"/>
            <p:cNvSpPr/>
            <p:nvPr/>
          </p:nvSpPr>
          <p:spPr>
            <a:xfrm>
              <a:off x="1135694" y="4213143"/>
              <a:ext cx="2241974" cy="380371"/>
            </a:xfrm>
            <a:prstGeom prst="rect">
              <a:avLst/>
            </a:prstGeom>
          </p:spPr>
          <p:txBody>
            <a:bodyPr wrap="square">
              <a:spAutoFit/>
              <a:scene3d>
                <a:camera prst="orthographicFront"/>
                <a:lightRig rig="threePt" dir="t"/>
              </a:scene3d>
              <a:sp3d contourW="6350"/>
            </a:bodyPr>
            <a:lstStyle/>
            <a:p>
              <a:pPr>
                <a:lnSpc>
                  <a:spcPct val="120000"/>
                </a:lnSpc>
              </a:pPr>
              <a:r>
                <a:rPr lang="zh-CN" altLang="en-US" sz="1705" b="1" dirty="0">
                  <a:solidFill>
                    <a:schemeClr val="tx1">
                      <a:lumMod val="65000"/>
                      <a:lumOff val="35000"/>
                    </a:schemeClr>
                  </a:solidFill>
                  <a:cs typeface="+mn-ea"/>
                  <a:sym typeface="+mn-lt"/>
                </a:rPr>
                <a:t>标题文字添加</a:t>
              </a:r>
            </a:p>
          </p:txBody>
        </p:sp>
      </p:grpSp>
      <p:grpSp>
        <p:nvGrpSpPr>
          <p:cNvPr id="460" name="组合 459"/>
          <p:cNvGrpSpPr/>
          <p:nvPr/>
        </p:nvGrpSpPr>
        <p:grpSpPr>
          <a:xfrm>
            <a:off x="8742953" y="3093938"/>
            <a:ext cx="2632739" cy="990911"/>
            <a:chOff x="1088298" y="4213143"/>
            <a:chExt cx="2633697" cy="991272"/>
          </a:xfrm>
        </p:grpSpPr>
        <p:sp>
          <p:nvSpPr>
            <p:cNvPr id="461" name="矩形 460"/>
            <p:cNvSpPr/>
            <p:nvPr/>
          </p:nvSpPr>
          <p:spPr>
            <a:xfrm>
              <a:off x="1088298" y="4594795"/>
              <a:ext cx="2633697" cy="609620"/>
            </a:xfrm>
            <a:prstGeom prst="rect">
              <a:avLst/>
            </a:prstGeom>
          </p:spPr>
          <p:txBody>
            <a:bodyPr wrap="square">
              <a:spAutoFit/>
              <a:scene3d>
                <a:camera prst="orthographicFront"/>
                <a:lightRig rig="threePt" dir="t"/>
              </a:scene3d>
              <a:sp3d contourW="6350"/>
            </a:bodyPr>
            <a:lstStyle/>
            <a:p>
              <a:pPr>
                <a:lnSpc>
                  <a:spcPct val="120000"/>
                </a:lnSpc>
              </a:pPr>
              <a:r>
                <a:rPr lang="zh-CN" altLang="en-US" sz="1400" dirty="0">
                  <a:solidFill>
                    <a:schemeClr val="tx1">
                      <a:lumMod val="50000"/>
                      <a:lumOff val="50000"/>
                    </a:schemeClr>
                  </a:solidFill>
                  <a:cs typeface="+mn-ea"/>
                  <a:sym typeface="+mn-lt"/>
                </a:rPr>
                <a:t>用户可以在投影仪或者计算机上进行演示也可以将演示</a:t>
              </a:r>
            </a:p>
          </p:txBody>
        </p:sp>
        <p:sp>
          <p:nvSpPr>
            <p:cNvPr id="462" name="矩形 461"/>
            <p:cNvSpPr/>
            <p:nvPr/>
          </p:nvSpPr>
          <p:spPr>
            <a:xfrm>
              <a:off x="1088299" y="4213143"/>
              <a:ext cx="2241974" cy="380371"/>
            </a:xfrm>
            <a:prstGeom prst="rect">
              <a:avLst/>
            </a:prstGeom>
          </p:spPr>
          <p:txBody>
            <a:bodyPr wrap="square">
              <a:spAutoFit/>
              <a:scene3d>
                <a:camera prst="orthographicFront"/>
                <a:lightRig rig="threePt" dir="t"/>
              </a:scene3d>
              <a:sp3d contourW="6350"/>
            </a:bodyPr>
            <a:lstStyle/>
            <a:p>
              <a:pPr>
                <a:lnSpc>
                  <a:spcPct val="120000"/>
                </a:lnSpc>
              </a:pPr>
              <a:r>
                <a:rPr lang="zh-CN" altLang="en-US" sz="1705" b="1" dirty="0">
                  <a:solidFill>
                    <a:schemeClr val="tx1">
                      <a:lumMod val="65000"/>
                      <a:lumOff val="35000"/>
                    </a:schemeClr>
                  </a:solidFill>
                  <a:cs typeface="+mn-ea"/>
                  <a:sym typeface="+mn-lt"/>
                </a:rPr>
                <a:t>标题文字添加</a:t>
              </a:r>
            </a:p>
          </p:txBody>
        </p:sp>
      </p:grpSp>
      <p:grpSp>
        <p:nvGrpSpPr>
          <p:cNvPr id="463" name="组合 462"/>
          <p:cNvGrpSpPr/>
          <p:nvPr/>
        </p:nvGrpSpPr>
        <p:grpSpPr>
          <a:xfrm>
            <a:off x="813131" y="2128864"/>
            <a:ext cx="2875281" cy="1249443"/>
            <a:chOff x="548738" y="4213143"/>
            <a:chExt cx="2876325" cy="1249898"/>
          </a:xfrm>
        </p:grpSpPr>
        <p:sp>
          <p:nvSpPr>
            <p:cNvPr id="464" name="矩形 463"/>
            <p:cNvSpPr/>
            <p:nvPr/>
          </p:nvSpPr>
          <p:spPr>
            <a:xfrm>
              <a:off x="548738" y="4594795"/>
              <a:ext cx="2876325" cy="868246"/>
            </a:xfrm>
            <a:prstGeom prst="rect">
              <a:avLst/>
            </a:prstGeom>
          </p:spPr>
          <p:txBody>
            <a:bodyPr wrap="square">
              <a:spAutoFit/>
              <a:scene3d>
                <a:camera prst="orthographicFront"/>
                <a:lightRig rig="threePt" dir="t"/>
              </a:scene3d>
              <a:sp3d contourW="6350"/>
            </a:bodyPr>
            <a:lstStyle/>
            <a:p>
              <a:pPr algn="r">
                <a:lnSpc>
                  <a:spcPct val="120000"/>
                </a:lnSpc>
              </a:pPr>
              <a:r>
                <a:rPr lang="zh-CN" altLang="en-US" sz="1400" dirty="0">
                  <a:solidFill>
                    <a:schemeClr val="tx1">
                      <a:lumMod val="50000"/>
                      <a:lumOff val="50000"/>
                    </a:schemeClr>
                  </a:solidFill>
                  <a:cs typeface="+mn-ea"/>
                  <a:sym typeface="+mn-lt"/>
                </a:rPr>
                <a:t>用户可以在投影仪或者计算机上进行演示也可以将演示文稿打印出来制作成胶片以便应用</a:t>
              </a:r>
            </a:p>
          </p:txBody>
        </p:sp>
        <p:sp>
          <p:nvSpPr>
            <p:cNvPr id="465" name="矩形 464"/>
            <p:cNvSpPr/>
            <p:nvPr/>
          </p:nvSpPr>
          <p:spPr>
            <a:xfrm>
              <a:off x="1183089" y="4213143"/>
              <a:ext cx="2241974" cy="380370"/>
            </a:xfrm>
            <a:prstGeom prst="rect">
              <a:avLst/>
            </a:prstGeom>
          </p:spPr>
          <p:txBody>
            <a:bodyPr wrap="square">
              <a:spAutoFit/>
              <a:scene3d>
                <a:camera prst="orthographicFront"/>
                <a:lightRig rig="threePt" dir="t"/>
              </a:scene3d>
              <a:sp3d contourW="6350"/>
            </a:bodyPr>
            <a:lstStyle/>
            <a:p>
              <a:pPr algn="r">
                <a:lnSpc>
                  <a:spcPct val="120000"/>
                </a:lnSpc>
              </a:pPr>
              <a:r>
                <a:rPr lang="zh-CN" altLang="en-US" sz="1705" b="1" dirty="0">
                  <a:solidFill>
                    <a:schemeClr val="tx1">
                      <a:lumMod val="65000"/>
                      <a:lumOff val="35000"/>
                    </a:schemeClr>
                  </a:solidFill>
                  <a:cs typeface="+mn-ea"/>
                  <a:sym typeface="+mn-lt"/>
                </a:rPr>
                <a:t>标题文字添加</a:t>
              </a:r>
            </a:p>
          </p:txBody>
        </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par>
                          <p:cTn id="10" fill="hold">
                            <p:stCondLst>
                              <p:cond delay="500"/>
                            </p:stCondLst>
                            <p:childTnLst>
                              <p:par>
                                <p:cTn id="11" presetID="2" presetClass="entr" presetSubtype="8" decel="100000" fill="hold" nodeType="afterEffect">
                                  <p:stCondLst>
                                    <p:cond delay="0"/>
                                  </p:stCondLst>
                                  <p:childTnLst>
                                    <p:set>
                                      <p:cBhvr>
                                        <p:cTn id="12" dur="1" fill="hold">
                                          <p:stCondLst>
                                            <p:cond delay="0"/>
                                          </p:stCondLst>
                                        </p:cTn>
                                        <p:tgtEl>
                                          <p:spTgt spid="463"/>
                                        </p:tgtEl>
                                        <p:attrNameLst>
                                          <p:attrName>style.visibility</p:attrName>
                                        </p:attrNameLst>
                                      </p:cBhvr>
                                      <p:to>
                                        <p:strVal val="visible"/>
                                      </p:to>
                                    </p:set>
                                    <p:anim calcmode="lin" valueType="num">
                                      <p:cBhvr additive="base">
                                        <p:cTn id="13" dur="1000" fill="hold"/>
                                        <p:tgtEl>
                                          <p:spTgt spid="463"/>
                                        </p:tgtEl>
                                        <p:attrNameLst>
                                          <p:attrName>ppt_x</p:attrName>
                                        </p:attrNameLst>
                                      </p:cBhvr>
                                      <p:tavLst>
                                        <p:tav tm="0">
                                          <p:val>
                                            <p:strVal val="0-#ppt_w/2"/>
                                          </p:val>
                                        </p:tav>
                                        <p:tav tm="100000">
                                          <p:val>
                                            <p:strVal val="#ppt_x"/>
                                          </p:val>
                                        </p:tav>
                                      </p:tavLst>
                                    </p:anim>
                                    <p:anim calcmode="lin" valueType="num">
                                      <p:cBhvr additive="base">
                                        <p:cTn id="14" dur="1000" fill="hold"/>
                                        <p:tgtEl>
                                          <p:spTgt spid="463"/>
                                        </p:tgtEl>
                                        <p:attrNameLst>
                                          <p:attrName>ppt_y</p:attrName>
                                        </p:attrNameLst>
                                      </p:cBhvr>
                                      <p:tavLst>
                                        <p:tav tm="0">
                                          <p:val>
                                            <p:strVal val="#ppt_y"/>
                                          </p:val>
                                        </p:tav>
                                        <p:tav tm="100000">
                                          <p:val>
                                            <p:strVal val="#ppt_y"/>
                                          </p:val>
                                        </p:tav>
                                      </p:tavLst>
                                    </p:anim>
                                  </p:childTnLst>
                                </p:cTn>
                              </p:par>
                              <p:par>
                                <p:cTn id="15" presetID="2" presetClass="entr" presetSubtype="4" decel="100000" fill="hold" nodeType="withEffect">
                                  <p:stCondLst>
                                    <p:cond delay="0"/>
                                  </p:stCondLst>
                                  <p:childTnLst>
                                    <p:set>
                                      <p:cBhvr>
                                        <p:cTn id="16" dur="1" fill="hold">
                                          <p:stCondLst>
                                            <p:cond delay="0"/>
                                          </p:stCondLst>
                                        </p:cTn>
                                        <p:tgtEl>
                                          <p:spTgt spid="457"/>
                                        </p:tgtEl>
                                        <p:attrNameLst>
                                          <p:attrName>style.visibility</p:attrName>
                                        </p:attrNameLst>
                                      </p:cBhvr>
                                      <p:to>
                                        <p:strVal val="visible"/>
                                      </p:to>
                                    </p:set>
                                    <p:anim calcmode="lin" valueType="num">
                                      <p:cBhvr additive="base">
                                        <p:cTn id="17" dur="1000" fill="hold"/>
                                        <p:tgtEl>
                                          <p:spTgt spid="457"/>
                                        </p:tgtEl>
                                        <p:attrNameLst>
                                          <p:attrName>ppt_x</p:attrName>
                                        </p:attrNameLst>
                                      </p:cBhvr>
                                      <p:tavLst>
                                        <p:tav tm="0">
                                          <p:val>
                                            <p:strVal val="#ppt_x"/>
                                          </p:val>
                                        </p:tav>
                                        <p:tav tm="100000">
                                          <p:val>
                                            <p:strVal val="#ppt_x"/>
                                          </p:val>
                                        </p:tav>
                                      </p:tavLst>
                                    </p:anim>
                                    <p:anim calcmode="lin" valueType="num">
                                      <p:cBhvr additive="base">
                                        <p:cTn id="18" dur="1000" fill="hold"/>
                                        <p:tgtEl>
                                          <p:spTgt spid="457"/>
                                        </p:tgtEl>
                                        <p:attrNameLst>
                                          <p:attrName>ppt_y</p:attrName>
                                        </p:attrNameLst>
                                      </p:cBhvr>
                                      <p:tavLst>
                                        <p:tav tm="0">
                                          <p:val>
                                            <p:strVal val="1+#ppt_h/2"/>
                                          </p:val>
                                        </p:tav>
                                        <p:tav tm="100000">
                                          <p:val>
                                            <p:strVal val="#ppt_y"/>
                                          </p:val>
                                        </p:tav>
                                      </p:tavLst>
                                    </p:anim>
                                  </p:childTnLst>
                                </p:cTn>
                              </p:par>
                              <p:par>
                                <p:cTn id="19" presetID="2" presetClass="entr" presetSubtype="2" decel="100000" fill="hold" nodeType="withEffect">
                                  <p:stCondLst>
                                    <p:cond delay="0"/>
                                  </p:stCondLst>
                                  <p:childTnLst>
                                    <p:set>
                                      <p:cBhvr>
                                        <p:cTn id="20" dur="1" fill="hold">
                                          <p:stCondLst>
                                            <p:cond delay="0"/>
                                          </p:stCondLst>
                                        </p:cTn>
                                        <p:tgtEl>
                                          <p:spTgt spid="460"/>
                                        </p:tgtEl>
                                        <p:attrNameLst>
                                          <p:attrName>style.visibility</p:attrName>
                                        </p:attrNameLst>
                                      </p:cBhvr>
                                      <p:to>
                                        <p:strVal val="visible"/>
                                      </p:to>
                                    </p:set>
                                    <p:anim calcmode="lin" valueType="num">
                                      <p:cBhvr additive="base">
                                        <p:cTn id="21" dur="1000" fill="hold"/>
                                        <p:tgtEl>
                                          <p:spTgt spid="460"/>
                                        </p:tgtEl>
                                        <p:attrNameLst>
                                          <p:attrName>ppt_x</p:attrName>
                                        </p:attrNameLst>
                                      </p:cBhvr>
                                      <p:tavLst>
                                        <p:tav tm="0">
                                          <p:val>
                                            <p:strVal val="1+#ppt_w/2"/>
                                          </p:val>
                                        </p:tav>
                                        <p:tav tm="100000">
                                          <p:val>
                                            <p:strVal val="#ppt_x"/>
                                          </p:val>
                                        </p:tav>
                                      </p:tavLst>
                                    </p:anim>
                                    <p:anim calcmode="lin" valueType="num">
                                      <p:cBhvr additive="base">
                                        <p:cTn id="22" dur="1000" fill="hold"/>
                                        <p:tgtEl>
                                          <p:spTgt spid="4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69"/>
          <p:cNvSpPr>
            <a:spLocks noChangeArrowheads="1"/>
          </p:cNvSpPr>
          <p:nvPr/>
        </p:nvSpPr>
        <p:spPr bwMode="auto">
          <a:xfrm>
            <a:off x="3317412" y="2258460"/>
            <a:ext cx="5376597" cy="111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r>
              <a:rPr lang="zh-CN" altLang="en-US" sz="6665" dirty="0" smtClean="0">
                <a:solidFill>
                  <a:srgbClr val="82B864"/>
                </a:solidFill>
                <a:latin typeface="+mn-lt"/>
                <a:ea typeface="+mn-ea"/>
                <a:cs typeface="+mn-ea"/>
                <a:sym typeface="+mn-lt"/>
              </a:rPr>
              <a:t>添加标题内容</a:t>
            </a:r>
            <a:endParaRPr lang="en-US" altLang="zh-CN" sz="6665" dirty="0">
              <a:solidFill>
                <a:srgbClr val="82B864"/>
              </a:solidFill>
              <a:latin typeface="+mn-lt"/>
              <a:ea typeface="+mn-ea"/>
              <a:cs typeface="+mn-ea"/>
              <a:sym typeface="+mn-lt"/>
            </a:endParaRPr>
          </a:p>
        </p:txBody>
      </p:sp>
      <p:sp>
        <p:nvSpPr>
          <p:cNvPr id="10" name="矩形 70"/>
          <p:cNvSpPr>
            <a:spLocks noChangeArrowheads="1"/>
          </p:cNvSpPr>
          <p:nvPr/>
        </p:nvSpPr>
        <p:spPr bwMode="auto">
          <a:xfrm>
            <a:off x="3557438" y="3376779"/>
            <a:ext cx="4896544"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zh-CN" altLang="en-US" sz="1465" dirty="0">
                <a:solidFill>
                  <a:srgbClr val="82B864"/>
                </a:solidFill>
                <a:latin typeface="+mn-lt"/>
                <a:ea typeface="+mn-ea"/>
                <a:cs typeface="+mn-ea"/>
                <a:sym typeface="+mn-lt"/>
              </a:rPr>
              <a:t>在此处添加文字，在此处添加文字，在此处添加文字</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6240" y="656692"/>
            <a:ext cx="2918940" cy="1445877"/>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3"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058408" y="2178920"/>
            <a:ext cx="4037739" cy="2682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3554" name="AutoShape 2"/>
          <p:cNvSpPr/>
          <p:nvPr/>
        </p:nvSpPr>
        <p:spPr bwMode="auto">
          <a:xfrm>
            <a:off x="672059" y="2168859"/>
            <a:ext cx="5121290" cy="2692668"/>
          </a:xfrm>
          <a:custGeom>
            <a:avLst/>
            <a:gdLst>
              <a:gd name="T0" fmla="*/ 5124450 w 21600"/>
              <a:gd name="T1" fmla="*/ 2533650 h 21600"/>
              <a:gd name="T2" fmla="*/ 5124450 w 21600"/>
              <a:gd name="T3" fmla="*/ 2533650 h 21600"/>
              <a:gd name="T4" fmla="*/ 5124450 w 21600"/>
              <a:gd name="T5" fmla="*/ 2533650 h 21600"/>
              <a:gd name="T6" fmla="*/ 5124450 w 21600"/>
              <a:gd name="T7" fmla="*/ 253365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solidFill>
            <a:srgbClr val="86BD7D"/>
          </a:solidFill>
          <a:ln w="12700" cap="flat" cmpd="sng" algn="ctr">
            <a:noFill/>
            <a:prstDash val="solid"/>
            <a:miter lim="800000"/>
          </a:ln>
          <a:effectLst/>
        </p:spPr>
        <p:txBody>
          <a:bodyPr lIns="91412" tIns="45706" rIns="91412" bIns="45706" rtlCol="0" anchor="ctr"/>
          <a:lstStyle/>
          <a:p>
            <a:endParaRPr lang="zh-CN" altLang="en-US" sz="1865" kern="0" dirty="0">
              <a:solidFill>
                <a:schemeClr val="tx1">
                  <a:lumMod val="65000"/>
                  <a:lumOff val="35000"/>
                </a:schemeClr>
              </a:solidFill>
              <a:cs typeface="+mn-ea"/>
              <a:sym typeface="+mn-lt"/>
            </a:endParaRPr>
          </a:p>
        </p:txBody>
      </p:sp>
      <p:sp>
        <p:nvSpPr>
          <p:cNvPr id="23555" name="AutoShape 3"/>
          <p:cNvSpPr/>
          <p:nvPr/>
        </p:nvSpPr>
        <p:spPr bwMode="auto">
          <a:xfrm>
            <a:off x="678407" y="1518783"/>
            <a:ext cx="9401721" cy="47466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algn="just" defTabSz="323850">
              <a:lnSpc>
                <a:spcPct val="120000"/>
              </a:lnSpc>
              <a:spcBef>
                <a:spcPts val="850"/>
              </a:spcBef>
            </a:pPr>
            <a:r>
              <a:rPr lang="es-ES" altLang="zh-CN" sz="1200" dirty="0">
                <a:solidFill>
                  <a:schemeClr val="bg1">
                    <a:lumMod val="65000"/>
                  </a:schemeClr>
                </a:solidFill>
                <a:cs typeface="+mn-ea"/>
                <a:sym typeface="+mn-lt"/>
              </a:rPr>
              <a:t>Lorem ipsum dolor sit amet, consectetur adipiscing elit. Integer mollis vehicula ligula ut faucibus. Curabitur vestibulum consequat urna et vehicula. Suspendisse feugiat biben- dum egestas. Sed bibendum urna id sem tincidunt commodoat dictum lectus. Fusce felis tellus</a:t>
            </a:r>
            <a:endParaRPr lang="es-ES" altLang="zh-CN" sz="3200" dirty="0">
              <a:solidFill>
                <a:schemeClr val="bg1">
                  <a:lumMod val="65000"/>
                </a:schemeClr>
              </a:solidFill>
              <a:cs typeface="+mn-ea"/>
              <a:sym typeface="+mn-lt"/>
            </a:endParaRPr>
          </a:p>
        </p:txBody>
      </p:sp>
      <p:sp>
        <p:nvSpPr>
          <p:cNvPr id="23563" name="AutoShape 11"/>
          <p:cNvSpPr/>
          <p:nvPr/>
        </p:nvSpPr>
        <p:spPr bwMode="auto">
          <a:xfrm>
            <a:off x="678407" y="5387420"/>
            <a:ext cx="9401721" cy="475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algn="just" defTabSz="323850">
              <a:lnSpc>
                <a:spcPct val="120000"/>
              </a:lnSpc>
              <a:spcBef>
                <a:spcPts val="850"/>
              </a:spcBef>
            </a:pPr>
            <a:r>
              <a:rPr lang="es-ES" altLang="zh-CN" sz="1200" dirty="0">
                <a:solidFill>
                  <a:schemeClr val="bg1">
                    <a:lumMod val="65000"/>
                  </a:schemeClr>
                </a:solidFill>
                <a:cs typeface="+mn-ea"/>
                <a:sym typeface="+mn-lt"/>
              </a:rPr>
              <a:t>Lorem ipsum dolor sit amet, consectetur adipiscing elit. Integer mollis vehicula ligula ut faucibus. Curabitur vestibulum consequat urna et vehicula. Suspendisse feugiat biben- dum egestas. Sed bibendum urna id sem tincidunt commodoat dictum lectus. Fusce felis tellus</a:t>
            </a:r>
            <a:endParaRPr lang="es-ES" altLang="zh-CN" sz="3200" dirty="0">
              <a:solidFill>
                <a:schemeClr val="bg1">
                  <a:lumMod val="65000"/>
                </a:schemeClr>
              </a:solidFill>
              <a:cs typeface="+mn-ea"/>
              <a:sym typeface="+mn-lt"/>
            </a:endParaRPr>
          </a:p>
        </p:txBody>
      </p:sp>
      <p:sp>
        <p:nvSpPr>
          <p:cNvPr id="23564" name="AutoShape 12"/>
          <p:cNvSpPr/>
          <p:nvPr/>
        </p:nvSpPr>
        <p:spPr bwMode="auto">
          <a:xfrm>
            <a:off x="681579" y="5047001"/>
            <a:ext cx="6233440" cy="3048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9039" tIns="19039" rIns="19039" bIns="19039" anchor="ctr"/>
          <a:lstStyle/>
          <a:p>
            <a:r>
              <a:rPr lang="zh-CN" altLang="en-US" sz="1600" dirty="0">
                <a:solidFill>
                  <a:schemeClr val="tx1">
                    <a:lumMod val="65000"/>
                    <a:lumOff val="35000"/>
                  </a:schemeClr>
                </a:solidFill>
                <a:cs typeface="+mn-ea"/>
                <a:sym typeface="+mn-lt"/>
              </a:rPr>
              <a:t>在此添加标题</a:t>
            </a:r>
            <a:endParaRPr lang="id-ID" altLang="zh-CN" sz="1600" dirty="0">
              <a:solidFill>
                <a:schemeClr val="tx1">
                  <a:lumMod val="65000"/>
                  <a:lumOff val="35000"/>
                </a:schemeClr>
              </a:solidFill>
              <a:cs typeface="+mn-ea"/>
              <a:sym typeface="+mn-lt"/>
            </a:endParaRPr>
          </a:p>
        </p:txBody>
      </p:sp>
      <p:sp>
        <p:nvSpPr>
          <p:cNvPr id="14" name="Text Box 552"/>
          <p:cNvSpPr txBox="1">
            <a:spLocks noChangeArrowheads="1"/>
          </p:cNvSpPr>
          <p:nvPr/>
        </p:nvSpPr>
        <p:spPr bwMode="auto">
          <a:xfrm>
            <a:off x="827680" y="2649445"/>
            <a:ext cx="4277922" cy="338398"/>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12" tIns="45706" rIns="91412" bIns="45706">
            <a:spAutoFit/>
          </a:bodyPr>
          <a:lstStyle/>
          <a:p>
            <a:pPr algn="ctr"/>
            <a:r>
              <a:rPr lang="zh-CN" altLang="en-US" sz="1600" dirty="0">
                <a:solidFill>
                  <a:schemeClr val="bg1"/>
                </a:solidFill>
                <a:cs typeface="+mn-ea"/>
                <a:sym typeface="+mn-lt"/>
              </a:rPr>
              <a:t>在此添加标题</a:t>
            </a:r>
            <a:endParaRPr lang="id-ID" altLang="zh-CN" sz="1600" dirty="0">
              <a:solidFill>
                <a:schemeClr val="bg1"/>
              </a:solidFill>
              <a:cs typeface="+mn-ea"/>
              <a:sym typeface="+mn-lt"/>
            </a:endParaRPr>
          </a:p>
        </p:txBody>
      </p:sp>
      <p:sp>
        <p:nvSpPr>
          <p:cNvPr id="15" name="Text Box 552"/>
          <p:cNvSpPr txBox="1">
            <a:spLocks noChangeArrowheads="1"/>
          </p:cNvSpPr>
          <p:nvPr/>
        </p:nvSpPr>
        <p:spPr bwMode="auto">
          <a:xfrm>
            <a:off x="827677" y="3300056"/>
            <a:ext cx="4822478" cy="461637"/>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12" tIns="45706" rIns="91412" bIns="45706">
            <a:spAutoFit/>
          </a:bodyPr>
          <a:lstStyle/>
          <a:p>
            <a:pPr algn="l"/>
            <a:r>
              <a:rPr lang="en-US" altLang="zh-CN" sz="1200" dirty="0" err="1">
                <a:solidFill>
                  <a:schemeClr val="bg1"/>
                </a:solidFill>
                <a:cs typeface="+mn-ea"/>
                <a:sym typeface="+mn-lt"/>
              </a:rPr>
              <a:t>Lorem</a:t>
            </a:r>
            <a:r>
              <a:rPr lang="en-US" altLang="zh-CN" sz="1200" dirty="0">
                <a:solidFill>
                  <a:schemeClr val="bg1"/>
                </a:solidFill>
                <a:cs typeface="+mn-ea"/>
                <a:sym typeface="+mn-lt"/>
              </a:rPr>
              <a:t> </a:t>
            </a:r>
            <a:r>
              <a:rPr lang="en-US" altLang="zh-CN" sz="1200" dirty="0" err="1">
                <a:solidFill>
                  <a:schemeClr val="bg1"/>
                </a:solidFill>
                <a:cs typeface="+mn-ea"/>
                <a:sym typeface="+mn-lt"/>
              </a:rPr>
              <a:t>Ipsum</a:t>
            </a:r>
            <a:r>
              <a:rPr lang="en-US" altLang="zh-CN" sz="1200" dirty="0">
                <a:solidFill>
                  <a:schemeClr val="bg1"/>
                </a:solidFill>
                <a:cs typeface="+mn-ea"/>
                <a:sym typeface="+mn-lt"/>
              </a:rPr>
              <a:t> is simply dummy text of the printing and typesetting industry.</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553"/>
                                        </p:tgtEl>
                                        <p:attrNameLst>
                                          <p:attrName>style.visibility</p:attrName>
                                        </p:attrNameLst>
                                      </p:cBhvr>
                                      <p:to>
                                        <p:strVal val="visible"/>
                                      </p:to>
                                    </p:set>
                                    <p:animEffect transition="in" filter="fade">
                                      <p:cBhvr>
                                        <p:cTn id="7" dur="500"/>
                                        <p:tgtEl>
                                          <p:spTgt spid="23553"/>
                                        </p:tgtEl>
                                      </p:cBhvr>
                                    </p:animEffect>
                                  </p:childTnLst>
                                </p:cTn>
                              </p:par>
                            </p:childTnLst>
                          </p:cTn>
                        </p:par>
                        <p:par>
                          <p:cTn id="8" fill="hold">
                            <p:stCondLst>
                              <p:cond delay="500"/>
                            </p:stCondLst>
                            <p:childTnLst>
                              <p:par>
                                <p:cTn id="9" presetID="2" presetClass="entr" presetSubtype="2" fill="hold" grpId="0" nodeType="afterEffect">
                                  <p:stCondLst>
                                    <p:cond delay="0"/>
                                  </p:stCondLst>
                                  <p:childTnLst>
                                    <p:set>
                                      <p:cBhvr>
                                        <p:cTn id="10" dur="1" fill="hold">
                                          <p:stCondLst>
                                            <p:cond delay="0"/>
                                          </p:stCondLst>
                                        </p:cTn>
                                        <p:tgtEl>
                                          <p:spTgt spid="23555"/>
                                        </p:tgtEl>
                                        <p:attrNameLst>
                                          <p:attrName>style.visibility</p:attrName>
                                        </p:attrNameLst>
                                      </p:cBhvr>
                                      <p:to>
                                        <p:strVal val="visible"/>
                                      </p:to>
                                    </p:set>
                                    <p:anim calcmode="lin" valueType="num">
                                      <p:cBhvr additive="base">
                                        <p:cTn id="11" dur="500" fill="hold"/>
                                        <p:tgtEl>
                                          <p:spTgt spid="23555"/>
                                        </p:tgtEl>
                                        <p:attrNameLst>
                                          <p:attrName>ppt_x</p:attrName>
                                        </p:attrNameLst>
                                      </p:cBhvr>
                                      <p:tavLst>
                                        <p:tav tm="0">
                                          <p:val>
                                            <p:strVal val="1+#ppt_w/2"/>
                                          </p:val>
                                        </p:tav>
                                        <p:tav tm="100000">
                                          <p:val>
                                            <p:strVal val="#ppt_x"/>
                                          </p:val>
                                        </p:tav>
                                      </p:tavLst>
                                    </p:anim>
                                    <p:anim calcmode="lin" valueType="num">
                                      <p:cBhvr additive="base">
                                        <p:cTn id="12" dur="500" fill="hold"/>
                                        <p:tgtEl>
                                          <p:spTgt spid="23555"/>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9" presetClass="entr" presetSubtype="0" fill="hold" grpId="0" nodeType="afterEffect">
                                  <p:stCondLst>
                                    <p:cond delay="0"/>
                                  </p:stCondLst>
                                  <p:childTnLst>
                                    <p:set>
                                      <p:cBhvr>
                                        <p:cTn id="15" dur="1" fill="hold">
                                          <p:stCondLst>
                                            <p:cond delay="0"/>
                                          </p:stCondLst>
                                        </p:cTn>
                                        <p:tgtEl>
                                          <p:spTgt spid="23554"/>
                                        </p:tgtEl>
                                        <p:attrNameLst>
                                          <p:attrName>style.visibility</p:attrName>
                                        </p:attrNameLst>
                                      </p:cBhvr>
                                      <p:to>
                                        <p:strVal val="visible"/>
                                      </p:to>
                                    </p:set>
                                    <p:animEffect transition="in" filter="dissolve">
                                      <p:cBhvr>
                                        <p:cTn id="16" dur="500"/>
                                        <p:tgtEl>
                                          <p:spTgt spid="23554"/>
                                        </p:tgtEl>
                                      </p:cBhvr>
                                    </p:animEffect>
                                  </p:childTnLst>
                                </p:cTn>
                              </p:par>
                            </p:childTnLst>
                          </p:cTn>
                        </p:par>
                        <p:par>
                          <p:cTn id="17" fill="hold">
                            <p:stCondLst>
                              <p:cond delay="1500"/>
                            </p:stCondLst>
                            <p:childTnLst>
                              <p:par>
                                <p:cTn id="18" presetID="2" presetClass="entr" presetSubtype="2" fill="hold" grpId="0" nodeType="afterEffect">
                                  <p:stCondLst>
                                    <p:cond delay="0"/>
                                  </p:stCondLst>
                                  <p:childTnLst>
                                    <p:set>
                                      <p:cBhvr>
                                        <p:cTn id="19" dur="1" fill="hold">
                                          <p:stCondLst>
                                            <p:cond delay="0"/>
                                          </p:stCondLst>
                                        </p:cTn>
                                        <p:tgtEl>
                                          <p:spTgt spid="23563"/>
                                        </p:tgtEl>
                                        <p:attrNameLst>
                                          <p:attrName>style.visibility</p:attrName>
                                        </p:attrNameLst>
                                      </p:cBhvr>
                                      <p:to>
                                        <p:strVal val="visible"/>
                                      </p:to>
                                    </p:set>
                                    <p:anim calcmode="lin" valueType="num">
                                      <p:cBhvr additive="base">
                                        <p:cTn id="20" dur="500" fill="hold"/>
                                        <p:tgtEl>
                                          <p:spTgt spid="23563"/>
                                        </p:tgtEl>
                                        <p:attrNameLst>
                                          <p:attrName>ppt_x</p:attrName>
                                        </p:attrNameLst>
                                      </p:cBhvr>
                                      <p:tavLst>
                                        <p:tav tm="0">
                                          <p:val>
                                            <p:strVal val="1+#ppt_w/2"/>
                                          </p:val>
                                        </p:tav>
                                        <p:tav tm="100000">
                                          <p:val>
                                            <p:strVal val="#ppt_x"/>
                                          </p:val>
                                        </p:tav>
                                      </p:tavLst>
                                    </p:anim>
                                    <p:anim calcmode="lin" valueType="num">
                                      <p:cBhvr additive="base">
                                        <p:cTn id="21" dur="500" fill="hold"/>
                                        <p:tgtEl>
                                          <p:spTgt spid="23563"/>
                                        </p:tgtEl>
                                        <p:attrNameLst>
                                          <p:attrName>ppt_y</p:attrName>
                                        </p:attrNameLst>
                                      </p:cBhvr>
                                      <p:tavLst>
                                        <p:tav tm="0">
                                          <p:val>
                                            <p:strVal val="#ppt_y"/>
                                          </p:val>
                                        </p:tav>
                                        <p:tav tm="100000">
                                          <p:val>
                                            <p:strVal val="#ppt_y"/>
                                          </p:val>
                                        </p:tav>
                                      </p:tavLst>
                                    </p:anim>
                                  </p:childTnLst>
                                </p:cTn>
                              </p:par>
                            </p:childTnLst>
                          </p:cTn>
                        </p:par>
                        <p:par>
                          <p:cTn id="22" fill="hold">
                            <p:stCondLst>
                              <p:cond delay="2000"/>
                            </p:stCondLst>
                            <p:childTnLst>
                              <p:par>
                                <p:cTn id="23" presetID="2" presetClass="entr" presetSubtype="2" fill="hold" grpId="0" nodeType="afterEffect">
                                  <p:stCondLst>
                                    <p:cond delay="0"/>
                                  </p:stCondLst>
                                  <p:childTnLst>
                                    <p:set>
                                      <p:cBhvr>
                                        <p:cTn id="24" dur="1" fill="hold">
                                          <p:stCondLst>
                                            <p:cond delay="0"/>
                                          </p:stCondLst>
                                        </p:cTn>
                                        <p:tgtEl>
                                          <p:spTgt spid="23564"/>
                                        </p:tgtEl>
                                        <p:attrNameLst>
                                          <p:attrName>style.visibility</p:attrName>
                                        </p:attrNameLst>
                                      </p:cBhvr>
                                      <p:to>
                                        <p:strVal val="visible"/>
                                      </p:to>
                                    </p:set>
                                    <p:anim calcmode="lin" valueType="num">
                                      <p:cBhvr additive="base">
                                        <p:cTn id="25" dur="500" fill="hold"/>
                                        <p:tgtEl>
                                          <p:spTgt spid="23564"/>
                                        </p:tgtEl>
                                        <p:attrNameLst>
                                          <p:attrName>ppt_x</p:attrName>
                                        </p:attrNameLst>
                                      </p:cBhvr>
                                      <p:tavLst>
                                        <p:tav tm="0">
                                          <p:val>
                                            <p:strVal val="1+#ppt_w/2"/>
                                          </p:val>
                                        </p:tav>
                                        <p:tav tm="100000">
                                          <p:val>
                                            <p:strVal val="#ppt_x"/>
                                          </p:val>
                                        </p:tav>
                                      </p:tavLst>
                                    </p:anim>
                                    <p:anim calcmode="lin" valueType="num">
                                      <p:cBhvr additive="base">
                                        <p:cTn id="26" dur="500" fill="hold"/>
                                        <p:tgtEl>
                                          <p:spTgt spid="23564"/>
                                        </p:tgtEl>
                                        <p:attrNameLst>
                                          <p:attrName>ppt_y</p:attrName>
                                        </p:attrNameLst>
                                      </p:cBhvr>
                                      <p:tavLst>
                                        <p:tav tm="0">
                                          <p:val>
                                            <p:strVal val="#ppt_y"/>
                                          </p:val>
                                        </p:tav>
                                        <p:tav tm="100000">
                                          <p:val>
                                            <p:strVal val="#ppt_y"/>
                                          </p:val>
                                        </p:tav>
                                      </p:tavLst>
                                    </p:anim>
                                  </p:childTnLst>
                                </p:cTn>
                              </p:par>
                              <p:par>
                                <p:cTn id="27" presetID="41" presetClass="entr" presetSubtype="0" fill="hold" nodeType="withEffect">
                                  <p:stCondLst>
                                    <p:cond delay="200"/>
                                  </p:stCondLst>
                                  <p:iterate type="lt">
                                    <p:tmPct val="10000"/>
                                  </p:iterate>
                                  <p:childTnLst>
                                    <p:set>
                                      <p:cBhvr>
                                        <p:cTn id="28" dur="1" fill="hold">
                                          <p:stCondLst>
                                            <p:cond delay="0"/>
                                          </p:stCondLst>
                                        </p:cTn>
                                        <p:tgtEl>
                                          <p:spTgt spid="14"/>
                                        </p:tgtEl>
                                        <p:attrNameLst>
                                          <p:attrName>style.visibility</p:attrName>
                                        </p:attrNameLst>
                                      </p:cBhvr>
                                      <p:to>
                                        <p:strVal val="visible"/>
                                      </p:to>
                                    </p:set>
                                    <p:anim calcmode="lin" valueType="num">
                                      <p:cBhvr>
                                        <p:cTn id="29" dur="1000" fill="hold"/>
                                        <p:tgtEl>
                                          <p:spTgt spid="14"/>
                                        </p:tgtEl>
                                        <p:attrNameLst>
                                          <p:attrName>ppt_x</p:attrName>
                                        </p:attrNameLst>
                                      </p:cBhvr>
                                      <p:tavLst>
                                        <p:tav tm="0">
                                          <p:val>
                                            <p:strVal val="#ppt_x"/>
                                          </p:val>
                                        </p:tav>
                                        <p:tav tm="50000">
                                          <p:val>
                                            <p:strVal val="#ppt_x+.1"/>
                                          </p:val>
                                        </p:tav>
                                        <p:tav tm="100000">
                                          <p:val>
                                            <p:strVal val="#ppt_x"/>
                                          </p:val>
                                        </p:tav>
                                      </p:tavLst>
                                    </p:anim>
                                    <p:anim calcmode="lin" valueType="num">
                                      <p:cBhvr>
                                        <p:cTn id="30" dur="1000" fill="hold"/>
                                        <p:tgtEl>
                                          <p:spTgt spid="14"/>
                                        </p:tgtEl>
                                        <p:attrNameLst>
                                          <p:attrName>ppt_y</p:attrName>
                                        </p:attrNameLst>
                                      </p:cBhvr>
                                      <p:tavLst>
                                        <p:tav tm="0">
                                          <p:val>
                                            <p:strVal val="#ppt_y"/>
                                          </p:val>
                                        </p:tav>
                                        <p:tav tm="100000">
                                          <p:val>
                                            <p:strVal val="#ppt_y"/>
                                          </p:val>
                                        </p:tav>
                                      </p:tavLst>
                                    </p:anim>
                                    <p:anim calcmode="lin" valueType="num">
                                      <p:cBhvr>
                                        <p:cTn id="31" dur="1000" fill="hold"/>
                                        <p:tgtEl>
                                          <p:spTgt spid="14"/>
                                        </p:tgtEl>
                                        <p:attrNameLst>
                                          <p:attrName>ppt_h</p:attrName>
                                        </p:attrNameLst>
                                      </p:cBhvr>
                                      <p:tavLst>
                                        <p:tav tm="0">
                                          <p:val>
                                            <p:strVal val="#ppt_h/10"/>
                                          </p:val>
                                        </p:tav>
                                        <p:tav tm="50000">
                                          <p:val>
                                            <p:strVal val="#ppt_h+.01"/>
                                          </p:val>
                                        </p:tav>
                                        <p:tav tm="100000">
                                          <p:val>
                                            <p:strVal val="#ppt_h"/>
                                          </p:val>
                                        </p:tav>
                                      </p:tavLst>
                                    </p:anim>
                                    <p:anim calcmode="lin" valueType="num">
                                      <p:cBhvr>
                                        <p:cTn id="32" dur="1000" fill="hold"/>
                                        <p:tgtEl>
                                          <p:spTgt spid="14"/>
                                        </p:tgtEl>
                                        <p:attrNameLst>
                                          <p:attrName>ppt_w</p:attrName>
                                        </p:attrNameLst>
                                      </p:cBhvr>
                                      <p:tavLst>
                                        <p:tav tm="0">
                                          <p:val>
                                            <p:strVal val="#ppt_w/10"/>
                                          </p:val>
                                        </p:tav>
                                        <p:tav tm="50000">
                                          <p:val>
                                            <p:strVal val="#ppt_w+.01"/>
                                          </p:val>
                                        </p:tav>
                                        <p:tav tm="100000">
                                          <p:val>
                                            <p:strVal val="#ppt_w"/>
                                          </p:val>
                                        </p:tav>
                                      </p:tavLst>
                                    </p:anim>
                                    <p:animEffect transition="in" filter="fade">
                                      <p:cBhvr>
                                        <p:cTn id="33" dur="1000" tmFilter="0,0; .5, 1; 1, 1"/>
                                        <p:tgtEl>
                                          <p:spTgt spid="14"/>
                                        </p:tgtEl>
                                      </p:cBhvr>
                                    </p:animEffect>
                                  </p:childTnLst>
                                </p:cTn>
                              </p:par>
                              <p:par>
                                <p:cTn id="34" presetID="41" presetClass="entr" presetSubtype="0" fill="hold" nodeType="withEffect">
                                  <p:stCondLst>
                                    <p:cond delay="200"/>
                                  </p:stCondLst>
                                  <p:iterate type="lt">
                                    <p:tmPct val="10000"/>
                                  </p:iterate>
                                  <p:childTnLst>
                                    <p:set>
                                      <p:cBhvr>
                                        <p:cTn id="35" dur="1" fill="hold">
                                          <p:stCondLst>
                                            <p:cond delay="0"/>
                                          </p:stCondLst>
                                        </p:cTn>
                                        <p:tgtEl>
                                          <p:spTgt spid="15"/>
                                        </p:tgtEl>
                                        <p:attrNameLst>
                                          <p:attrName>style.visibility</p:attrName>
                                        </p:attrNameLst>
                                      </p:cBhvr>
                                      <p:to>
                                        <p:strVal val="visible"/>
                                      </p:to>
                                    </p:set>
                                    <p:anim calcmode="lin" valueType="num">
                                      <p:cBhvr>
                                        <p:cTn id="36" dur="1000" fill="hold"/>
                                        <p:tgtEl>
                                          <p:spTgt spid="15"/>
                                        </p:tgtEl>
                                        <p:attrNameLst>
                                          <p:attrName>ppt_x</p:attrName>
                                        </p:attrNameLst>
                                      </p:cBhvr>
                                      <p:tavLst>
                                        <p:tav tm="0">
                                          <p:val>
                                            <p:strVal val="#ppt_x"/>
                                          </p:val>
                                        </p:tav>
                                        <p:tav tm="50000">
                                          <p:val>
                                            <p:strVal val="#ppt_x+.1"/>
                                          </p:val>
                                        </p:tav>
                                        <p:tav tm="100000">
                                          <p:val>
                                            <p:strVal val="#ppt_x"/>
                                          </p:val>
                                        </p:tav>
                                      </p:tavLst>
                                    </p:anim>
                                    <p:anim calcmode="lin" valueType="num">
                                      <p:cBhvr>
                                        <p:cTn id="37" dur="1000" fill="hold"/>
                                        <p:tgtEl>
                                          <p:spTgt spid="15"/>
                                        </p:tgtEl>
                                        <p:attrNameLst>
                                          <p:attrName>ppt_y</p:attrName>
                                        </p:attrNameLst>
                                      </p:cBhvr>
                                      <p:tavLst>
                                        <p:tav tm="0">
                                          <p:val>
                                            <p:strVal val="#ppt_y"/>
                                          </p:val>
                                        </p:tav>
                                        <p:tav tm="100000">
                                          <p:val>
                                            <p:strVal val="#ppt_y"/>
                                          </p:val>
                                        </p:tav>
                                      </p:tavLst>
                                    </p:anim>
                                    <p:anim calcmode="lin" valueType="num">
                                      <p:cBhvr>
                                        <p:cTn id="38" dur="1000" fill="hold"/>
                                        <p:tgtEl>
                                          <p:spTgt spid="15"/>
                                        </p:tgtEl>
                                        <p:attrNameLst>
                                          <p:attrName>ppt_h</p:attrName>
                                        </p:attrNameLst>
                                      </p:cBhvr>
                                      <p:tavLst>
                                        <p:tav tm="0">
                                          <p:val>
                                            <p:strVal val="#ppt_h/10"/>
                                          </p:val>
                                        </p:tav>
                                        <p:tav tm="50000">
                                          <p:val>
                                            <p:strVal val="#ppt_h+.01"/>
                                          </p:val>
                                        </p:tav>
                                        <p:tav tm="100000">
                                          <p:val>
                                            <p:strVal val="#ppt_h"/>
                                          </p:val>
                                        </p:tav>
                                      </p:tavLst>
                                    </p:anim>
                                    <p:anim calcmode="lin" valueType="num">
                                      <p:cBhvr>
                                        <p:cTn id="39" dur="1000" fill="hold"/>
                                        <p:tgtEl>
                                          <p:spTgt spid="15"/>
                                        </p:tgtEl>
                                        <p:attrNameLst>
                                          <p:attrName>ppt_w</p:attrName>
                                        </p:attrNameLst>
                                      </p:cBhvr>
                                      <p:tavLst>
                                        <p:tav tm="0">
                                          <p:val>
                                            <p:strVal val="#ppt_w/10"/>
                                          </p:val>
                                        </p:tav>
                                        <p:tav tm="50000">
                                          <p:val>
                                            <p:strVal val="#ppt_w+.01"/>
                                          </p:val>
                                        </p:tav>
                                        <p:tav tm="100000">
                                          <p:val>
                                            <p:strVal val="#ppt_w"/>
                                          </p:val>
                                        </p:tav>
                                      </p:tavLst>
                                    </p:anim>
                                    <p:animEffect transition="in" filter="fade">
                                      <p:cBhvr>
                                        <p:cTn id="40" dur="1000" tmFilter="0,0; .5, 1; 1, 1"/>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4" grpId="0" animBg="1"/>
      <p:bldP spid="23555" grpId="0" autoUpdateAnimBg="0"/>
      <p:bldP spid="23563" grpId="0" autoUpdateAnimBg="0"/>
      <p:bldP spid="23564" grpId="0"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106"/>
          <p:cNvGrpSpPr/>
          <p:nvPr/>
        </p:nvGrpSpPr>
        <p:grpSpPr>
          <a:xfrm>
            <a:off x="549796" y="1988840"/>
            <a:ext cx="3599531" cy="2640000"/>
            <a:chOff x="838200" y="1818565"/>
            <a:chExt cx="3000018" cy="2197810"/>
          </a:xfrm>
        </p:grpSpPr>
        <p:grpSp>
          <p:nvGrpSpPr>
            <p:cNvPr id="49" name="Group 36"/>
            <p:cNvGrpSpPr/>
            <p:nvPr/>
          </p:nvGrpSpPr>
          <p:grpSpPr>
            <a:xfrm>
              <a:off x="2019300" y="2381250"/>
              <a:ext cx="644663" cy="1635125"/>
              <a:chOff x="2389188" y="1800226"/>
              <a:chExt cx="828675" cy="2101850"/>
            </a:xfrm>
            <a:solidFill>
              <a:srgbClr val="00559B"/>
            </a:solidFill>
            <a:effectLst>
              <a:innerShdw dist="50800" dir="5400000">
                <a:prstClr val="black">
                  <a:alpha val="20000"/>
                </a:prstClr>
              </a:innerShdw>
            </a:effectLst>
          </p:grpSpPr>
          <p:sp>
            <p:nvSpPr>
              <p:cNvPr id="67" name="Freeform 5"/>
              <p:cNvSpPr/>
              <p:nvPr/>
            </p:nvSpPr>
            <p:spPr bwMode="auto">
              <a:xfrm>
                <a:off x="2640013" y="1800226"/>
                <a:ext cx="327025" cy="325438"/>
              </a:xfrm>
              <a:custGeom>
                <a:avLst/>
                <a:gdLst>
                  <a:gd name="T0" fmla="*/ 325 w 617"/>
                  <a:gd name="T1" fmla="*/ 617 h 617"/>
                  <a:gd name="T2" fmla="*/ 371 w 617"/>
                  <a:gd name="T3" fmla="*/ 611 h 617"/>
                  <a:gd name="T4" fmla="*/ 414 w 617"/>
                  <a:gd name="T5" fmla="*/ 599 h 617"/>
                  <a:gd name="T6" fmla="*/ 456 w 617"/>
                  <a:gd name="T7" fmla="*/ 580 h 617"/>
                  <a:gd name="T8" fmla="*/ 493 w 617"/>
                  <a:gd name="T9" fmla="*/ 556 h 617"/>
                  <a:gd name="T10" fmla="*/ 526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6 w 617"/>
                  <a:gd name="T33" fmla="*/ 91 h 617"/>
                  <a:gd name="T34" fmla="*/ 493 w 617"/>
                  <a:gd name="T35" fmla="*/ 61 h 617"/>
                  <a:gd name="T36" fmla="*/ 456 w 617"/>
                  <a:gd name="T37" fmla="*/ 37 h 617"/>
                  <a:gd name="T38" fmla="*/ 414 w 617"/>
                  <a:gd name="T39" fmla="*/ 18 h 617"/>
                  <a:gd name="T40" fmla="*/ 371 w 617"/>
                  <a:gd name="T41" fmla="*/ 7 h 617"/>
                  <a:gd name="T42" fmla="*/ 325 w 617"/>
                  <a:gd name="T43" fmla="*/ 0 h 617"/>
                  <a:gd name="T44" fmla="*/ 293 w 617"/>
                  <a:gd name="T45" fmla="*/ 0 h 617"/>
                  <a:gd name="T46" fmla="*/ 246 w 617"/>
                  <a:gd name="T47" fmla="*/ 7 h 617"/>
                  <a:gd name="T48" fmla="*/ 202 w 617"/>
                  <a:gd name="T49" fmla="*/ 18 h 617"/>
                  <a:gd name="T50" fmla="*/ 162 w 617"/>
                  <a:gd name="T51" fmla="*/ 37 h 617"/>
                  <a:gd name="T52" fmla="*/ 124 w 617"/>
                  <a:gd name="T53" fmla="*/ 61 h 617"/>
                  <a:gd name="T54" fmla="*/ 90 w 617"/>
                  <a:gd name="T55" fmla="*/ 91 h 617"/>
                  <a:gd name="T56" fmla="*/ 61 w 617"/>
                  <a:gd name="T57" fmla="*/ 124 h 617"/>
                  <a:gd name="T58" fmla="*/ 37 w 617"/>
                  <a:gd name="T59" fmla="*/ 161 h 617"/>
                  <a:gd name="T60" fmla="*/ 19 w 617"/>
                  <a:gd name="T61" fmla="*/ 203 h 617"/>
                  <a:gd name="T62" fmla="*/ 6 w 617"/>
                  <a:gd name="T63" fmla="*/ 247 h 617"/>
                  <a:gd name="T64" fmla="*/ 1 w 617"/>
                  <a:gd name="T65" fmla="*/ 292 h 617"/>
                  <a:gd name="T66" fmla="*/ 1 w 617"/>
                  <a:gd name="T67" fmla="*/ 324 h 617"/>
                  <a:gd name="T68" fmla="*/ 6 w 617"/>
                  <a:gd name="T69" fmla="*/ 370 h 617"/>
                  <a:gd name="T70" fmla="*/ 19 w 617"/>
                  <a:gd name="T71" fmla="*/ 415 h 617"/>
                  <a:gd name="T72" fmla="*/ 37 w 617"/>
                  <a:gd name="T73" fmla="*/ 456 h 617"/>
                  <a:gd name="T74" fmla="*/ 61 w 617"/>
                  <a:gd name="T75" fmla="*/ 493 h 617"/>
                  <a:gd name="T76" fmla="*/ 90 w 617"/>
                  <a:gd name="T77" fmla="*/ 527 h 617"/>
                  <a:gd name="T78" fmla="*/ 124 w 617"/>
                  <a:gd name="T79" fmla="*/ 556 h 617"/>
                  <a:gd name="T80" fmla="*/ 162 w 617"/>
                  <a:gd name="T81" fmla="*/ 580 h 617"/>
                  <a:gd name="T82" fmla="*/ 202 w 617"/>
                  <a:gd name="T83" fmla="*/ 599 h 617"/>
                  <a:gd name="T84" fmla="*/ 246 w 617"/>
                  <a:gd name="T85" fmla="*/ 611 h 617"/>
                  <a:gd name="T86" fmla="*/ 293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9" y="617"/>
                    </a:moveTo>
                    <a:lnTo>
                      <a:pt x="309" y="617"/>
                    </a:lnTo>
                    <a:lnTo>
                      <a:pt x="325" y="617"/>
                    </a:lnTo>
                    <a:lnTo>
                      <a:pt x="340" y="616"/>
                    </a:lnTo>
                    <a:lnTo>
                      <a:pt x="356" y="614"/>
                    </a:lnTo>
                    <a:lnTo>
                      <a:pt x="371" y="611"/>
                    </a:lnTo>
                    <a:lnTo>
                      <a:pt x="386" y="607"/>
                    </a:lnTo>
                    <a:lnTo>
                      <a:pt x="401" y="603"/>
                    </a:lnTo>
                    <a:lnTo>
                      <a:pt x="414" y="599"/>
                    </a:lnTo>
                    <a:lnTo>
                      <a:pt x="428" y="593"/>
                    </a:lnTo>
                    <a:lnTo>
                      <a:pt x="442" y="587"/>
                    </a:lnTo>
                    <a:lnTo>
                      <a:pt x="456" y="580"/>
                    </a:lnTo>
                    <a:lnTo>
                      <a:pt x="469" y="573"/>
                    </a:lnTo>
                    <a:lnTo>
                      <a:pt x="481" y="564"/>
                    </a:lnTo>
                    <a:lnTo>
                      <a:pt x="493" y="556"/>
                    </a:lnTo>
                    <a:lnTo>
                      <a:pt x="505" y="546"/>
                    </a:lnTo>
                    <a:lnTo>
                      <a:pt x="516" y="537"/>
                    </a:lnTo>
                    <a:lnTo>
                      <a:pt x="526" y="527"/>
                    </a:lnTo>
                    <a:lnTo>
                      <a:pt x="537" y="516"/>
                    </a:lnTo>
                    <a:lnTo>
                      <a:pt x="547" y="505"/>
                    </a:lnTo>
                    <a:lnTo>
                      <a:pt x="556" y="493"/>
                    </a:lnTo>
                    <a:lnTo>
                      <a:pt x="565" y="481"/>
                    </a:lnTo>
                    <a:lnTo>
                      <a:pt x="572" y="468"/>
                    </a:lnTo>
                    <a:lnTo>
                      <a:pt x="580" y="456"/>
                    </a:lnTo>
                    <a:lnTo>
                      <a:pt x="587" y="443"/>
                    </a:lnTo>
                    <a:lnTo>
                      <a:pt x="593" y="429"/>
                    </a:lnTo>
                    <a:lnTo>
                      <a:pt x="598" y="415"/>
                    </a:lnTo>
                    <a:lnTo>
                      <a:pt x="603" y="400"/>
                    </a:lnTo>
                    <a:lnTo>
                      <a:pt x="608" y="385"/>
                    </a:lnTo>
                    <a:lnTo>
                      <a:pt x="611" y="370"/>
                    </a:lnTo>
                    <a:lnTo>
                      <a:pt x="614" y="355"/>
                    </a:lnTo>
                    <a:lnTo>
                      <a:pt x="616" y="340"/>
                    </a:lnTo>
                    <a:lnTo>
                      <a:pt x="617" y="324"/>
                    </a:lnTo>
                    <a:lnTo>
                      <a:pt x="617" y="308"/>
                    </a:lnTo>
                    <a:lnTo>
                      <a:pt x="617" y="308"/>
                    </a:lnTo>
                    <a:lnTo>
                      <a:pt x="617" y="292"/>
                    </a:lnTo>
                    <a:lnTo>
                      <a:pt x="616" y="277"/>
                    </a:lnTo>
                    <a:lnTo>
                      <a:pt x="614" y="261"/>
                    </a:lnTo>
                    <a:lnTo>
                      <a:pt x="611" y="247"/>
                    </a:lnTo>
                    <a:lnTo>
                      <a:pt x="608" y="232"/>
                    </a:lnTo>
                    <a:lnTo>
                      <a:pt x="603" y="217"/>
                    </a:lnTo>
                    <a:lnTo>
                      <a:pt x="598" y="203"/>
                    </a:lnTo>
                    <a:lnTo>
                      <a:pt x="593" y="189"/>
                    </a:lnTo>
                    <a:lnTo>
                      <a:pt x="587" y="175"/>
                    </a:lnTo>
                    <a:lnTo>
                      <a:pt x="580" y="161"/>
                    </a:lnTo>
                    <a:lnTo>
                      <a:pt x="572" y="148"/>
                    </a:lnTo>
                    <a:lnTo>
                      <a:pt x="565" y="136"/>
                    </a:lnTo>
                    <a:lnTo>
                      <a:pt x="556" y="124"/>
                    </a:lnTo>
                    <a:lnTo>
                      <a:pt x="547" y="112"/>
                    </a:lnTo>
                    <a:lnTo>
                      <a:pt x="537" y="101"/>
                    </a:lnTo>
                    <a:lnTo>
                      <a:pt x="526" y="91"/>
                    </a:lnTo>
                    <a:lnTo>
                      <a:pt x="516" y="80"/>
                    </a:lnTo>
                    <a:lnTo>
                      <a:pt x="505" y="71"/>
                    </a:lnTo>
                    <a:lnTo>
                      <a:pt x="493" y="61"/>
                    </a:lnTo>
                    <a:lnTo>
                      <a:pt x="481" y="52"/>
                    </a:lnTo>
                    <a:lnTo>
                      <a:pt x="469" y="45"/>
                    </a:lnTo>
                    <a:lnTo>
                      <a:pt x="456" y="37"/>
                    </a:lnTo>
                    <a:lnTo>
                      <a:pt x="442" y="30"/>
                    </a:lnTo>
                    <a:lnTo>
                      <a:pt x="428" y="25"/>
                    </a:lnTo>
                    <a:lnTo>
                      <a:pt x="414" y="18"/>
                    </a:lnTo>
                    <a:lnTo>
                      <a:pt x="401" y="14"/>
                    </a:lnTo>
                    <a:lnTo>
                      <a:pt x="386" y="10"/>
                    </a:lnTo>
                    <a:lnTo>
                      <a:pt x="371" y="7"/>
                    </a:lnTo>
                    <a:lnTo>
                      <a:pt x="356" y="3"/>
                    </a:lnTo>
                    <a:lnTo>
                      <a:pt x="340" y="1"/>
                    </a:lnTo>
                    <a:lnTo>
                      <a:pt x="325" y="0"/>
                    </a:lnTo>
                    <a:lnTo>
                      <a:pt x="309" y="0"/>
                    </a:lnTo>
                    <a:lnTo>
                      <a:pt x="309" y="0"/>
                    </a:lnTo>
                    <a:lnTo>
                      <a:pt x="293" y="0"/>
                    </a:lnTo>
                    <a:lnTo>
                      <a:pt x="277" y="1"/>
                    </a:lnTo>
                    <a:lnTo>
                      <a:pt x="262" y="3"/>
                    </a:lnTo>
                    <a:lnTo>
                      <a:pt x="246" y="7"/>
                    </a:lnTo>
                    <a:lnTo>
                      <a:pt x="231" y="10"/>
                    </a:lnTo>
                    <a:lnTo>
                      <a:pt x="217" y="14"/>
                    </a:lnTo>
                    <a:lnTo>
                      <a:pt x="202" y="18"/>
                    </a:lnTo>
                    <a:lnTo>
                      <a:pt x="188" y="25"/>
                    </a:lnTo>
                    <a:lnTo>
                      <a:pt x="174" y="30"/>
                    </a:lnTo>
                    <a:lnTo>
                      <a:pt x="162" y="37"/>
                    </a:lnTo>
                    <a:lnTo>
                      <a:pt x="149" y="45"/>
                    </a:lnTo>
                    <a:lnTo>
                      <a:pt x="136" y="52"/>
                    </a:lnTo>
                    <a:lnTo>
                      <a:pt x="124" y="61"/>
                    </a:lnTo>
                    <a:lnTo>
                      <a:pt x="113" y="71"/>
                    </a:lnTo>
                    <a:lnTo>
                      <a:pt x="101" y="80"/>
                    </a:lnTo>
                    <a:lnTo>
                      <a:pt x="90" y="91"/>
                    </a:lnTo>
                    <a:lnTo>
                      <a:pt x="81" y="101"/>
                    </a:lnTo>
                    <a:lnTo>
                      <a:pt x="70" y="112"/>
                    </a:lnTo>
                    <a:lnTo>
                      <a:pt x="61" y="124"/>
                    </a:lnTo>
                    <a:lnTo>
                      <a:pt x="53" y="136"/>
                    </a:lnTo>
                    <a:lnTo>
                      <a:pt x="44" y="148"/>
                    </a:lnTo>
                    <a:lnTo>
                      <a:pt x="37" y="161"/>
                    </a:lnTo>
                    <a:lnTo>
                      <a:pt x="30" y="175"/>
                    </a:lnTo>
                    <a:lnTo>
                      <a:pt x="24" y="189"/>
                    </a:lnTo>
                    <a:lnTo>
                      <a:pt x="19" y="203"/>
                    </a:lnTo>
                    <a:lnTo>
                      <a:pt x="13" y="217"/>
                    </a:lnTo>
                    <a:lnTo>
                      <a:pt x="9" y="232"/>
                    </a:lnTo>
                    <a:lnTo>
                      <a:pt x="6" y="247"/>
                    </a:lnTo>
                    <a:lnTo>
                      <a:pt x="4" y="261"/>
                    </a:lnTo>
                    <a:lnTo>
                      <a:pt x="2" y="277"/>
                    </a:lnTo>
                    <a:lnTo>
                      <a:pt x="1" y="292"/>
                    </a:lnTo>
                    <a:lnTo>
                      <a:pt x="0" y="308"/>
                    </a:lnTo>
                    <a:lnTo>
                      <a:pt x="0" y="308"/>
                    </a:lnTo>
                    <a:lnTo>
                      <a:pt x="1" y="324"/>
                    </a:lnTo>
                    <a:lnTo>
                      <a:pt x="2" y="340"/>
                    </a:lnTo>
                    <a:lnTo>
                      <a:pt x="4" y="355"/>
                    </a:lnTo>
                    <a:lnTo>
                      <a:pt x="6" y="370"/>
                    </a:lnTo>
                    <a:lnTo>
                      <a:pt x="9" y="385"/>
                    </a:lnTo>
                    <a:lnTo>
                      <a:pt x="13" y="400"/>
                    </a:lnTo>
                    <a:lnTo>
                      <a:pt x="19" y="415"/>
                    </a:lnTo>
                    <a:lnTo>
                      <a:pt x="24" y="429"/>
                    </a:lnTo>
                    <a:lnTo>
                      <a:pt x="30" y="443"/>
                    </a:lnTo>
                    <a:lnTo>
                      <a:pt x="37" y="456"/>
                    </a:lnTo>
                    <a:lnTo>
                      <a:pt x="44" y="468"/>
                    </a:lnTo>
                    <a:lnTo>
                      <a:pt x="53" y="481"/>
                    </a:lnTo>
                    <a:lnTo>
                      <a:pt x="61" y="493"/>
                    </a:lnTo>
                    <a:lnTo>
                      <a:pt x="70" y="505"/>
                    </a:lnTo>
                    <a:lnTo>
                      <a:pt x="81" y="516"/>
                    </a:lnTo>
                    <a:lnTo>
                      <a:pt x="90" y="527"/>
                    </a:lnTo>
                    <a:lnTo>
                      <a:pt x="101" y="537"/>
                    </a:lnTo>
                    <a:lnTo>
                      <a:pt x="113" y="546"/>
                    </a:lnTo>
                    <a:lnTo>
                      <a:pt x="124" y="556"/>
                    </a:lnTo>
                    <a:lnTo>
                      <a:pt x="136" y="564"/>
                    </a:lnTo>
                    <a:lnTo>
                      <a:pt x="149" y="573"/>
                    </a:lnTo>
                    <a:lnTo>
                      <a:pt x="162" y="580"/>
                    </a:lnTo>
                    <a:lnTo>
                      <a:pt x="174" y="587"/>
                    </a:lnTo>
                    <a:lnTo>
                      <a:pt x="188" y="593"/>
                    </a:lnTo>
                    <a:lnTo>
                      <a:pt x="202" y="599"/>
                    </a:lnTo>
                    <a:lnTo>
                      <a:pt x="217" y="603"/>
                    </a:lnTo>
                    <a:lnTo>
                      <a:pt x="231" y="607"/>
                    </a:lnTo>
                    <a:lnTo>
                      <a:pt x="246" y="611"/>
                    </a:lnTo>
                    <a:lnTo>
                      <a:pt x="262" y="614"/>
                    </a:lnTo>
                    <a:lnTo>
                      <a:pt x="277" y="616"/>
                    </a:lnTo>
                    <a:lnTo>
                      <a:pt x="293" y="617"/>
                    </a:lnTo>
                    <a:lnTo>
                      <a:pt x="309" y="617"/>
                    </a:lnTo>
                    <a:lnTo>
                      <a:pt x="309" y="617"/>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68" name="Freeform 6"/>
              <p:cNvSpPr/>
              <p:nvPr/>
            </p:nvSpPr>
            <p:spPr bwMode="auto">
              <a:xfrm>
                <a:off x="2389188" y="2160588"/>
                <a:ext cx="828675" cy="1741488"/>
              </a:xfrm>
              <a:custGeom>
                <a:avLst/>
                <a:gdLst>
                  <a:gd name="T0" fmla="*/ 310 w 1567"/>
                  <a:gd name="T1" fmla="*/ 0 h 3289"/>
                  <a:gd name="T2" fmla="*/ 245 w 1567"/>
                  <a:gd name="T3" fmla="*/ 9 h 3289"/>
                  <a:gd name="T4" fmla="*/ 185 w 1567"/>
                  <a:gd name="T5" fmla="*/ 32 h 3289"/>
                  <a:gd name="T6" fmla="*/ 131 w 1567"/>
                  <a:gd name="T7" fmla="*/ 65 h 3289"/>
                  <a:gd name="T8" fmla="*/ 85 w 1567"/>
                  <a:gd name="T9" fmla="*/ 107 h 3289"/>
                  <a:gd name="T10" fmla="*/ 47 w 1567"/>
                  <a:gd name="T11" fmla="*/ 157 h 3289"/>
                  <a:gd name="T12" fmla="*/ 20 w 1567"/>
                  <a:gd name="T13" fmla="*/ 214 h 3289"/>
                  <a:gd name="T14" fmla="*/ 4 w 1567"/>
                  <a:gd name="T15" fmla="*/ 277 h 3289"/>
                  <a:gd name="T16" fmla="*/ 0 w 1567"/>
                  <a:gd name="T17" fmla="*/ 478 h 3289"/>
                  <a:gd name="T18" fmla="*/ 1 w 1567"/>
                  <a:gd name="T19" fmla="*/ 1488 h 3289"/>
                  <a:gd name="T20" fmla="*/ 16 w 1567"/>
                  <a:gd name="T21" fmla="*/ 1536 h 3289"/>
                  <a:gd name="T22" fmla="*/ 47 w 1567"/>
                  <a:gd name="T23" fmla="*/ 1574 h 3289"/>
                  <a:gd name="T24" fmla="*/ 90 w 1567"/>
                  <a:gd name="T25" fmla="*/ 1598 h 3289"/>
                  <a:gd name="T26" fmla="*/ 129 w 1567"/>
                  <a:gd name="T27" fmla="*/ 1604 h 3289"/>
                  <a:gd name="T28" fmla="*/ 179 w 1567"/>
                  <a:gd name="T29" fmla="*/ 1594 h 3289"/>
                  <a:gd name="T30" fmla="*/ 220 w 1567"/>
                  <a:gd name="T31" fmla="*/ 1566 h 3289"/>
                  <a:gd name="T32" fmla="*/ 247 w 1567"/>
                  <a:gd name="T33" fmla="*/ 1525 h 3289"/>
                  <a:gd name="T34" fmla="*/ 257 w 1567"/>
                  <a:gd name="T35" fmla="*/ 1475 h 3289"/>
                  <a:gd name="T36" fmla="*/ 370 w 1567"/>
                  <a:gd name="T37" fmla="*/ 1582 h 3289"/>
                  <a:gd name="T38" fmla="*/ 373 w 1567"/>
                  <a:gd name="T39" fmla="*/ 3149 h 3289"/>
                  <a:gd name="T40" fmla="*/ 400 w 1567"/>
                  <a:gd name="T41" fmla="*/ 3212 h 3289"/>
                  <a:gd name="T42" fmla="*/ 447 w 1567"/>
                  <a:gd name="T43" fmla="*/ 3259 h 3289"/>
                  <a:gd name="T44" fmla="*/ 510 w 1567"/>
                  <a:gd name="T45" fmla="*/ 3286 h 3289"/>
                  <a:gd name="T46" fmla="*/ 563 w 1567"/>
                  <a:gd name="T47" fmla="*/ 3288 h 3289"/>
                  <a:gd name="T48" fmla="*/ 628 w 1567"/>
                  <a:gd name="T49" fmla="*/ 3268 h 3289"/>
                  <a:gd name="T50" fmla="*/ 679 w 1567"/>
                  <a:gd name="T51" fmla="*/ 3226 h 3289"/>
                  <a:gd name="T52" fmla="*/ 712 w 1567"/>
                  <a:gd name="T53" fmla="*/ 3166 h 3289"/>
                  <a:gd name="T54" fmla="*/ 720 w 1567"/>
                  <a:gd name="T55" fmla="*/ 1582 h 3289"/>
                  <a:gd name="T56" fmla="*/ 828 w 1567"/>
                  <a:gd name="T57" fmla="*/ 3132 h 3289"/>
                  <a:gd name="T58" fmla="*/ 848 w 1567"/>
                  <a:gd name="T59" fmla="*/ 3197 h 3289"/>
                  <a:gd name="T60" fmla="*/ 891 w 1567"/>
                  <a:gd name="T61" fmla="*/ 3249 h 3289"/>
                  <a:gd name="T62" fmla="*/ 949 w 1567"/>
                  <a:gd name="T63" fmla="*/ 3281 h 3289"/>
                  <a:gd name="T64" fmla="*/ 1001 w 1567"/>
                  <a:gd name="T65" fmla="*/ 3289 h 3289"/>
                  <a:gd name="T66" fmla="*/ 1070 w 1567"/>
                  <a:gd name="T67" fmla="*/ 3275 h 3289"/>
                  <a:gd name="T68" fmla="*/ 1125 w 1567"/>
                  <a:gd name="T69" fmla="*/ 3238 h 3289"/>
                  <a:gd name="T70" fmla="*/ 1163 w 1567"/>
                  <a:gd name="T71" fmla="*/ 3182 h 3289"/>
                  <a:gd name="T72" fmla="*/ 1176 w 1567"/>
                  <a:gd name="T73" fmla="*/ 3114 h 3289"/>
                  <a:gd name="T74" fmla="*/ 1310 w 1567"/>
                  <a:gd name="T75" fmla="*/ 513 h 3289"/>
                  <a:gd name="T76" fmla="*/ 1313 w 1567"/>
                  <a:gd name="T77" fmla="*/ 1501 h 3289"/>
                  <a:gd name="T78" fmla="*/ 1332 w 1567"/>
                  <a:gd name="T79" fmla="*/ 1547 h 3289"/>
                  <a:gd name="T80" fmla="*/ 1366 w 1567"/>
                  <a:gd name="T81" fmla="*/ 1582 h 3289"/>
                  <a:gd name="T82" fmla="*/ 1413 w 1567"/>
                  <a:gd name="T83" fmla="*/ 1601 h 3289"/>
                  <a:gd name="T84" fmla="*/ 1452 w 1567"/>
                  <a:gd name="T85" fmla="*/ 1603 h 3289"/>
                  <a:gd name="T86" fmla="*/ 1500 w 1567"/>
                  <a:gd name="T87" fmla="*/ 1588 h 3289"/>
                  <a:gd name="T88" fmla="*/ 1538 w 1567"/>
                  <a:gd name="T89" fmla="*/ 1557 h 3289"/>
                  <a:gd name="T90" fmla="*/ 1562 w 1567"/>
                  <a:gd name="T91" fmla="*/ 1514 h 3289"/>
                  <a:gd name="T92" fmla="*/ 1567 w 1567"/>
                  <a:gd name="T93" fmla="*/ 513 h 3289"/>
                  <a:gd name="T94" fmla="*/ 1567 w 1567"/>
                  <a:gd name="T95" fmla="*/ 310 h 3289"/>
                  <a:gd name="T96" fmla="*/ 1557 w 1567"/>
                  <a:gd name="T97" fmla="*/ 245 h 3289"/>
                  <a:gd name="T98" fmla="*/ 1535 w 1567"/>
                  <a:gd name="T99" fmla="*/ 184 h 3289"/>
                  <a:gd name="T100" fmla="*/ 1503 w 1567"/>
                  <a:gd name="T101" fmla="*/ 131 h 3289"/>
                  <a:gd name="T102" fmla="*/ 1460 w 1567"/>
                  <a:gd name="T103" fmla="*/ 84 h 3289"/>
                  <a:gd name="T104" fmla="*/ 1410 w 1567"/>
                  <a:gd name="T105" fmla="*/ 47 h 3289"/>
                  <a:gd name="T106" fmla="*/ 1352 w 1567"/>
                  <a:gd name="T107" fmla="*/ 19 h 3289"/>
                  <a:gd name="T108" fmla="*/ 1290 w 1567"/>
                  <a:gd name="T109" fmla="*/ 3 h 3289"/>
                  <a:gd name="T110" fmla="*/ 1240 w 1567"/>
                  <a:gd name="T111"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7" h="3289">
                    <a:moveTo>
                      <a:pt x="1240" y="0"/>
                    </a:moveTo>
                    <a:lnTo>
                      <a:pt x="327" y="0"/>
                    </a:lnTo>
                    <a:lnTo>
                      <a:pt x="327" y="0"/>
                    </a:lnTo>
                    <a:lnTo>
                      <a:pt x="310" y="0"/>
                    </a:lnTo>
                    <a:lnTo>
                      <a:pt x="293" y="1"/>
                    </a:lnTo>
                    <a:lnTo>
                      <a:pt x="277" y="3"/>
                    </a:lnTo>
                    <a:lnTo>
                      <a:pt x="261" y="6"/>
                    </a:lnTo>
                    <a:lnTo>
                      <a:pt x="245" y="9"/>
                    </a:lnTo>
                    <a:lnTo>
                      <a:pt x="229" y="15"/>
                    </a:lnTo>
                    <a:lnTo>
                      <a:pt x="214" y="19"/>
                    </a:lnTo>
                    <a:lnTo>
                      <a:pt x="199" y="25"/>
                    </a:lnTo>
                    <a:lnTo>
                      <a:pt x="185" y="32"/>
                    </a:lnTo>
                    <a:lnTo>
                      <a:pt x="171" y="39"/>
                    </a:lnTo>
                    <a:lnTo>
                      <a:pt x="158" y="47"/>
                    </a:lnTo>
                    <a:lnTo>
                      <a:pt x="144" y="55"/>
                    </a:lnTo>
                    <a:lnTo>
                      <a:pt x="131" y="65"/>
                    </a:lnTo>
                    <a:lnTo>
                      <a:pt x="119" y="75"/>
                    </a:lnTo>
                    <a:lnTo>
                      <a:pt x="106" y="84"/>
                    </a:lnTo>
                    <a:lnTo>
                      <a:pt x="96" y="96"/>
                    </a:lnTo>
                    <a:lnTo>
                      <a:pt x="85" y="107"/>
                    </a:lnTo>
                    <a:lnTo>
                      <a:pt x="74" y="118"/>
                    </a:lnTo>
                    <a:lnTo>
                      <a:pt x="65" y="131"/>
                    </a:lnTo>
                    <a:lnTo>
                      <a:pt x="55" y="144"/>
                    </a:lnTo>
                    <a:lnTo>
                      <a:pt x="47" y="157"/>
                    </a:lnTo>
                    <a:lnTo>
                      <a:pt x="39" y="171"/>
                    </a:lnTo>
                    <a:lnTo>
                      <a:pt x="32" y="184"/>
                    </a:lnTo>
                    <a:lnTo>
                      <a:pt x="25" y="199"/>
                    </a:lnTo>
                    <a:lnTo>
                      <a:pt x="20" y="214"/>
                    </a:lnTo>
                    <a:lnTo>
                      <a:pt x="15" y="229"/>
                    </a:lnTo>
                    <a:lnTo>
                      <a:pt x="10" y="245"/>
                    </a:lnTo>
                    <a:lnTo>
                      <a:pt x="6" y="261"/>
                    </a:lnTo>
                    <a:lnTo>
                      <a:pt x="4" y="277"/>
                    </a:lnTo>
                    <a:lnTo>
                      <a:pt x="2" y="293"/>
                    </a:lnTo>
                    <a:lnTo>
                      <a:pt x="0" y="310"/>
                    </a:lnTo>
                    <a:lnTo>
                      <a:pt x="0" y="326"/>
                    </a:lnTo>
                    <a:lnTo>
                      <a:pt x="0" y="478"/>
                    </a:lnTo>
                    <a:lnTo>
                      <a:pt x="0" y="513"/>
                    </a:lnTo>
                    <a:lnTo>
                      <a:pt x="0" y="1475"/>
                    </a:lnTo>
                    <a:lnTo>
                      <a:pt x="0" y="1475"/>
                    </a:lnTo>
                    <a:lnTo>
                      <a:pt x="1" y="1488"/>
                    </a:lnTo>
                    <a:lnTo>
                      <a:pt x="2" y="1501"/>
                    </a:lnTo>
                    <a:lnTo>
                      <a:pt x="5" y="1514"/>
                    </a:lnTo>
                    <a:lnTo>
                      <a:pt x="9" y="1525"/>
                    </a:lnTo>
                    <a:lnTo>
                      <a:pt x="16" y="1536"/>
                    </a:lnTo>
                    <a:lnTo>
                      <a:pt x="22" y="1547"/>
                    </a:lnTo>
                    <a:lnTo>
                      <a:pt x="30" y="1557"/>
                    </a:lnTo>
                    <a:lnTo>
                      <a:pt x="37" y="1566"/>
                    </a:lnTo>
                    <a:lnTo>
                      <a:pt x="47" y="1574"/>
                    </a:lnTo>
                    <a:lnTo>
                      <a:pt x="56" y="1582"/>
                    </a:lnTo>
                    <a:lnTo>
                      <a:pt x="67" y="1588"/>
                    </a:lnTo>
                    <a:lnTo>
                      <a:pt x="79" y="1594"/>
                    </a:lnTo>
                    <a:lnTo>
                      <a:pt x="90" y="1598"/>
                    </a:lnTo>
                    <a:lnTo>
                      <a:pt x="102" y="1601"/>
                    </a:lnTo>
                    <a:lnTo>
                      <a:pt x="115" y="1603"/>
                    </a:lnTo>
                    <a:lnTo>
                      <a:pt x="129" y="1604"/>
                    </a:lnTo>
                    <a:lnTo>
                      <a:pt x="129" y="1604"/>
                    </a:lnTo>
                    <a:lnTo>
                      <a:pt x="142" y="1603"/>
                    </a:lnTo>
                    <a:lnTo>
                      <a:pt x="155" y="1601"/>
                    </a:lnTo>
                    <a:lnTo>
                      <a:pt x="166" y="1598"/>
                    </a:lnTo>
                    <a:lnTo>
                      <a:pt x="179" y="1594"/>
                    </a:lnTo>
                    <a:lnTo>
                      <a:pt x="190" y="1588"/>
                    </a:lnTo>
                    <a:lnTo>
                      <a:pt x="200" y="1582"/>
                    </a:lnTo>
                    <a:lnTo>
                      <a:pt x="210" y="1574"/>
                    </a:lnTo>
                    <a:lnTo>
                      <a:pt x="220" y="1566"/>
                    </a:lnTo>
                    <a:lnTo>
                      <a:pt x="228" y="1557"/>
                    </a:lnTo>
                    <a:lnTo>
                      <a:pt x="236" y="1547"/>
                    </a:lnTo>
                    <a:lnTo>
                      <a:pt x="242" y="1536"/>
                    </a:lnTo>
                    <a:lnTo>
                      <a:pt x="247" y="1525"/>
                    </a:lnTo>
                    <a:lnTo>
                      <a:pt x="252" y="1514"/>
                    </a:lnTo>
                    <a:lnTo>
                      <a:pt x="255" y="1501"/>
                    </a:lnTo>
                    <a:lnTo>
                      <a:pt x="257" y="1488"/>
                    </a:lnTo>
                    <a:lnTo>
                      <a:pt x="257" y="1475"/>
                    </a:lnTo>
                    <a:lnTo>
                      <a:pt x="257" y="513"/>
                    </a:lnTo>
                    <a:lnTo>
                      <a:pt x="370" y="513"/>
                    </a:lnTo>
                    <a:lnTo>
                      <a:pt x="370" y="1521"/>
                    </a:lnTo>
                    <a:lnTo>
                      <a:pt x="370" y="1582"/>
                    </a:lnTo>
                    <a:lnTo>
                      <a:pt x="370" y="3114"/>
                    </a:lnTo>
                    <a:lnTo>
                      <a:pt x="370" y="3114"/>
                    </a:lnTo>
                    <a:lnTo>
                      <a:pt x="371" y="3132"/>
                    </a:lnTo>
                    <a:lnTo>
                      <a:pt x="373" y="3149"/>
                    </a:lnTo>
                    <a:lnTo>
                      <a:pt x="377" y="3166"/>
                    </a:lnTo>
                    <a:lnTo>
                      <a:pt x="384" y="3182"/>
                    </a:lnTo>
                    <a:lnTo>
                      <a:pt x="391" y="3197"/>
                    </a:lnTo>
                    <a:lnTo>
                      <a:pt x="400" y="3212"/>
                    </a:lnTo>
                    <a:lnTo>
                      <a:pt x="409" y="3226"/>
                    </a:lnTo>
                    <a:lnTo>
                      <a:pt x="421" y="3238"/>
                    </a:lnTo>
                    <a:lnTo>
                      <a:pt x="434" y="3249"/>
                    </a:lnTo>
                    <a:lnTo>
                      <a:pt x="447" y="3259"/>
                    </a:lnTo>
                    <a:lnTo>
                      <a:pt x="462" y="3268"/>
                    </a:lnTo>
                    <a:lnTo>
                      <a:pt x="477" y="3275"/>
                    </a:lnTo>
                    <a:lnTo>
                      <a:pt x="493" y="3281"/>
                    </a:lnTo>
                    <a:lnTo>
                      <a:pt x="510" y="3286"/>
                    </a:lnTo>
                    <a:lnTo>
                      <a:pt x="527" y="3288"/>
                    </a:lnTo>
                    <a:lnTo>
                      <a:pt x="545" y="3289"/>
                    </a:lnTo>
                    <a:lnTo>
                      <a:pt x="545" y="3289"/>
                    </a:lnTo>
                    <a:lnTo>
                      <a:pt x="563" y="3288"/>
                    </a:lnTo>
                    <a:lnTo>
                      <a:pt x="580" y="3286"/>
                    </a:lnTo>
                    <a:lnTo>
                      <a:pt x="597" y="3281"/>
                    </a:lnTo>
                    <a:lnTo>
                      <a:pt x="613" y="3275"/>
                    </a:lnTo>
                    <a:lnTo>
                      <a:pt x="628" y="3268"/>
                    </a:lnTo>
                    <a:lnTo>
                      <a:pt x="643" y="3259"/>
                    </a:lnTo>
                    <a:lnTo>
                      <a:pt x="656" y="3249"/>
                    </a:lnTo>
                    <a:lnTo>
                      <a:pt x="669" y="3238"/>
                    </a:lnTo>
                    <a:lnTo>
                      <a:pt x="679" y="3226"/>
                    </a:lnTo>
                    <a:lnTo>
                      <a:pt x="690" y="3212"/>
                    </a:lnTo>
                    <a:lnTo>
                      <a:pt x="699" y="3197"/>
                    </a:lnTo>
                    <a:lnTo>
                      <a:pt x="706" y="3182"/>
                    </a:lnTo>
                    <a:lnTo>
                      <a:pt x="712" y="3166"/>
                    </a:lnTo>
                    <a:lnTo>
                      <a:pt x="717" y="3149"/>
                    </a:lnTo>
                    <a:lnTo>
                      <a:pt x="719" y="3132"/>
                    </a:lnTo>
                    <a:lnTo>
                      <a:pt x="720" y="3114"/>
                    </a:lnTo>
                    <a:lnTo>
                      <a:pt x="720" y="1582"/>
                    </a:lnTo>
                    <a:lnTo>
                      <a:pt x="827" y="1582"/>
                    </a:lnTo>
                    <a:lnTo>
                      <a:pt x="827" y="3114"/>
                    </a:lnTo>
                    <a:lnTo>
                      <a:pt x="827" y="3114"/>
                    </a:lnTo>
                    <a:lnTo>
                      <a:pt x="828" y="3132"/>
                    </a:lnTo>
                    <a:lnTo>
                      <a:pt x="831" y="3149"/>
                    </a:lnTo>
                    <a:lnTo>
                      <a:pt x="835" y="3166"/>
                    </a:lnTo>
                    <a:lnTo>
                      <a:pt x="840" y="3182"/>
                    </a:lnTo>
                    <a:lnTo>
                      <a:pt x="848" y="3197"/>
                    </a:lnTo>
                    <a:lnTo>
                      <a:pt x="856" y="3212"/>
                    </a:lnTo>
                    <a:lnTo>
                      <a:pt x="867" y="3226"/>
                    </a:lnTo>
                    <a:lnTo>
                      <a:pt x="878" y="3238"/>
                    </a:lnTo>
                    <a:lnTo>
                      <a:pt x="891" y="3249"/>
                    </a:lnTo>
                    <a:lnTo>
                      <a:pt x="903" y="3259"/>
                    </a:lnTo>
                    <a:lnTo>
                      <a:pt x="918" y="3268"/>
                    </a:lnTo>
                    <a:lnTo>
                      <a:pt x="933" y="3275"/>
                    </a:lnTo>
                    <a:lnTo>
                      <a:pt x="949" y="3281"/>
                    </a:lnTo>
                    <a:lnTo>
                      <a:pt x="966" y="3286"/>
                    </a:lnTo>
                    <a:lnTo>
                      <a:pt x="983" y="3288"/>
                    </a:lnTo>
                    <a:lnTo>
                      <a:pt x="1001" y="3289"/>
                    </a:lnTo>
                    <a:lnTo>
                      <a:pt x="1001" y="3289"/>
                    </a:lnTo>
                    <a:lnTo>
                      <a:pt x="1020" y="3288"/>
                    </a:lnTo>
                    <a:lnTo>
                      <a:pt x="1037" y="3286"/>
                    </a:lnTo>
                    <a:lnTo>
                      <a:pt x="1054" y="3281"/>
                    </a:lnTo>
                    <a:lnTo>
                      <a:pt x="1070" y="3275"/>
                    </a:lnTo>
                    <a:lnTo>
                      <a:pt x="1085" y="3268"/>
                    </a:lnTo>
                    <a:lnTo>
                      <a:pt x="1100" y="3259"/>
                    </a:lnTo>
                    <a:lnTo>
                      <a:pt x="1112" y="3249"/>
                    </a:lnTo>
                    <a:lnTo>
                      <a:pt x="1125" y="3238"/>
                    </a:lnTo>
                    <a:lnTo>
                      <a:pt x="1137" y="3226"/>
                    </a:lnTo>
                    <a:lnTo>
                      <a:pt x="1147" y="3212"/>
                    </a:lnTo>
                    <a:lnTo>
                      <a:pt x="1155" y="3197"/>
                    </a:lnTo>
                    <a:lnTo>
                      <a:pt x="1163" y="3182"/>
                    </a:lnTo>
                    <a:lnTo>
                      <a:pt x="1169" y="3166"/>
                    </a:lnTo>
                    <a:lnTo>
                      <a:pt x="1173" y="3149"/>
                    </a:lnTo>
                    <a:lnTo>
                      <a:pt x="1175" y="3132"/>
                    </a:lnTo>
                    <a:lnTo>
                      <a:pt x="1176" y="3114"/>
                    </a:lnTo>
                    <a:lnTo>
                      <a:pt x="1176" y="1582"/>
                    </a:lnTo>
                    <a:lnTo>
                      <a:pt x="1176" y="1521"/>
                    </a:lnTo>
                    <a:lnTo>
                      <a:pt x="1176" y="513"/>
                    </a:lnTo>
                    <a:lnTo>
                      <a:pt x="1310" y="513"/>
                    </a:lnTo>
                    <a:lnTo>
                      <a:pt x="1310" y="1475"/>
                    </a:lnTo>
                    <a:lnTo>
                      <a:pt x="1310" y="1475"/>
                    </a:lnTo>
                    <a:lnTo>
                      <a:pt x="1311" y="1488"/>
                    </a:lnTo>
                    <a:lnTo>
                      <a:pt x="1313" y="1501"/>
                    </a:lnTo>
                    <a:lnTo>
                      <a:pt x="1316" y="1514"/>
                    </a:lnTo>
                    <a:lnTo>
                      <a:pt x="1320" y="1525"/>
                    </a:lnTo>
                    <a:lnTo>
                      <a:pt x="1326" y="1536"/>
                    </a:lnTo>
                    <a:lnTo>
                      <a:pt x="1332" y="1547"/>
                    </a:lnTo>
                    <a:lnTo>
                      <a:pt x="1340" y="1557"/>
                    </a:lnTo>
                    <a:lnTo>
                      <a:pt x="1348" y="1566"/>
                    </a:lnTo>
                    <a:lnTo>
                      <a:pt x="1357" y="1574"/>
                    </a:lnTo>
                    <a:lnTo>
                      <a:pt x="1366" y="1582"/>
                    </a:lnTo>
                    <a:lnTo>
                      <a:pt x="1377" y="1588"/>
                    </a:lnTo>
                    <a:lnTo>
                      <a:pt x="1389" y="1594"/>
                    </a:lnTo>
                    <a:lnTo>
                      <a:pt x="1400" y="1598"/>
                    </a:lnTo>
                    <a:lnTo>
                      <a:pt x="1413" y="1601"/>
                    </a:lnTo>
                    <a:lnTo>
                      <a:pt x="1426" y="1603"/>
                    </a:lnTo>
                    <a:lnTo>
                      <a:pt x="1439" y="1604"/>
                    </a:lnTo>
                    <a:lnTo>
                      <a:pt x="1439" y="1604"/>
                    </a:lnTo>
                    <a:lnTo>
                      <a:pt x="1452" y="1603"/>
                    </a:lnTo>
                    <a:lnTo>
                      <a:pt x="1464" y="1601"/>
                    </a:lnTo>
                    <a:lnTo>
                      <a:pt x="1477" y="1598"/>
                    </a:lnTo>
                    <a:lnTo>
                      <a:pt x="1489" y="1594"/>
                    </a:lnTo>
                    <a:lnTo>
                      <a:pt x="1500" y="1588"/>
                    </a:lnTo>
                    <a:lnTo>
                      <a:pt x="1510" y="1582"/>
                    </a:lnTo>
                    <a:lnTo>
                      <a:pt x="1521" y="1574"/>
                    </a:lnTo>
                    <a:lnTo>
                      <a:pt x="1530" y="1566"/>
                    </a:lnTo>
                    <a:lnTo>
                      <a:pt x="1538" y="1557"/>
                    </a:lnTo>
                    <a:lnTo>
                      <a:pt x="1546" y="1547"/>
                    </a:lnTo>
                    <a:lnTo>
                      <a:pt x="1552" y="1536"/>
                    </a:lnTo>
                    <a:lnTo>
                      <a:pt x="1557" y="1525"/>
                    </a:lnTo>
                    <a:lnTo>
                      <a:pt x="1562" y="1514"/>
                    </a:lnTo>
                    <a:lnTo>
                      <a:pt x="1565" y="1501"/>
                    </a:lnTo>
                    <a:lnTo>
                      <a:pt x="1567" y="1488"/>
                    </a:lnTo>
                    <a:lnTo>
                      <a:pt x="1567" y="1475"/>
                    </a:lnTo>
                    <a:lnTo>
                      <a:pt x="1567" y="513"/>
                    </a:lnTo>
                    <a:lnTo>
                      <a:pt x="1567" y="478"/>
                    </a:lnTo>
                    <a:lnTo>
                      <a:pt x="1567" y="326"/>
                    </a:lnTo>
                    <a:lnTo>
                      <a:pt x="1567" y="326"/>
                    </a:lnTo>
                    <a:lnTo>
                      <a:pt x="1567" y="310"/>
                    </a:lnTo>
                    <a:lnTo>
                      <a:pt x="1566" y="293"/>
                    </a:lnTo>
                    <a:lnTo>
                      <a:pt x="1564" y="277"/>
                    </a:lnTo>
                    <a:lnTo>
                      <a:pt x="1560" y="261"/>
                    </a:lnTo>
                    <a:lnTo>
                      <a:pt x="1557" y="245"/>
                    </a:lnTo>
                    <a:lnTo>
                      <a:pt x="1553" y="229"/>
                    </a:lnTo>
                    <a:lnTo>
                      <a:pt x="1548" y="214"/>
                    </a:lnTo>
                    <a:lnTo>
                      <a:pt x="1541" y="199"/>
                    </a:lnTo>
                    <a:lnTo>
                      <a:pt x="1535" y="184"/>
                    </a:lnTo>
                    <a:lnTo>
                      <a:pt x="1527" y="171"/>
                    </a:lnTo>
                    <a:lnTo>
                      <a:pt x="1520" y="157"/>
                    </a:lnTo>
                    <a:lnTo>
                      <a:pt x="1511" y="144"/>
                    </a:lnTo>
                    <a:lnTo>
                      <a:pt x="1503" y="131"/>
                    </a:lnTo>
                    <a:lnTo>
                      <a:pt x="1492" y="118"/>
                    </a:lnTo>
                    <a:lnTo>
                      <a:pt x="1483" y="107"/>
                    </a:lnTo>
                    <a:lnTo>
                      <a:pt x="1472" y="96"/>
                    </a:lnTo>
                    <a:lnTo>
                      <a:pt x="1460" y="84"/>
                    </a:lnTo>
                    <a:lnTo>
                      <a:pt x="1448" y="75"/>
                    </a:lnTo>
                    <a:lnTo>
                      <a:pt x="1436" y="65"/>
                    </a:lnTo>
                    <a:lnTo>
                      <a:pt x="1423" y="55"/>
                    </a:lnTo>
                    <a:lnTo>
                      <a:pt x="1410" y="47"/>
                    </a:lnTo>
                    <a:lnTo>
                      <a:pt x="1396" y="39"/>
                    </a:lnTo>
                    <a:lnTo>
                      <a:pt x="1382" y="32"/>
                    </a:lnTo>
                    <a:lnTo>
                      <a:pt x="1367" y="25"/>
                    </a:lnTo>
                    <a:lnTo>
                      <a:pt x="1352" y="19"/>
                    </a:lnTo>
                    <a:lnTo>
                      <a:pt x="1338" y="15"/>
                    </a:lnTo>
                    <a:lnTo>
                      <a:pt x="1322" y="9"/>
                    </a:lnTo>
                    <a:lnTo>
                      <a:pt x="1307" y="6"/>
                    </a:lnTo>
                    <a:lnTo>
                      <a:pt x="1290" y="3"/>
                    </a:lnTo>
                    <a:lnTo>
                      <a:pt x="1274" y="1"/>
                    </a:lnTo>
                    <a:lnTo>
                      <a:pt x="1258" y="0"/>
                    </a:lnTo>
                    <a:lnTo>
                      <a:pt x="1240" y="0"/>
                    </a:lnTo>
                    <a:lnTo>
                      <a:pt x="1240" y="0"/>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50" name="Group 42"/>
            <p:cNvGrpSpPr/>
            <p:nvPr/>
          </p:nvGrpSpPr>
          <p:grpSpPr>
            <a:xfrm>
              <a:off x="2743201" y="2663458"/>
              <a:ext cx="533400" cy="1352917"/>
              <a:chOff x="2389188" y="1800226"/>
              <a:chExt cx="828675" cy="2101850"/>
            </a:xfrm>
            <a:solidFill>
              <a:srgbClr val="00559B"/>
            </a:solidFill>
            <a:effectLst>
              <a:innerShdw dist="50800" dir="5400000">
                <a:prstClr val="black">
                  <a:alpha val="20000"/>
                </a:prstClr>
              </a:innerShdw>
            </a:effectLst>
          </p:grpSpPr>
          <p:sp>
            <p:nvSpPr>
              <p:cNvPr id="65" name="Freeform 5"/>
              <p:cNvSpPr/>
              <p:nvPr/>
            </p:nvSpPr>
            <p:spPr bwMode="auto">
              <a:xfrm>
                <a:off x="2640013" y="1800226"/>
                <a:ext cx="327025" cy="325438"/>
              </a:xfrm>
              <a:custGeom>
                <a:avLst/>
                <a:gdLst>
                  <a:gd name="T0" fmla="*/ 325 w 617"/>
                  <a:gd name="T1" fmla="*/ 617 h 617"/>
                  <a:gd name="T2" fmla="*/ 371 w 617"/>
                  <a:gd name="T3" fmla="*/ 611 h 617"/>
                  <a:gd name="T4" fmla="*/ 414 w 617"/>
                  <a:gd name="T5" fmla="*/ 599 h 617"/>
                  <a:gd name="T6" fmla="*/ 456 w 617"/>
                  <a:gd name="T7" fmla="*/ 580 h 617"/>
                  <a:gd name="T8" fmla="*/ 493 w 617"/>
                  <a:gd name="T9" fmla="*/ 556 h 617"/>
                  <a:gd name="T10" fmla="*/ 526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6 w 617"/>
                  <a:gd name="T33" fmla="*/ 91 h 617"/>
                  <a:gd name="T34" fmla="*/ 493 w 617"/>
                  <a:gd name="T35" fmla="*/ 61 h 617"/>
                  <a:gd name="T36" fmla="*/ 456 w 617"/>
                  <a:gd name="T37" fmla="*/ 37 h 617"/>
                  <a:gd name="T38" fmla="*/ 414 w 617"/>
                  <a:gd name="T39" fmla="*/ 18 h 617"/>
                  <a:gd name="T40" fmla="*/ 371 w 617"/>
                  <a:gd name="T41" fmla="*/ 7 h 617"/>
                  <a:gd name="T42" fmla="*/ 325 w 617"/>
                  <a:gd name="T43" fmla="*/ 0 h 617"/>
                  <a:gd name="T44" fmla="*/ 293 w 617"/>
                  <a:gd name="T45" fmla="*/ 0 h 617"/>
                  <a:gd name="T46" fmla="*/ 246 w 617"/>
                  <a:gd name="T47" fmla="*/ 7 h 617"/>
                  <a:gd name="T48" fmla="*/ 202 w 617"/>
                  <a:gd name="T49" fmla="*/ 18 h 617"/>
                  <a:gd name="T50" fmla="*/ 162 w 617"/>
                  <a:gd name="T51" fmla="*/ 37 h 617"/>
                  <a:gd name="T52" fmla="*/ 124 w 617"/>
                  <a:gd name="T53" fmla="*/ 61 h 617"/>
                  <a:gd name="T54" fmla="*/ 90 w 617"/>
                  <a:gd name="T55" fmla="*/ 91 h 617"/>
                  <a:gd name="T56" fmla="*/ 61 w 617"/>
                  <a:gd name="T57" fmla="*/ 124 h 617"/>
                  <a:gd name="T58" fmla="*/ 37 w 617"/>
                  <a:gd name="T59" fmla="*/ 161 h 617"/>
                  <a:gd name="T60" fmla="*/ 19 w 617"/>
                  <a:gd name="T61" fmla="*/ 203 h 617"/>
                  <a:gd name="T62" fmla="*/ 6 w 617"/>
                  <a:gd name="T63" fmla="*/ 247 h 617"/>
                  <a:gd name="T64" fmla="*/ 1 w 617"/>
                  <a:gd name="T65" fmla="*/ 292 h 617"/>
                  <a:gd name="T66" fmla="*/ 1 w 617"/>
                  <a:gd name="T67" fmla="*/ 324 h 617"/>
                  <a:gd name="T68" fmla="*/ 6 w 617"/>
                  <a:gd name="T69" fmla="*/ 370 h 617"/>
                  <a:gd name="T70" fmla="*/ 19 w 617"/>
                  <a:gd name="T71" fmla="*/ 415 h 617"/>
                  <a:gd name="T72" fmla="*/ 37 w 617"/>
                  <a:gd name="T73" fmla="*/ 456 h 617"/>
                  <a:gd name="T74" fmla="*/ 61 w 617"/>
                  <a:gd name="T75" fmla="*/ 493 h 617"/>
                  <a:gd name="T76" fmla="*/ 90 w 617"/>
                  <a:gd name="T77" fmla="*/ 527 h 617"/>
                  <a:gd name="T78" fmla="*/ 124 w 617"/>
                  <a:gd name="T79" fmla="*/ 556 h 617"/>
                  <a:gd name="T80" fmla="*/ 162 w 617"/>
                  <a:gd name="T81" fmla="*/ 580 h 617"/>
                  <a:gd name="T82" fmla="*/ 202 w 617"/>
                  <a:gd name="T83" fmla="*/ 599 h 617"/>
                  <a:gd name="T84" fmla="*/ 246 w 617"/>
                  <a:gd name="T85" fmla="*/ 611 h 617"/>
                  <a:gd name="T86" fmla="*/ 293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9" y="617"/>
                    </a:moveTo>
                    <a:lnTo>
                      <a:pt x="309" y="617"/>
                    </a:lnTo>
                    <a:lnTo>
                      <a:pt x="325" y="617"/>
                    </a:lnTo>
                    <a:lnTo>
                      <a:pt x="340" y="616"/>
                    </a:lnTo>
                    <a:lnTo>
                      <a:pt x="356" y="614"/>
                    </a:lnTo>
                    <a:lnTo>
                      <a:pt x="371" y="611"/>
                    </a:lnTo>
                    <a:lnTo>
                      <a:pt x="386" y="607"/>
                    </a:lnTo>
                    <a:lnTo>
                      <a:pt x="401" y="603"/>
                    </a:lnTo>
                    <a:lnTo>
                      <a:pt x="414" y="599"/>
                    </a:lnTo>
                    <a:lnTo>
                      <a:pt x="428" y="593"/>
                    </a:lnTo>
                    <a:lnTo>
                      <a:pt x="442" y="587"/>
                    </a:lnTo>
                    <a:lnTo>
                      <a:pt x="456" y="580"/>
                    </a:lnTo>
                    <a:lnTo>
                      <a:pt x="469" y="573"/>
                    </a:lnTo>
                    <a:lnTo>
                      <a:pt x="481" y="564"/>
                    </a:lnTo>
                    <a:lnTo>
                      <a:pt x="493" y="556"/>
                    </a:lnTo>
                    <a:lnTo>
                      <a:pt x="505" y="546"/>
                    </a:lnTo>
                    <a:lnTo>
                      <a:pt x="516" y="537"/>
                    </a:lnTo>
                    <a:lnTo>
                      <a:pt x="526" y="527"/>
                    </a:lnTo>
                    <a:lnTo>
                      <a:pt x="537" y="516"/>
                    </a:lnTo>
                    <a:lnTo>
                      <a:pt x="547" y="505"/>
                    </a:lnTo>
                    <a:lnTo>
                      <a:pt x="556" y="493"/>
                    </a:lnTo>
                    <a:lnTo>
                      <a:pt x="565" y="481"/>
                    </a:lnTo>
                    <a:lnTo>
                      <a:pt x="572" y="468"/>
                    </a:lnTo>
                    <a:lnTo>
                      <a:pt x="580" y="456"/>
                    </a:lnTo>
                    <a:lnTo>
                      <a:pt x="587" y="443"/>
                    </a:lnTo>
                    <a:lnTo>
                      <a:pt x="593" y="429"/>
                    </a:lnTo>
                    <a:lnTo>
                      <a:pt x="598" y="415"/>
                    </a:lnTo>
                    <a:lnTo>
                      <a:pt x="603" y="400"/>
                    </a:lnTo>
                    <a:lnTo>
                      <a:pt x="608" y="385"/>
                    </a:lnTo>
                    <a:lnTo>
                      <a:pt x="611" y="370"/>
                    </a:lnTo>
                    <a:lnTo>
                      <a:pt x="614" y="355"/>
                    </a:lnTo>
                    <a:lnTo>
                      <a:pt x="616" y="340"/>
                    </a:lnTo>
                    <a:lnTo>
                      <a:pt x="617" y="324"/>
                    </a:lnTo>
                    <a:lnTo>
                      <a:pt x="617" y="308"/>
                    </a:lnTo>
                    <a:lnTo>
                      <a:pt x="617" y="308"/>
                    </a:lnTo>
                    <a:lnTo>
                      <a:pt x="617" y="292"/>
                    </a:lnTo>
                    <a:lnTo>
                      <a:pt x="616" y="277"/>
                    </a:lnTo>
                    <a:lnTo>
                      <a:pt x="614" y="261"/>
                    </a:lnTo>
                    <a:lnTo>
                      <a:pt x="611" y="247"/>
                    </a:lnTo>
                    <a:lnTo>
                      <a:pt x="608" y="232"/>
                    </a:lnTo>
                    <a:lnTo>
                      <a:pt x="603" y="217"/>
                    </a:lnTo>
                    <a:lnTo>
                      <a:pt x="598" y="203"/>
                    </a:lnTo>
                    <a:lnTo>
                      <a:pt x="593" y="189"/>
                    </a:lnTo>
                    <a:lnTo>
                      <a:pt x="587" y="175"/>
                    </a:lnTo>
                    <a:lnTo>
                      <a:pt x="580" y="161"/>
                    </a:lnTo>
                    <a:lnTo>
                      <a:pt x="572" y="148"/>
                    </a:lnTo>
                    <a:lnTo>
                      <a:pt x="565" y="136"/>
                    </a:lnTo>
                    <a:lnTo>
                      <a:pt x="556" y="124"/>
                    </a:lnTo>
                    <a:lnTo>
                      <a:pt x="547" y="112"/>
                    </a:lnTo>
                    <a:lnTo>
                      <a:pt x="537" y="101"/>
                    </a:lnTo>
                    <a:lnTo>
                      <a:pt x="526" y="91"/>
                    </a:lnTo>
                    <a:lnTo>
                      <a:pt x="516" y="80"/>
                    </a:lnTo>
                    <a:lnTo>
                      <a:pt x="505" y="71"/>
                    </a:lnTo>
                    <a:lnTo>
                      <a:pt x="493" y="61"/>
                    </a:lnTo>
                    <a:lnTo>
                      <a:pt x="481" y="52"/>
                    </a:lnTo>
                    <a:lnTo>
                      <a:pt x="469" y="45"/>
                    </a:lnTo>
                    <a:lnTo>
                      <a:pt x="456" y="37"/>
                    </a:lnTo>
                    <a:lnTo>
                      <a:pt x="442" y="30"/>
                    </a:lnTo>
                    <a:lnTo>
                      <a:pt x="428" y="25"/>
                    </a:lnTo>
                    <a:lnTo>
                      <a:pt x="414" y="18"/>
                    </a:lnTo>
                    <a:lnTo>
                      <a:pt x="401" y="14"/>
                    </a:lnTo>
                    <a:lnTo>
                      <a:pt x="386" y="10"/>
                    </a:lnTo>
                    <a:lnTo>
                      <a:pt x="371" y="7"/>
                    </a:lnTo>
                    <a:lnTo>
                      <a:pt x="356" y="3"/>
                    </a:lnTo>
                    <a:lnTo>
                      <a:pt x="340" y="1"/>
                    </a:lnTo>
                    <a:lnTo>
                      <a:pt x="325" y="0"/>
                    </a:lnTo>
                    <a:lnTo>
                      <a:pt x="309" y="0"/>
                    </a:lnTo>
                    <a:lnTo>
                      <a:pt x="309" y="0"/>
                    </a:lnTo>
                    <a:lnTo>
                      <a:pt x="293" y="0"/>
                    </a:lnTo>
                    <a:lnTo>
                      <a:pt x="277" y="1"/>
                    </a:lnTo>
                    <a:lnTo>
                      <a:pt x="262" y="3"/>
                    </a:lnTo>
                    <a:lnTo>
                      <a:pt x="246" y="7"/>
                    </a:lnTo>
                    <a:lnTo>
                      <a:pt x="231" y="10"/>
                    </a:lnTo>
                    <a:lnTo>
                      <a:pt x="217" y="14"/>
                    </a:lnTo>
                    <a:lnTo>
                      <a:pt x="202" y="18"/>
                    </a:lnTo>
                    <a:lnTo>
                      <a:pt x="188" y="25"/>
                    </a:lnTo>
                    <a:lnTo>
                      <a:pt x="174" y="30"/>
                    </a:lnTo>
                    <a:lnTo>
                      <a:pt x="162" y="37"/>
                    </a:lnTo>
                    <a:lnTo>
                      <a:pt x="149" y="45"/>
                    </a:lnTo>
                    <a:lnTo>
                      <a:pt x="136" y="52"/>
                    </a:lnTo>
                    <a:lnTo>
                      <a:pt x="124" y="61"/>
                    </a:lnTo>
                    <a:lnTo>
                      <a:pt x="113" y="71"/>
                    </a:lnTo>
                    <a:lnTo>
                      <a:pt x="101" y="80"/>
                    </a:lnTo>
                    <a:lnTo>
                      <a:pt x="90" y="91"/>
                    </a:lnTo>
                    <a:lnTo>
                      <a:pt x="81" y="101"/>
                    </a:lnTo>
                    <a:lnTo>
                      <a:pt x="70" y="112"/>
                    </a:lnTo>
                    <a:lnTo>
                      <a:pt x="61" y="124"/>
                    </a:lnTo>
                    <a:lnTo>
                      <a:pt x="53" y="136"/>
                    </a:lnTo>
                    <a:lnTo>
                      <a:pt x="44" y="148"/>
                    </a:lnTo>
                    <a:lnTo>
                      <a:pt x="37" y="161"/>
                    </a:lnTo>
                    <a:lnTo>
                      <a:pt x="30" y="175"/>
                    </a:lnTo>
                    <a:lnTo>
                      <a:pt x="24" y="189"/>
                    </a:lnTo>
                    <a:lnTo>
                      <a:pt x="19" y="203"/>
                    </a:lnTo>
                    <a:lnTo>
                      <a:pt x="13" y="217"/>
                    </a:lnTo>
                    <a:lnTo>
                      <a:pt x="9" y="232"/>
                    </a:lnTo>
                    <a:lnTo>
                      <a:pt x="6" y="247"/>
                    </a:lnTo>
                    <a:lnTo>
                      <a:pt x="4" y="261"/>
                    </a:lnTo>
                    <a:lnTo>
                      <a:pt x="2" y="277"/>
                    </a:lnTo>
                    <a:lnTo>
                      <a:pt x="1" y="292"/>
                    </a:lnTo>
                    <a:lnTo>
                      <a:pt x="0" y="308"/>
                    </a:lnTo>
                    <a:lnTo>
                      <a:pt x="0" y="308"/>
                    </a:lnTo>
                    <a:lnTo>
                      <a:pt x="1" y="324"/>
                    </a:lnTo>
                    <a:lnTo>
                      <a:pt x="2" y="340"/>
                    </a:lnTo>
                    <a:lnTo>
                      <a:pt x="4" y="355"/>
                    </a:lnTo>
                    <a:lnTo>
                      <a:pt x="6" y="370"/>
                    </a:lnTo>
                    <a:lnTo>
                      <a:pt x="9" y="385"/>
                    </a:lnTo>
                    <a:lnTo>
                      <a:pt x="13" y="400"/>
                    </a:lnTo>
                    <a:lnTo>
                      <a:pt x="19" y="415"/>
                    </a:lnTo>
                    <a:lnTo>
                      <a:pt x="24" y="429"/>
                    </a:lnTo>
                    <a:lnTo>
                      <a:pt x="30" y="443"/>
                    </a:lnTo>
                    <a:lnTo>
                      <a:pt x="37" y="456"/>
                    </a:lnTo>
                    <a:lnTo>
                      <a:pt x="44" y="468"/>
                    </a:lnTo>
                    <a:lnTo>
                      <a:pt x="53" y="481"/>
                    </a:lnTo>
                    <a:lnTo>
                      <a:pt x="61" y="493"/>
                    </a:lnTo>
                    <a:lnTo>
                      <a:pt x="70" y="505"/>
                    </a:lnTo>
                    <a:lnTo>
                      <a:pt x="81" y="516"/>
                    </a:lnTo>
                    <a:lnTo>
                      <a:pt x="90" y="527"/>
                    </a:lnTo>
                    <a:lnTo>
                      <a:pt x="101" y="537"/>
                    </a:lnTo>
                    <a:lnTo>
                      <a:pt x="113" y="546"/>
                    </a:lnTo>
                    <a:lnTo>
                      <a:pt x="124" y="556"/>
                    </a:lnTo>
                    <a:lnTo>
                      <a:pt x="136" y="564"/>
                    </a:lnTo>
                    <a:lnTo>
                      <a:pt x="149" y="573"/>
                    </a:lnTo>
                    <a:lnTo>
                      <a:pt x="162" y="580"/>
                    </a:lnTo>
                    <a:lnTo>
                      <a:pt x="174" y="587"/>
                    </a:lnTo>
                    <a:lnTo>
                      <a:pt x="188" y="593"/>
                    </a:lnTo>
                    <a:lnTo>
                      <a:pt x="202" y="599"/>
                    </a:lnTo>
                    <a:lnTo>
                      <a:pt x="217" y="603"/>
                    </a:lnTo>
                    <a:lnTo>
                      <a:pt x="231" y="607"/>
                    </a:lnTo>
                    <a:lnTo>
                      <a:pt x="246" y="611"/>
                    </a:lnTo>
                    <a:lnTo>
                      <a:pt x="262" y="614"/>
                    </a:lnTo>
                    <a:lnTo>
                      <a:pt x="277" y="616"/>
                    </a:lnTo>
                    <a:lnTo>
                      <a:pt x="293" y="617"/>
                    </a:lnTo>
                    <a:lnTo>
                      <a:pt x="309" y="617"/>
                    </a:lnTo>
                    <a:lnTo>
                      <a:pt x="309"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66" name="Freeform 6"/>
              <p:cNvSpPr/>
              <p:nvPr/>
            </p:nvSpPr>
            <p:spPr bwMode="auto">
              <a:xfrm>
                <a:off x="2389188" y="2160588"/>
                <a:ext cx="828675" cy="1741488"/>
              </a:xfrm>
              <a:custGeom>
                <a:avLst/>
                <a:gdLst>
                  <a:gd name="T0" fmla="*/ 310 w 1567"/>
                  <a:gd name="T1" fmla="*/ 0 h 3289"/>
                  <a:gd name="T2" fmla="*/ 245 w 1567"/>
                  <a:gd name="T3" fmla="*/ 9 h 3289"/>
                  <a:gd name="T4" fmla="*/ 185 w 1567"/>
                  <a:gd name="T5" fmla="*/ 32 h 3289"/>
                  <a:gd name="T6" fmla="*/ 131 w 1567"/>
                  <a:gd name="T7" fmla="*/ 65 h 3289"/>
                  <a:gd name="T8" fmla="*/ 85 w 1567"/>
                  <a:gd name="T9" fmla="*/ 107 h 3289"/>
                  <a:gd name="T10" fmla="*/ 47 w 1567"/>
                  <a:gd name="T11" fmla="*/ 157 h 3289"/>
                  <a:gd name="T12" fmla="*/ 20 w 1567"/>
                  <a:gd name="T13" fmla="*/ 214 h 3289"/>
                  <a:gd name="T14" fmla="*/ 4 w 1567"/>
                  <a:gd name="T15" fmla="*/ 277 h 3289"/>
                  <a:gd name="T16" fmla="*/ 0 w 1567"/>
                  <a:gd name="T17" fmla="*/ 478 h 3289"/>
                  <a:gd name="T18" fmla="*/ 1 w 1567"/>
                  <a:gd name="T19" fmla="*/ 1488 h 3289"/>
                  <a:gd name="T20" fmla="*/ 16 w 1567"/>
                  <a:gd name="T21" fmla="*/ 1536 h 3289"/>
                  <a:gd name="T22" fmla="*/ 47 w 1567"/>
                  <a:gd name="T23" fmla="*/ 1574 h 3289"/>
                  <a:gd name="T24" fmla="*/ 90 w 1567"/>
                  <a:gd name="T25" fmla="*/ 1598 h 3289"/>
                  <a:gd name="T26" fmla="*/ 129 w 1567"/>
                  <a:gd name="T27" fmla="*/ 1604 h 3289"/>
                  <a:gd name="T28" fmla="*/ 179 w 1567"/>
                  <a:gd name="T29" fmla="*/ 1594 h 3289"/>
                  <a:gd name="T30" fmla="*/ 220 w 1567"/>
                  <a:gd name="T31" fmla="*/ 1566 h 3289"/>
                  <a:gd name="T32" fmla="*/ 247 w 1567"/>
                  <a:gd name="T33" fmla="*/ 1525 h 3289"/>
                  <a:gd name="T34" fmla="*/ 257 w 1567"/>
                  <a:gd name="T35" fmla="*/ 1475 h 3289"/>
                  <a:gd name="T36" fmla="*/ 370 w 1567"/>
                  <a:gd name="T37" fmla="*/ 1582 h 3289"/>
                  <a:gd name="T38" fmla="*/ 373 w 1567"/>
                  <a:gd name="T39" fmla="*/ 3149 h 3289"/>
                  <a:gd name="T40" fmla="*/ 400 w 1567"/>
                  <a:gd name="T41" fmla="*/ 3212 h 3289"/>
                  <a:gd name="T42" fmla="*/ 447 w 1567"/>
                  <a:gd name="T43" fmla="*/ 3259 h 3289"/>
                  <a:gd name="T44" fmla="*/ 510 w 1567"/>
                  <a:gd name="T45" fmla="*/ 3286 h 3289"/>
                  <a:gd name="T46" fmla="*/ 563 w 1567"/>
                  <a:gd name="T47" fmla="*/ 3288 h 3289"/>
                  <a:gd name="T48" fmla="*/ 628 w 1567"/>
                  <a:gd name="T49" fmla="*/ 3268 h 3289"/>
                  <a:gd name="T50" fmla="*/ 679 w 1567"/>
                  <a:gd name="T51" fmla="*/ 3226 h 3289"/>
                  <a:gd name="T52" fmla="*/ 712 w 1567"/>
                  <a:gd name="T53" fmla="*/ 3166 h 3289"/>
                  <a:gd name="T54" fmla="*/ 720 w 1567"/>
                  <a:gd name="T55" fmla="*/ 1582 h 3289"/>
                  <a:gd name="T56" fmla="*/ 828 w 1567"/>
                  <a:gd name="T57" fmla="*/ 3132 h 3289"/>
                  <a:gd name="T58" fmla="*/ 848 w 1567"/>
                  <a:gd name="T59" fmla="*/ 3197 h 3289"/>
                  <a:gd name="T60" fmla="*/ 891 w 1567"/>
                  <a:gd name="T61" fmla="*/ 3249 h 3289"/>
                  <a:gd name="T62" fmla="*/ 949 w 1567"/>
                  <a:gd name="T63" fmla="*/ 3281 h 3289"/>
                  <a:gd name="T64" fmla="*/ 1001 w 1567"/>
                  <a:gd name="T65" fmla="*/ 3289 h 3289"/>
                  <a:gd name="T66" fmla="*/ 1070 w 1567"/>
                  <a:gd name="T67" fmla="*/ 3275 h 3289"/>
                  <a:gd name="T68" fmla="*/ 1125 w 1567"/>
                  <a:gd name="T69" fmla="*/ 3238 h 3289"/>
                  <a:gd name="T70" fmla="*/ 1163 w 1567"/>
                  <a:gd name="T71" fmla="*/ 3182 h 3289"/>
                  <a:gd name="T72" fmla="*/ 1176 w 1567"/>
                  <a:gd name="T73" fmla="*/ 3114 h 3289"/>
                  <a:gd name="T74" fmla="*/ 1310 w 1567"/>
                  <a:gd name="T75" fmla="*/ 513 h 3289"/>
                  <a:gd name="T76" fmla="*/ 1313 w 1567"/>
                  <a:gd name="T77" fmla="*/ 1501 h 3289"/>
                  <a:gd name="T78" fmla="*/ 1332 w 1567"/>
                  <a:gd name="T79" fmla="*/ 1547 h 3289"/>
                  <a:gd name="T80" fmla="*/ 1366 w 1567"/>
                  <a:gd name="T81" fmla="*/ 1582 h 3289"/>
                  <a:gd name="T82" fmla="*/ 1413 w 1567"/>
                  <a:gd name="T83" fmla="*/ 1601 h 3289"/>
                  <a:gd name="T84" fmla="*/ 1452 w 1567"/>
                  <a:gd name="T85" fmla="*/ 1603 h 3289"/>
                  <a:gd name="T86" fmla="*/ 1500 w 1567"/>
                  <a:gd name="T87" fmla="*/ 1588 h 3289"/>
                  <a:gd name="T88" fmla="*/ 1538 w 1567"/>
                  <a:gd name="T89" fmla="*/ 1557 h 3289"/>
                  <a:gd name="T90" fmla="*/ 1562 w 1567"/>
                  <a:gd name="T91" fmla="*/ 1514 h 3289"/>
                  <a:gd name="T92" fmla="*/ 1567 w 1567"/>
                  <a:gd name="T93" fmla="*/ 513 h 3289"/>
                  <a:gd name="T94" fmla="*/ 1567 w 1567"/>
                  <a:gd name="T95" fmla="*/ 310 h 3289"/>
                  <a:gd name="T96" fmla="*/ 1557 w 1567"/>
                  <a:gd name="T97" fmla="*/ 245 h 3289"/>
                  <a:gd name="T98" fmla="*/ 1535 w 1567"/>
                  <a:gd name="T99" fmla="*/ 184 h 3289"/>
                  <a:gd name="T100" fmla="*/ 1503 w 1567"/>
                  <a:gd name="T101" fmla="*/ 131 h 3289"/>
                  <a:gd name="T102" fmla="*/ 1460 w 1567"/>
                  <a:gd name="T103" fmla="*/ 84 h 3289"/>
                  <a:gd name="T104" fmla="*/ 1410 w 1567"/>
                  <a:gd name="T105" fmla="*/ 47 h 3289"/>
                  <a:gd name="T106" fmla="*/ 1352 w 1567"/>
                  <a:gd name="T107" fmla="*/ 19 h 3289"/>
                  <a:gd name="T108" fmla="*/ 1290 w 1567"/>
                  <a:gd name="T109" fmla="*/ 3 h 3289"/>
                  <a:gd name="T110" fmla="*/ 1240 w 1567"/>
                  <a:gd name="T111"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7" h="3289">
                    <a:moveTo>
                      <a:pt x="1240" y="0"/>
                    </a:moveTo>
                    <a:lnTo>
                      <a:pt x="327" y="0"/>
                    </a:lnTo>
                    <a:lnTo>
                      <a:pt x="327" y="0"/>
                    </a:lnTo>
                    <a:lnTo>
                      <a:pt x="310" y="0"/>
                    </a:lnTo>
                    <a:lnTo>
                      <a:pt x="293" y="1"/>
                    </a:lnTo>
                    <a:lnTo>
                      <a:pt x="277" y="3"/>
                    </a:lnTo>
                    <a:lnTo>
                      <a:pt x="261" y="6"/>
                    </a:lnTo>
                    <a:lnTo>
                      <a:pt x="245" y="9"/>
                    </a:lnTo>
                    <a:lnTo>
                      <a:pt x="229" y="15"/>
                    </a:lnTo>
                    <a:lnTo>
                      <a:pt x="214" y="19"/>
                    </a:lnTo>
                    <a:lnTo>
                      <a:pt x="199" y="25"/>
                    </a:lnTo>
                    <a:lnTo>
                      <a:pt x="185" y="32"/>
                    </a:lnTo>
                    <a:lnTo>
                      <a:pt x="171" y="39"/>
                    </a:lnTo>
                    <a:lnTo>
                      <a:pt x="158" y="47"/>
                    </a:lnTo>
                    <a:lnTo>
                      <a:pt x="144" y="55"/>
                    </a:lnTo>
                    <a:lnTo>
                      <a:pt x="131" y="65"/>
                    </a:lnTo>
                    <a:lnTo>
                      <a:pt x="119" y="75"/>
                    </a:lnTo>
                    <a:lnTo>
                      <a:pt x="106" y="84"/>
                    </a:lnTo>
                    <a:lnTo>
                      <a:pt x="96" y="96"/>
                    </a:lnTo>
                    <a:lnTo>
                      <a:pt x="85" y="107"/>
                    </a:lnTo>
                    <a:lnTo>
                      <a:pt x="74" y="118"/>
                    </a:lnTo>
                    <a:lnTo>
                      <a:pt x="65" y="131"/>
                    </a:lnTo>
                    <a:lnTo>
                      <a:pt x="55" y="144"/>
                    </a:lnTo>
                    <a:lnTo>
                      <a:pt x="47" y="157"/>
                    </a:lnTo>
                    <a:lnTo>
                      <a:pt x="39" y="171"/>
                    </a:lnTo>
                    <a:lnTo>
                      <a:pt x="32" y="184"/>
                    </a:lnTo>
                    <a:lnTo>
                      <a:pt x="25" y="199"/>
                    </a:lnTo>
                    <a:lnTo>
                      <a:pt x="20" y="214"/>
                    </a:lnTo>
                    <a:lnTo>
                      <a:pt x="15" y="229"/>
                    </a:lnTo>
                    <a:lnTo>
                      <a:pt x="10" y="245"/>
                    </a:lnTo>
                    <a:lnTo>
                      <a:pt x="6" y="261"/>
                    </a:lnTo>
                    <a:lnTo>
                      <a:pt x="4" y="277"/>
                    </a:lnTo>
                    <a:lnTo>
                      <a:pt x="2" y="293"/>
                    </a:lnTo>
                    <a:lnTo>
                      <a:pt x="0" y="310"/>
                    </a:lnTo>
                    <a:lnTo>
                      <a:pt x="0" y="326"/>
                    </a:lnTo>
                    <a:lnTo>
                      <a:pt x="0" y="478"/>
                    </a:lnTo>
                    <a:lnTo>
                      <a:pt x="0" y="513"/>
                    </a:lnTo>
                    <a:lnTo>
                      <a:pt x="0" y="1475"/>
                    </a:lnTo>
                    <a:lnTo>
                      <a:pt x="0" y="1475"/>
                    </a:lnTo>
                    <a:lnTo>
                      <a:pt x="1" y="1488"/>
                    </a:lnTo>
                    <a:lnTo>
                      <a:pt x="2" y="1501"/>
                    </a:lnTo>
                    <a:lnTo>
                      <a:pt x="5" y="1514"/>
                    </a:lnTo>
                    <a:lnTo>
                      <a:pt x="9" y="1525"/>
                    </a:lnTo>
                    <a:lnTo>
                      <a:pt x="16" y="1536"/>
                    </a:lnTo>
                    <a:lnTo>
                      <a:pt x="22" y="1547"/>
                    </a:lnTo>
                    <a:lnTo>
                      <a:pt x="30" y="1557"/>
                    </a:lnTo>
                    <a:lnTo>
                      <a:pt x="37" y="1566"/>
                    </a:lnTo>
                    <a:lnTo>
                      <a:pt x="47" y="1574"/>
                    </a:lnTo>
                    <a:lnTo>
                      <a:pt x="56" y="1582"/>
                    </a:lnTo>
                    <a:lnTo>
                      <a:pt x="67" y="1588"/>
                    </a:lnTo>
                    <a:lnTo>
                      <a:pt x="79" y="1594"/>
                    </a:lnTo>
                    <a:lnTo>
                      <a:pt x="90" y="1598"/>
                    </a:lnTo>
                    <a:lnTo>
                      <a:pt x="102" y="1601"/>
                    </a:lnTo>
                    <a:lnTo>
                      <a:pt x="115" y="1603"/>
                    </a:lnTo>
                    <a:lnTo>
                      <a:pt x="129" y="1604"/>
                    </a:lnTo>
                    <a:lnTo>
                      <a:pt x="129" y="1604"/>
                    </a:lnTo>
                    <a:lnTo>
                      <a:pt x="142" y="1603"/>
                    </a:lnTo>
                    <a:lnTo>
                      <a:pt x="155" y="1601"/>
                    </a:lnTo>
                    <a:lnTo>
                      <a:pt x="166" y="1598"/>
                    </a:lnTo>
                    <a:lnTo>
                      <a:pt x="179" y="1594"/>
                    </a:lnTo>
                    <a:lnTo>
                      <a:pt x="190" y="1588"/>
                    </a:lnTo>
                    <a:lnTo>
                      <a:pt x="200" y="1582"/>
                    </a:lnTo>
                    <a:lnTo>
                      <a:pt x="210" y="1574"/>
                    </a:lnTo>
                    <a:lnTo>
                      <a:pt x="220" y="1566"/>
                    </a:lnTo>
                    <a:lnTo>
                      <a:pt x="228" y="1557"/>
                    </a:lnTo>
                    <a:lnTo>
                      <a:pt x="236" y="1547"/>
                    </a:lnTo>
                    <a:lnTo>
                      <a:pt x="242" y="1536"/>
                    </a:lnTo>
                    <a:lnTo>
                      <a:pt x="247" y="1525"/>
                    </a:lnTo>
                    <a:lnTo>
                      <a:pt x="252" y="1514"/>
                    </a:lnTo>
                    <a:lnTo>
                      <a:pt x="255" y="1501"/>
                    </a:lnTo>
                    <a:lnTo>
                      <a:pt x="257" y="1488"/>
                    </a:lnTo>
                    <a:lnTo>
                      <a:pt x="257" y="1475"/>
                    </a:lnTo>
                    <a:lnTo>
                      <a:pt x="257" y="513"/>
                    </a:lnTo>
                    <a:lnTo>
                      <a:pt x="370" y="513"/>
                    </a:lnTo>
                    <a:lnTo>
                      <a:pt x="370" y="1521"/>
                    </a:lnTo>
                    <a:lnTo>
                      <a:pt x="370" y="1582"/>
                    </a:lnTo>
                    <a:lnTo>
                      <a:pt x="370" y="3114"/>
                    </a:lnTo>
                    <a:lnTo>
                      <a:pt x="370" y="3114"/>
                    </a:lnTo>
                    <a:lnTo>
                      <a:pt x="371" y="3132"/>
                    </a:lnTo>
                    <a:lnTo>
                      <a:pt x="373" y="3149"/>
                    </a:lnTo>
                    <a:lnTo>
                      <a:pt x="377" y="3166"/>
                    </a:lnTo>
                    <a:lnTo>
                      <a:pt x="384" y="3182"/>
                    </a:lnTo>
                    <a:lnTo>
                      <a:pt x="391" y="3197"/>
                    </a:lnTo>
                    <a:lnTo>
                      <a:pt x="400" y="3212"/>
                    </a:lnTo>
                    <a:lnTo>
                      <a:pt x="409" y="3226"/>
                    </a:lnTo>
                    <a:lnTo>
                      <a:pt x="421" y="3238"/>
                    </a:lnTo>
                    <a:lnTo>
                      <a:pt x="434" y="3249"/>
                    </a:lnTo>
                    <a:lnTo>
                      <a:pt x="447" y="3259"/>
                    </a:lnTo>
                    <a:lnTo>
                      <a:pt x="462" y="3268"/>
                    </a:lnTo>
                    <a:lnTo>
                      <a:pt x="477" y="3275"/>
                    </a:lnTo>
                    <a:lnTo>
                      <a:pt x="493" y="3281"/>
                    </a:lnTo>
                    <a:lnTo>
                      <a:pt x="510" y="3286"/>
                    </a:lnTo>
                    <a:lnTo>
                      <a:pt x="527" y="3288"/>
                    </a:lnTo>
                    <a:lnTo>
                      <a:pt x="545" y="3289"/>
                    </a:lnTo>
                    <a:lnTo>
                      <a:pt x="545" y="3289"/>
                    </a:lnTo>
                    <a:lnTo>
                      <a:pt x="563" y="3288"/>
                    </a:lnTo>
                    <a:lnTo>
                      <a:pt x="580" y="3286"/>
                    </a:lnTo>
                    <a:lnTo>
                      <a:pt x="597" y="3281"/>
                    </a:lnTo>
                    <a:lnTo>
                      <a:pt x="613" y="3275"/>
                    </a:lnTo>
                    <a:lnTo>
                      <a:pt x="628" y="3268"/>
                    </a:lnTo>
                    <a:lnTo>
                      <a:pt x="643" y="3259"/>
                    </a:lnTo>
                    <a:lnTo>
                      <a:pt x="656" y="3249"/>
                    </a:lnTo>
                    <a:lnTo>
                      <a:pt x="669" y="3238"/>
                    </a:lnTo>
                    <a:lnTo>
                      <a:pt x="679" y="3226"/>
                    </a:lnTo>
                    <a:lnTo>
                      <a:pt x="690" y="3212"/>
                    </a:lnTo>
                    <a:lnTo>
                      <a:pt x="699" y="3197"/>
                    </a:lnTo>
                    <a:lnTo>
                      <a:pt x="706" y="3182"/>
                    </a:lnTo>
                    <a:lnTo>
                      <a:pt x="712" y="3166"/>
                    </a:lnTo>
                    <a:lnTo>
                      <a:pt x="717" y="3149"/>
                    </a:lnTo>
                    <a:lnTo>
                      <a:pt x="719" y="3132"/>
                    </a:lnTo>
                    <a:lnTo>
                      <a:pt x="720" y="3114"/>
                    </a:lnTo>
                    <a:lnTo>
                      <a:pt x="720" y="1582"/>
                    </a:lnTo>
                    <a:lnTo>
                      <a:pt x="827" y="1582"/>
                    </a:lnTo>
                    <a:lnTo>
                      <a:pt x="827" y="3114"/>
                    </a:lnTo>
                    <a:lnTo>
                      <a:pt x="827" y="3114"/>
                    </a:lnTo>
                    <a:lnTo>
                      <a:pt x="828" y="3132"/>
                    </a:lnTo>
                    <a:lnTo>
                      <a:pt x="831" y="3149"/>
                    </a:lnTo>
                    <a:lnTo>
                      <a:pt x="835" y="3166"/>
                    </a:lnTo>
                    <a:lnTo>
                      <a:pt x="840" y="3182"/>
                    </a:lnTo>
                    <a:lnTo>
                      <a:pt x="848" y="3197"/>
                    </a:lnTo>
                    <a:lnTo>
                      <a:pt x="856" y="3212"/>
                    </a:lnTo>
                    <a:lnTo>
                      <a:pt x="867" y="3226"/>
                    </a:lnTo>
                    <a:lnTo>
                      <a:pt x="878" y="3238"/>
                    </a:lnTo>
                    <a:lnTo>
                      <a:pt x="891" y="3249"/>
                    </a:lnTo>
                    <a:lnTo>
                      <a:pt x="903" y="3259"/>
                    </a:lnTo>
                    <a:lnTo>
                      <a:pt x="918" y="3268"/>
                    </a:lnTo>
                    <a:lnTo>
                      <a:pt x="933" y="3275"/>
                    </a:lnTo>
                    <a:lnTo>
                      <a:pt x="949" y="3281"/>
                    </a:lnTo>
                    <a:lnTo>
                      <a:pt x="966" y="3286"/>
                    </a:lnTo>
                    <a:lnTo>
                      <a:pt x="983" y="3288"/>
                    </a:lnTo>
                    <a:lnTo>
                      <a:pt x="1001" y="3289"/>
                    </a:lnTo>
                    <a:lnTo>
                      <a:pt x="1001" y="3289"/>
                    </a:lnTo>
                    <a:lnTo>
                      <a:pt x="1020" y="3288"/>
                    </a:lnTo>
                    <a:lnTo>
                      <a:pt x="1037" y="3286"/>
                    </a:lnTo>
                    <a:lnTo>
                      <a:pt x="1054" y="3281"/>
                    </a:lnTo>
                    <a:lnTo>
                      <a:pt x="1070" y="3275"/>
                    </a:lnTo>
                    <a:lnTo>
                      <a:pt x="1085" y="3268"/>
                    </a:lnTo>
                    <a:lnTo>
                      <a:pt x="1100" y="3259"/>
                    </a:lnTo>
                    <a:lnTo>
                      <a:pt x="1112" y="3249"/>
                    </a:lnTo>
                    <a:lnTo>
                      <a:pt x="1125" y="3238"/>
                    </a:lnTo>
                    <a:lnTo>
                      <a:pt x="1137" y="3226"/>
                    </a:lnTo>
                    <a:lnTo>
                      <a:pt x="1147" y="3212"/>
                    </a:lnTo>
                    <a:lnTo>
                      <a:pt x="1155" y="3197"/>
                    </a:lnTo>
                    <a:lnTo>
                      <a:pt x="1163" y="3182"/>
                    </a:lnTo>
                    <a:lnTo>
                      <a:pt x="1169" y="3166"/>
                    </a:lnTo>
                    <a:lnTo>
                      <a:pt x="1173" y="3149"/>
                    </a:lnTo>
                    <a:lnTo>
                      <a:pt x="1175" y="3132"/>
                    </a:lnTo>
                    <a:lnTo>
                      <a:pt x="1176" y="3114"/>
                    </a:lnTo>
                    <a:lnTo>
                      <a:pt x="1176" y="1582"/>
                    </a:lnTo>
                    <a:lnTo>
                      <a:pt x="1176" y="1521"/>
                    </a:lnTo>
                    <a:lnTo>
                      <a:pt x="1176" y="513"/>
                    </a:lnTo>
                    <a:lnTo>
                      <a:pt x="1310" y="513"/>
                    </a:lnTo>
                    <a:lnTo>
                      <a:pt x="1310" y="1475"/>
                    </a:lnTo>
                    <a:lnTo>
                      <a:pt x="1310" y="1475"/>
                    </a:lnTo>
                    <a:lnTo>
                      <a:pt x="1311" y="1488"/>
                    </a:lnTo>
                    <a:lnTo>
                      <a:pt x="1313" y="1501"/>
                    </a:lnTo>
                    <a:lnTo>
                      <a:pt x="1316" y="1514"/>
                    </a:lnTo>
                    <a:lnTo>
                      <a:pt x="1320" y="1525"/>
                    </a:lnTo>
                    <a:lnTo>
                      <a:pt x="1326" y="1536"/>
                    </a:lnTo>
                    <a:lnTo>
                      <a:pt x="1332" y="1547"/>
                    </a:lnTo>
                    <a:lnTo>
                      <a:pt x="1340" y="1557"/>
                    </a:lnTo>
                    <a:lnTo>
                      <a:pt x="1348" y="1566"/>
                    </a:lnTo>
                    <a:lnTo>
                      <a:pt x="1357" y="1574"/>
                    </a:lnTo>
                    <a:lnTo>
                      <a:pt x="1366" y="1582"/>
                    </a:lnTo>
                    <a:lnTo>
                      <a:pt x="1377" y="1588"/>
                    </a:lnTo>
                    <a:lnTo>
                      <a:pt x="1389" y="1594"/>
                    </a:lnTo>
                    <a:lnTo>
                      <a:pt x="1400" y="1598"/>
                    </a:lnTo>
                    <a:lnTo>
                      <a:pt x="1413" y="1601"/>
                    </a:lnTo>
                    <a:lnTo>
                      <a:pt x="1426" y="1603"/>
                    </a:lnTo>
                    <a:lnTo>
                      <a:pt x="1439" y="1604"/>
                    </a:lnTo>
                    <a:lnTo>
                      <a:pt x="1439" y="1604"/>
                    </a:lnTo>
                    <a:lnTo>
                      <a:pt x="1452" y="1603"/>
                    </a:lnTo>
                    <a:lnTo>
                      <a:pt x="1464" y="1601"/>
                    </a:lnTo>
                    <a:lnTo>
                      <a:pt x="1477" y="1598"/>
                    </a:lnTo>
                    <a:lnTo>
                      <a:pt x="1489" y="1594"/>
                    </a:lnTo>
                    <a:lnTo>
                      <a:pt x="1500" y="1588"/>
                    </a:lnTo>
                    <a:lnTo>
                      <a:pt x="1510" y="1582"/>
                    </a:lnTo>
                    <a:lnTo>
                      <a:pt x="1521" y="1574"/>
                    </a:lnTo>
                    <a:lnTo>
                      <a:pt x="1530" y="1566"/>
                    </a:lnTo>
                    <a:lnTo>
                      <a:pt x="1538" y="1557"/>
                    </a:lnTo>
                    <a:lnTo>
                      <a:pt x="1546" y="1547"/>
                    </a:lnTo>
                    <a:lnTo>
                      <a:pt x="1552" y="1536"/>
                    </a:lnTo>
                    <a:lnTo>
                      <a:pt x="1557" y="1525"/>
                    </a:lnTo>
                    <a:lnTo>
                      <a:pt x="1562" y="1514"/>
                    </a:lnTo>
                    <a:lnTo>
                      <a:pt x="1565" y="1501"/>
                    </a:lnTo>
                    <a:lnTo>
                      <a:pt x="1567" y="1488"/>
                    </a:lnTo>
                    <a:lnTo>
                      <a:pt x="1567" y="1475"/>
                    </a:lnTo>
                    <a:lnTo>
                      <a:pt x="1567" y="513"/>
                    </a:lnTo>
                    <a:lnTo>
                      <a:pt x="1567" y="478"/>
                    </a:lnTo>
                    <a:lnTo>
                      <a:pt x="1567" y="326"/>
                    </a:lnTo>
                    <a:lnTo>
                      <a:pt x="1567" y="326"/>
                    </a:lnTo>
                    <a:lnTo>
                      <a:pt x="1567" y="310"/>
                    </a:lnTo>
                    <a:lnTo>
                      <a:pt x="1566" y="293"/>
                    </a:lnTo>
                    <a:lnTo>
                      <a:pt x="1564" y="277"/>
                    </a:lnTo>
                    <a:lnTo>
                      <a:pt x="1560" y="261"/>
                    </a:lnTo>
                    <a:lnTo>
                      <a:pt x="1557" y="245"/>
                    </a:lnTo>
                    <a:lnTo>
                      <a:pt x="1553" y="229"/>
                    </a:lnTo>
                    <a:lnTo>
                      <a:pt x="1548" y="214"/>
                    </a:lnTo>
                    <a:lnTo>
                      <a:pt x="1541" y="199"/>
                    </a:lnTo>
                    <a:lnTo>
                      <a:pt x="1535" y="184"/>
                    </a:lnTo>
                    <a:lnTo>
                      <a:pt x="1527" y="171"/>
                    </a:lnTo>
                    <a:lnTo>
                      <a:pt x="1520" y="157"/>
                    </a:lnTo>
                    <a:lnTo>
                      <a:pt x="1511" y="144"/>
                    </a:lnTo>
                    <a:lnTo>
                      <a:pt x="1503" y="131"/>
                    </a:lnTo>
                    <a:lnTo>
                      <a:pt x="1492" y="118"/>
                    </a:lnTo>
                    <a:lnTo>
                      <a:pt x="1483" y="107"/>
                    </a:lnTo>
                    <a:lnTo>
                      <a:pt x="1472" y="96"/>
                    </a:lnTo>
                    <a:lnTo>
                      <a:pt x="1460" y="84"/>
                    </a:lnTo>
                    <a:lnTo>
                      <a:pt x="1448" y="75"/>
                    </a:lnTo>
                    <a:lnTo>
                      <a:pt x="1436" y="65"/>
                    </a:lnTo>
                    <a:lnTo>
                      <a:pt x="1423" y="55"/>
                    </a:lnTo>
                    <a:lnTo>
                      <a:pt x="1410" y="47"/>
                    </a:lnTo>
                    <a:lnTo>
                      <a:pt x="1396" y="39"/>
                    </a:lnTo>
                    <a:lnTo>
                      <a:pt x="1382" y="32"/>
                    </a:lnTo>
                    <a:lnTo>
                      <a:pt x="1367" y="25"/>
                    </a:lnTo>
                    <a:lnTo>
                      <a:pt x="1352" y="19"/>
                    </a:lnTo>
                    <a:lnTo>
                      <a:pt x="1338" y="15"/>
                    </a:lnTo>
                    <a:lnTo>
                      <a:pt x="1322" y="9"/>
                    </a:lnTo>
                    <a:lnTo>
                      <a:pt x="1307" y="6"/>
                    </a:lnTo>
                    <a:lnTo>
                      <a:pt x="1290" y="3"/>
                    </a:lnTo>
                    <a:lnTo>
                      <a:pt x="1274" y="1"/>
                    </a:lnTo>
                    <a:lnTo>
                      <a:pt x="1258" y="0"/>
                    </a:lnTo>
                    <a:lnTo>
                      <a:pt x="1240" y="0"/>
                    </a:lnTo>
                    <a:lnTo>
                      <a:pt x="1240" y="0"/>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51" name="Group 45"/>
            <p:cNvGrpSpPr/>
            <p:nvPr/>
          </p:nvGrpSpPr>
          <p:grpSpPr>
            <a:xfrm>
              <a:off x="1409700" y="2663458"/>
              <a:ext cx="533400" cy="1352917"/>
              <a:chOff x="2389188" y="1800226"/>
              <a:chExt cx="828675" cy="2101850"/>
            </a:xfrm>
            <a:solidFill>
              <a:srgbClr val="00559B"/>
            </a:solidFill>
            <a:effectLst>
              <a:innerShdw dist="50800" dir="5400000">
                <a:prstClr val="black">
                  <a:alpha val="20000"/>
                </a:prstClr>
              </a:innerShdw>
            </a:effectLst>
          </p:grpSpPr>
          <p:sp>
            <p:nvSpPr>
              <p:cNvPr id="63" name="Freeform 5"/>
              <p:cNvSpPr/>
              <p:nvPr/>
            </p:nvSpPr>
            <p:spPr bwMode="auto">
              <a:xfrm>
                <a:off x="2640013" y="1800226"/>
                <a:ext cx="327025" cy="325438"/>
              </a:xfrm>
              <a:custGeom>
                <a:avLst/>
                <a:gdLst>
                  <a:gd name="T0" fmla="*/ 325 w 617"/>
                  <a:gd name="T1" fmla="*/ 617 h 617"/>
                  <a:gd name="T2" fmla="*/ 371 w 617"/>
                  <a:gd name="T3" fmla="*/ 611 h 617"/>
                  <a:gd name="T4" fmla="*/ 414 w 617"/>
                  <a:gd name="T5" fmla="*/ 599 h 617"/>
                  <a:gd name="T6" fmla="*/ 456 w 617"/>
                  <a:gd name="T7" fmla="*/ 580 h 617"/>
                  <a:gd name="T8" fmla="*/ 493 w 617"/>
                  <a:gd name="T9" fmla="*/ 556 h 617"/>
                  <a:gd name="T10" fmla="*/ 526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6 w 617"/>
                  <a:gd name="T33" fmla="*/ 91 h 617"/>
                  <a:gd name="T34" fmla="*/ 493 w 617"/>
                  <a:gd name="T35" fmla="*/ 61 h 617"/>
                  <a:gd name="T36" fmla="*/ 456 w 617"/>
                  <a:gd name="T37" fmla="*/ 37 h 617"/>
                  <a:gd name="T38" fmla="*/ 414 w 617"/>
                  <a:gd name="T39" fmla="*/ 18 h 617"/>
                  <a:gd name="T40" fmla="*/ 371 w 617"/>
                  <a:gd name="T41" fmla="*/ 7 h 617"/>
                  <a:gd name="T42" fmla="*/ 325 w 617"/>
                  <a:gd name="T43" fmla="*/ 0 h 617"/>
                  <a:gd name="T44" fmla="*/ 293 w 617"/>
                  <a:gd name="T45" fmla="*/ 0 h 617"/>
                  <a:gd name="T46" fmla="*/ 246 w 617"/>
                  <a:gd name="T47" fmla="*/ 7 h 617"/>
                  <a:gd name="T48" fmla="*/ 202 w 617"/>
                  <a:gd name="T49" fmla="*/ 18 h 617"/>
                  <a:gd name="T50" fmla="*/ 162 w 617"/>
                  <a:gd name="T51" fmla="*/ 37 h 617"/>
                  <a:gd name="T52" fmla="*/ 124 w 617"/>
                  <a:gd name="T53" fmla="*/ 61 h 617"/>
                  <a:gd name="T54" fmla="*/ 90 w 617"/>
                  <a:gd name="T55" fmla="*/ 91 h 617"/>
                  <a:gd name="T56" fmla="*/ 61 w 617"/>
                  <a:gd name="T57" fmla="*/ 124 h 617"/>
                  <a:gd name="T58" fmla="*/ 37 w 617"/>
                  <a:gd name="T59" fmla="*/ 161 h 617"/>
                  <a:gd name="T60" fmla="*/ 19 w 617"/>
                  <a:gd name="T61" fmla="*/ 203 h 617"/>
                  <a:gd name="T62" fmla="*/ 6 w 617"/>
                  <a:gd name="T63" fmla="*/ 247 h 617"/>
                  <a:gd name="T64" fmla="*/ 1 w 617"/>
                  <a:gd name="T65" fmla="*/ 292 h 617"/>
                  <a:gd name="T66" fmla="*/ 1 w 617"/>
                  <a:gd name="T67" fmla="*/ 324 h 617"/>
                  <a:gd name="T68" fmla="*/ 6 w 617"/>
                  <a:gd name="T69" fmla="*/ 370 h 617"/>
                  <a:gd name="T70" fmla="*/ 19 w 617"/>
                  <a:gd name="T71" fmla="*/ 415 h 617"/>
                  <a:gd name="T72" fmla="*/ 37 w 617"/>
                  <a:gd name="T73" fmla="*/ 456 h 617"/>
                  <a:gd name="T74" fmla="*/ 61 w 617"/>
                  <a:gd name="T75" fmla="*/ 493 h 617"/>
                  <a:gd name="T76" fmla="*/ 90 w 617"/>
                  <a:gd name="T77" fmla="*/ 527 h 617"/>
                  <a:gd name="T78" fmla="*/ 124 w 617"/>
                  <a:gd name="T79" fmla="*/ 556 h 617"/>
                  <a:gd name="T80" fmla="*/ 162 w 617"/>
                  <a:gd name="T81" fmla="*/ 580 h 617"/>
                  <a:gd name="T82" fmla="*/ 202 w 617"/>
                  <a:gd name="T83" fmla="*/ 599 h 617"/>
                  <a:gd name="T84" fmla="*/ 246 w 617"/>
                  <a:gd name="T85" fmla="*/ 611 h 617"/>
                  <a:gd name="T86" fmla="*/ 293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9" y="617"/>
                    </a:moveTo>
                    <a:lnTo>
                      <a:pt x="309" y="617"/>
                    </a:lnTo>
                    <a:lnTo>
                      <a:pt x="325" y="617"/>
                    </a:lnTo>
                    <a:lnTo>
                      <a:pt x="340" y="616"/>
                    </a:lnTo>
                    <a:lnTo>
                      <a:pt x="356" y="614"/>
                    </a:lnTo>
                    <a:lnTo>
                      <a:pt x="371" y="611"/>
                    </a:lnTo>
                    <a:lnTo>
                      <a:pt x="386" y="607"/>
                    </a:lnTo>
                    <a:lnTo>
                      <a:pt x="401" y="603"/>
                    </a:lnTo>
                    <a:lnTo>
                      <a:pt x="414" y="599"/>
                    </a:lnTo>
                    <a:lnTo>
                      <a:pt x="428" y="593"/>
                    </a:lnTo>
                    <a:lnTo>
                      <a:pt x="442" y="587"/>
                    </a:lnTo>
                    <a:lnTo>
                      <a:pt x="456" y="580"/>
                    </a:lnTo>
                    <a:lnTo>
                      <a:pt x="469" y="573"/>
                    </a:lnTo>
                    <a:lnTo>
                      <a:pt x="481" y="564"/>
                    </a:lnTo>
                    <a:lnTo>
                      <a:pt x="493" y="556"/>
                    </a:lnTo>
                    <a:lnTo>
                      <a:pt x="505" y="546"/>
                    </a:lnTo>
                    <a:lnTo>
                      <a:pt x="516" y="537"/>
                    </a:lnTo>
                    <a:lnTo>
                      <a:pt x="526" y="527"/>
                    </a:lnTo>
                    <a:lnTo>
                      <a:pt x="537" y="516"/>
                    </a:lnTo>
                    <a:lnTo>
                      <a:pt x="547" y="505"/>
                    </a:lnTo>
                    <a:lnTo>
                      <a:pt x="556" y="493"/>
                    </a:lnTo>
                    <a:lnTo>
                      <a:pt x="565" y="481"/>
                    </a:lnTo>
                    <a:lnTo>
                      <a:pt x="572" y="468"/>
                    </a:lnTo>
                    <a:lnTo>
                      <a:pt x="580" y="456"/>
                    </a:lnTo>
                    <a:lnTo>
                      <a:pt x="587" y="443"/>
                    </a:lnTo>
                    <a:lnTo>
                      <a:pt x="593" y="429"/>
                    </a:lnTo>
                    <a:lnTo>
                      <a:pt x="598" y="415"/>
                    </a:lnTo>
                    <a:lnTo>
                      <a:pt x="603" y="400"/>
                    </a:lnTo>
                    <a:lnTo>
                      <a:pt x="608" y="385"/>
                    </a:lnTo>
                    <a:lnTo>
                      <a:pt x="611" y="370"/>
                    </a:lnTo>
                    <a:lnTo>
                      <a:pt x="614" y="355"/>
                    </a:lnTo>
                    <a:lnTo>
                      <a:pt x="616" y="340"/>
                    </a:lnTo>
                    <a:lnTo>
                      <a:pt x="617" y="324"/>
                    </a:lnTo>
                    <a:lnTo>
                      <a:pt x="617" y="308"/>
                    </a:lnTo>
                    <a:lnTo>
                      <a:pt x="617" y="308"/>
                    </a:lnTo>
                    <a:lnTo>
                      <a:pt x="617" y="292"/>
                    </a:lnTo>
                    <a:lnTo>
                      <a:pt x="616" y="277"/>
                    </a:lnTo>
                    <a:lnTo>
                      <a:pt x="614" y="261"/>
                    </a:lnTo>
                    <a:lnTo>
                      <a:pt x="611" y="247"/>
                    </a:lnTo>
                    <a:lnTo>
                      <a:pt x="608" y="232"/>
                    </a:lnTo>
                    <a:lnTo>
                      <a:pt x="603" y="217"/>
                    </a:lnTo>
                    <a:lnTo>
                      <a:pt x="598" y="203"/>
                    </a:lnTo>
                    <a:lnTo>
                      <a:pt x="593" y="189"/>
                    </a:lnTo>
                    <a:lnTo>
                      <a:pt x="587" y="175"/>
                    </a:lnTo>
                    <a:lnTo>
                      <a:pt x="580" y="161"/>
                    </a:lnTo>
                    <a:lnTo>
                      <a:pt x="572" y="148"/>
                    </a:lnTo>
                    <a:lnTo>
                      <a:pt x="565" y="136"/>
                    </a:lnTo>
                    <a:lnTo>
                      <a:pt x="556" y="124"/>
                    </a:lnTo>
                    <a:lnTo>
                      <a:pt x="547" y="112"/>
                    </a:lnTo>
                    <a:lnTo>
                      <a:pt x="537" y="101"/>
                    </a:lnTo>
                    <a:lnTo>
                      <a:pt x="526" y="91"/>
                    </a:lnTo>
                    <a:lnTo>
                      <a:pt x="516" y="80"/>
                    </a:lnTo>
                    <a:lnTo>
                      <a:pt x="505" y="71"/>
                    </a:lnTo>
                    <a:lnTo>
                      <a:pt x="493" y="61"/>
                    </a:lnTo>
                    <a:lnTo>
                      <a:pt x="481" y="52"/>
                    </a:lnTo>
                    <a:lnTo>
                      <a:pt x="469" y="45"/>
                    </a:lnTo>
                    <a:lnTo>
                      <a:pt x="456" y="37"/>
                    </a:lnTo>
                    <a:lnTo>
                      <a:pt x="442" y="30"/>
                    </a:lnTo>
                    <a:lnTo>
                      <a:pt x="428" y="25"/>
                    </a:lnTo>
                    <a:lnTo>
                      <a:pt x="414" y="18"/>
                    </a:lnTo>
                    <a:lnTo>
                      <a:pt x="401" y="14"/>
                    </a:lnTo>
                    <a:lnTo>
                      <a:pt x="386" y="10"/>
                    </a:lnTo>
                    <a:lnTo>
                      <a:pt x="371" y="7"/>
                    </a:lnTo>
                    <a:lnTo>
                      <a:pt x="356" y="3"/>
                    </a:lnTo>
                    <a:lnTo>
                      <a:pt x="340" y="1"/>
                    </a:lnTo>
                    <a:lnTo>
                      <a:pt x="325" y="0"/>
                    </a:lnTo>
                    <a:lnTo>
                      <a:pt x="309" y="0"/>
                    </a:lnTo>
                    <a:lnTo>
                      <a:pt x="309" y="0"/>
                    </a:lnTo>
                    <a:lnTo>
                      <a:pt x="293" y="0"/>
                    </a:lnTo>
                    <a:lnTo>
                      <a:pt x="277" y="1"/>
                    </a:lnTo>
                    <a:lnTo>
                      <a:pt x="262" y="3"/>
                    </a:lnTo>
                    <a:lnTo>
                      <a:pt x="246" y="7"/>
                    </a:lnTo>
                    <a:lnTo>
                      <a:pt x="231" y="10"/>
                    </a:lnTo>
                    <a:lnTo>
                      <a:pt x="217" y="14"/>
                    </a:lnTo>
                    <a:lnTo>
                      <a:pt x="202" y="18"/>
                    </a:lnTo>
                    <a:lnTo>
                      <a:pt x="188" y="25"/>
                    </a:lnTo>
                    <a:lnTo>
                      <a:pt x="174" y="30"/>
                    </a:lnTo>
                    <a:lnTo>
                      <a:pt x="162" y="37"/>
                    </a:lnTo>
                    <a:lnTo>
                      <a:pt x="149" y="45"/>
                    </a:lnTo>
                    <a:lnTo>
                      <a:pt x="136" y="52"/>
                    </a:lnTo>
                    <a:lnTo>
                      <a:pt x="124" y="61"/>
                    </a:lnTo>
                    <a:lnTo>
                      <a:pt x="113" y="71"/>
                    </a:lnTo>
                    <a:lnTo>
                      <a:pt x="101" y="80"/>
                    </a:lnTo>
                    <a:lnTo>
                      <a:pt x="90" y="91"/>
                    </a:lnTo>
                    <a:lnTo>
                      <a:pt x="81" y="101"/>
                    </a:lnTo>
                    <a:lnTo>
                      <a:pt x="70" y="112"/>
                    </a:lnTo>
                    <a:lnTo>
                      <a:pt x="61" y="124"/>
                    </a:lnTo>
                    <a:lnTo>
                      <a:pt x="53" y="136"/>
                    </a:lnTo>
                    <a:lnTo>
                      <a:pt x="44" y="148"/>
                    </a:lnTo>
                    <a:lnTo>
                      <a:pt x="37" y="161"/>
                    </a:lnTo>
                    <a:lnTo>
                      <a:pt x="30" y="175"/>
                    </a:lnTo>
                    <a:lnTo>
                      <a:pt x="24" y="189"/>
                    </a:lnTo>
                    <a:lnTo>
                      <a:pt x="19" y="203"/>
                    </a:lnTo>
                    <a:lnTo>
                      <a:pt x="13" y="217"/>
                    </a:lnTo>
                    <a:lnTo>
                      <a:pt x="9" y="232"/>
                    </a:lnTo>
                    <a:lnTo>
                      <a:pt x="6" y="247"/>
                    </a:lnTo>
                    <a:lnTo>
                      <a:pt x="4" y="261"/>
                    </a:lnTo>
                    <a:lnTo>
                      <a:pt x="2" y="277"/>
                    </a:lnTo>
                    <a:lnTo>
                      <a:pt x="1" y="292"/>
                    </a:lnTo>
                    <a:lnTo>
                      <a:pt x="0" y="308"/>
                    </a:lnTo>
                    <a:lnTo>
                      <a:pt x="0" y="308"/>
                    </a:lnTo>
                    <a:lnTo>
                      <a:pt x="1" y="324"/>
                    </a:lnTo>
                    <a:lnTo>
                      <a:pt x="2" y="340"/>
                    </a:lnTo>
                    <a:lnTo>
                      <a:pt x="4" y="355"/>
                    </a:lnTo>
                    <a:lnTo>
                      <a:pt x="6" y="370"/>
                    </a:lnTo>
                    <a:lnTo>
                      <a:pt x="9" y="385"/>
                    </a:lnTo>
                    <a:lnTo>
                      <a:pt x="13" y="400"/>
                    </a:lnTo>
                    <a:lnTo>
                      <a:pt x="19" y="415"/>
                    </a:lnTo>
                    <a:lnTo>
                      <a:pt x="24" y="429"/>
                    </a:lnTo>
                    <a:lnTo>
                      <a:pt x="30" y="443"/>
                    </a:lnTo>
                    <a:lnTo>
                      <a:pt x="37" y="456"/>
                    </a:lnTo>
                    <a:lnTo>
                      <a:pt x="44" y="468"/>
                    </a:lnTo>
                    <a:lnTo>
                      <a:pt x="53" y="481"/>
                    </a:lnTo>
                    <a:lnTo>
                      <a:pt x="61" y="493"/>
                    </a:lnTo>
                    <a:lnTo>
                      <a:pt x="70" y="505"/>
                    </a:lnTo>
                    <a:lnTo>
                      <a:pt x="81" y="516"/>
                    </a:lnTo>
                    <a:lnTo>
                      <a:pt x="90" y="527"/>
                    </a:lnTo>
                    <a:lnTo>
                      <a:pt x="101" y="537"/>
                    </a:lnTo>
                    <a:lnTo>
                      <a:pt x="113" y="546"/>
                    </a:lnTo>
                    <a:lnTo>
                      <a:pt x="124" y="556"/>
                    </a:lnTo>
                    <a:lnTo>
                      <a:pt x="136" y="564"/>
                    </a:lnTo>
                    <a:lnTo>
                      <a:pt x="149" y="573"/>
                    </a:lnTo>
                    <a:lnTo>
                      <a:pt x="162" y="580"/>
                    </a:lnTo>
                    <a:lnTo>
                      <a:pt x="174" y="587"/>
                    </a:lnTo>
                    <a:lnTo>
                      <a:pt x="188" y="593"/>
                    </a:lnTo>
                    <a:lnTo>
                      <a:pt x="202" y="599"/>
                    </a:lnTo>
                    <a:lnTo>
                      <a:pt x="217" y="603"/>
                    </a:lnTo>
                    <a:lnTo>
                      <a:pt x="231" y="607"/>
                    </a:lnTo>
                    <a:lnTo>
                      <a:pt x="246" y="611"/>
                    </a:lnTo>
                    <a:lnTo>
                      <a:pt x="262" y="614"/>
                    </a:lnTo>
                    <a:lnTo>
                      <a:pt x="277" y="616"/>
                    </a:lnTo>
                    <a:lnTo>
                      <a:pt x="293" y="617"/>
                    </a:lnTo>
                    <a:lnTo>
                      <a:pt x="309" y="617"/>
                    </a:lnTo>
                    <a:lnTo>
                      <a:pt x="309"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64" name="Freeform 6"/>
              <p:cNvSpPr/>
              <p:nvPr/>
            </p:nvSpPr>
            <p:spPr bwMode="auto">
              <a:xfrm>
                <a:off x="2389188" y="2160588"/>
                <a:ext cx="828675" cy="1741488"/>
              </a:xfrm>
              <a:custGeom>
                <a:avLst/>
                <a:gdLst>
                  <a:gd name="T0" fmla="*/ 310 w 1567"/>
                  <a:gd name="T1" fmla="*/ 0 h 3289"/>
                  <a:gd name="T2" fmla="*/ 245 w 1567"/>
                  <a:gd name="T3" fmla="*/ 9 h 3289"/>
                  <a:gd name="T4" fmla="*/ 185 w 1567"/>
                  <a:gd name="T5" fmla="*/ 32 h 3289"/>
                  <a:gd name="T6" fmla="*/ 131 w 1567"/>
                  <a:gd name="T7" fmla="*/ 65 h 3289"/>
                  <a:gd name="T8" fmla="*/ 85 w 1567"/>
                  <a:gd name="T9" fmla="*/ 107 h 3289"/>
                  <a:gd name="T10" fmla="*/ 47 w 1567"/>
                  <a:gd name="T11" fmla="*/ 157 h 3289"/>
                  <a:gd name="T12" fmla="*/ 20 w 1567"/>
                  <a:gd name="T13" fmla="*/ 214 h 3289"/>
                  <a:gd name="T14" fmla="*/ 4 w 1567"/>
                  <a:gd name="T15" fmla="*/ 277 h 3289"/>
                  <a:gd name="T16" fmla="*/ 0 w 1567"/>
                  <a:gd name="T17" fmla="*/ 478 h 3289"/>
                  <a:gd name="T18" fmla="*/ 1 w 1567"/>
                  <a:gd name="T19" fmla="*/ 1488 h 3289"/>
                  <a:gd name="T20" fmla="*/ 16 w 1567"/>
                  <a:gd name="T21" fmla="*/ 1536 h 3289"/>
                  <a:gd name="T22" fmla="*/ 47 w 1567"/>
                  <a:gd name="T23" fmla="*/ 1574 h 3289"/>
                  <a:gd name="T24" fmla="*/ 90 w 1567"/>
                  <a:gd name="T25" fmla="*/ 1598 h 3289"/>
                  <a:gd name="T26" fmla="*/ 129 w 1567"/>
                  <a:gd name="T27" fmla="*/ 1604 h 3289"/>
                  <a:gd name="T28" fmla="*/ 179 w 1567"/>
                  <a:gd name="T29" fmla="*/ 1594 h 3289"/>
                  <a:gd name="T30" fmla="*/ 220 w 1567"/>
                  <a:gd name="T31" fmla="*/ 1566 h 3289"/>
                  <a:gd name="T32" fmla="*/ 247 w 1567"/>
                  <a:gd name="T33" fmla="*/ 1525 h 3289"/>
                  <a:gd name="T34" fmla="*/ 257 w 1567"/>
                  <a:gd name="T35" fmla="*/ 1475 h 3289"/>
                  <a:gd name="T36" fmla="*/ 370 w 1567"/>
                  <a:gd name="T37" fmla="*/ 1582 h 3289"/>
                  <a:gd name="T38" fmla="*/ 373 w 1567"/>
                  <a:gd name="T39" fmla="*/ 3149 h 3289"/>
                  <a:gd name="T40" fmla="*/ 400 w 1567"/>
                  <a:gd name="T41" fmla="*/ 3212 h 3289"/>
                  <a:gd name="T42" fmla="*/ 447 w 1567"/>
                  <a:gd name="T43" fmla="*/ 3259 h 3289"/>
                  <a:gd name="T44" fmla="*/ 510 w 1567"/>
                  <a:gd name="T45" fmla="*/ 3286 h 3289"/>
                  <a:gd name="T46" fmla="*/ 563 w 1567"/>
                  <a:gd name="T47" fmla="*/ 3288 h 3289"/>
                  <a:gd name="T48" fmla="*/ 628 w 1567"/>
                  <a:gd name="T49" fmla="*/ 3268 h 3289"/>
                  <a:gd name="T50" fmla="*/ 679 w 1567"/>
                  <a:gd name="T51" fmla="*/ 3226 h 3289"/>
                  <a:gd name="T52" fmla="*/ 712 w 1567"/>
                  <a:gd name="T53" fmla="*/ 3166 h 3289"/>
                  <a:gd name="T54" fmla="*/ 720 w 1567"/>
                  <a:gd name="T55" fmla="*/ 1582 h 3289"/>
                  <a:gd name="T56" fmla="*/ 828 w 1567"/>
                  <a:gd name="T57" fmla="*/ 3132 h 3289"/>
                  <a:gd name="T58" fmla="*/ 848 w 1567"/>
                  <a:gd name="T59" fmla="*/ 3197 h 3289"/>
                  <a:gd name="T60" fmla="*/ 891 w 1567"/>
                  <a:gd name="T61" fmla="*/ 3249 h 3289"/>
                  <a:gd name="T62" fmla="*/ 949 w 1567"/>
                  <a:gd name="T63" fmla="*/ 3281 h 3289"/>
                  <a:gd name="T64" fmla="*/ 1001 w 1567"/>
                  <a:gd name="T65" fmla="*/ 3289 h 3289"/>
                  <a:gd name="T66" fmla="*/ 1070 w 1567"/>
                  <a:gd name="T67" fmla="*/ 3275 h 3289"/>
                  <a:gd name="T68" fmla="*/ 1125 w 1567"/>
                  <a:gd name="T69" fmla="*/ 3238 h 3289"/>
                  <a:gd name="T70" fmla="*/ 1163 w 1567"/>
                  <a:gd name="T71" fmla="*/ 3182 h 3289"/>
                  <a:gd name="T72" fmla="*/ 1176 w 1567"/>
                  <a:gd name="T73" fmla="*/ 3114 h 3289"/>
                  <a:gd name="T74" fmla="*/ 1310 w 1567"/>
                  <a:gd name="T75" fmla="*/ 513 h 3289"/>
                  <a:gd name="T76" fmla="*/ 1313 w 1567"/>
                  <a:gd name="T77" fmla="*/ 1501 h 3289"/>
                  <a:gd name="T78" fmla="*/ 1332 w 1567"/>
                  <a:gd name="T79" fmla="*/ 1547 h 3289"/>
                  <a:gd name="T80" fmla="*/ 1366 w 1567"/>
                  <a:gd name="T81" fmla="*/ 1582 h 3289"/>
                  <a:gd name="T82" fmla="*/ 1413 w 1567"/>
                  <a:gd name="T83" fmla="*/ 1601 h 3289"/>
                  <a:gd name="T84" fmla="*/ 1452 w 1567"/>
                  <a:gd name="T85" fmla="*/ 1603 h 3289"/>
                  <a:gd name="T86" fmla="*/ 1500 w 1567"/>
                  <a:gd name="T87" fmla="*/ 1588 h 3289"/>
                  <a:gd name="T88" fmla="*/ 1538 w 1567"/>
                  <a:gd name="T89" fmla="*/ 1557 h 3289"/>
                  <a:gd name="T90" fmla="*/ 1562 w 1567"/>
                  <a:gd name="T91" fmla="*/ 1514 h 3289"/>
                  <a:gd name="T92" fmla="*/ 1567 w 1567"/>
                  <a:gd name="T93" fmla="*/ 513 h 3289"/>
                  <a:gd name="T94" fmla="*/ 1567 w 1567"/>
                  <a:gd name="T95" fmla="*/ 310 h 3289"/>
                  <a:gd name="T96" fmla="*/ 1557 w 1567"/>
                  <a:gd name="T97" fmla="*/ 245 h 3289"/>
                  <a:gd name="T98" fmla="*/ 1535 w 1567"/>
                  <a:gd name="T99" fmla="*/ 184 h 3289"/>
                  <a:gd name="T100" fmla="*/ 1503 w 1567"/>
                  <a:gd name="T101" fmla="*/ 131 h 3289"/>
                  <a:gd name="T102" fmla="*/ 1460 w 1567"/>
                  <a:gd name="T103" fmla="*/ 84 h 3289"/>
                  <a:gd name="T104" fmla="*/ 1410 w 1567"/>
                  <a:gd name="T105" fmla="*/ 47 h 3289"/>
                  <a:gd name="T106" fmla="*/ 1352 w 1567"/>
                  <a:gd name="T107" fmla="*/ 19 h 3289"/>
                  <a:gd name="T108" fmla="*/ 1290 w 1567"/>
                  <a:gd name="T109" fmla="*/ 3 h 3289"/>
                  <a:gd name="T110" fmla="*/ 1240 w 1567"/>
                  <a:gd name="T111"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7" h="3289">
                    <a:moveTo>
                      <a:pt x="1240" y="0"/>
                    </a:moveTo>
                    <a:lnTo>
                      <a:pt x="327" y="0"/>
                    </a:lnTo>
                    <a:lnTo>
                      <a:pt x="327" y="0"/>
                    </a:lnTo>
                    <a:lnTo>
                      <a:pt x="310" y="0"/>
                    </a:lnTo>
                    <a:lnTo>
                      <a:pt x="293" y="1"/>
                    </a:lnTo>
                    <a:lnTo>
                      <a:pt x="277" y="3"/>
                    </a:lnTo>
                    <a:lnTo>
                      <a:pt x="261" y="6"/>
                    </a:lnTo>
                    <a:lnTo>
                      <a:pt x="245" y="9"/>
                    </a:lnTo>
                    <a:lnTo>
                      <a:pt x="229" y="15"/>
                    </a:lnTo>
                    <a:lnTo>
                      <a:pt x="214" y="19"/>
                    </a:lnTo>
                    <a:lnTo>
                      <a:pt x="199" y="25"/>
                    </a:lnTo>
                    <a:lnTo>
                      <a:pt x="185" y="32"/>
                    </a:lnTo>
                    <a:lnTo>
                      <a:pt x="171" y="39"/>
                    </a:lnTo>
                    <a:lnTo>
                      <a:pt x="158" y="47"/>
                    </a:lnTo>
                    <a:lnTo>
                      <a:pt x="144" y="55"/>
                    </a:lnTo>
                    <a:lnTo>
                      <a:pt x="131" y="65"/>
                    </a:lnTo>
                    <a:lnTo>
                      <a:pt x="119" y="75"/>
                    </a:lnTo>
                    <a:lnTo>
                      <a:pt x="106" y="84"/>
                    </a:lnTo>
                    <a:lnTo>
                      <a:pt x="96" y="96"/>
                    </a:lnTo>
                    <a:lnTo>
                      <a:pt x="85" y="107"/>
                    </a:lnTo>
                    <a:lnTo>
                      <a:pt x="74" y="118"/>
                    </a:lnTo>
                    <a:lnTo>
                      <a:pt x="65" y="131"/>
                    </a:lnTo>
                    <a:lnTo>
                      <a:pt x="55" y="144"/>
                    </a:lnTo>
                    <a:lnTo>
                      <a:pt x="47" y="157"/>
                    </a:lnTo>
                    <a:lnTo>
                      <a:pt x="39" y="171"/>
                    </a:lnTo>
                    <a:lnTo>
                      <a:pt x="32" y="184"/>
                    </a:lnTo>
                    <a:lnTo>
                      <a:pt x="25" y="199"/>
                    </a:lnTo>
                    <a:lnTo>
                      <a:pt x="20" y="214"/>
                    </a:lnTo>
                    <a:lnTo>
                      <a:pt x="15" y="229"/>
                    </a:lnTo>
                    <a:lnTo>
                      <a:pt x="10" y="245"/>
                    </a:lnTo>
                    <a:lnTo>
                      <a:pt x="6" y="261"/>
                    </a:lnTo>
                    <a:lnTo>
                      <a:pt x="4" y="277"/>
                    </a:lnTo>
                    <a:lnTo>
                      <a:pt x="2" y="293"/>
                    </a:lnTo>
                    <a:lnTo>
                      <a:pt x="0" y="310"/>
                    </a:lnTo>
                    <a:lnTo>
                      <a:pt x="0" y="326"/>
                    </a:lnTo>
                    <a:lnTo>
                      <a:pt x="0" y="478"/>
                    </a:lnTo>
                    <a:lnTo>
                      <a:pt x="0" y="513"/>
                    </a:lnTo>
                    <a:lnTo>
                      <a:pt x="0" y="1475"/>
                    </a:lnTo>
                    <a:lnTo>
                      <a:pt x="0" y="1475"/>
                    </a:lnTo>
                    <a:lnTo>
                      <a:pt x="1" y="1488"/>
                    </a:lnTo>
                    <a:lnTo>
                      <a:pt x="2" y="1501"/>
                    </a:lnTo>
                    <a:lnTo>
                      <a:pt x="5" y="1514"/>
                    </a:lnTo>
                    <a:lnTo>
                      <a:pt x="9" y="1525"/>
                    </a:lnTo>
                    <a:lnTo>
                      <a:pt x="16" y="1536"/>
                    </a:lnTo>
                    <a:lnTo>
                      <a:pt x="22" y="1547"/>
                    </a:lnTo>
                    <a:lnTo>
                      <a:pt x="30" y="1557"/>
                    </a:lnTo>
                    <a:lnTo>
                      <a:pt x="37" y="1566"/>
                    </a:lnTo>
                    <a:lnTo>
                      <a:pt x="47" y="1574"/>
                    </a:lnTo>
                    <a:lnTo>
                      <a:pt x="56" y="1582"/>
                    </a:lnTo>
                    <a:lnTo>
                      <a:pt x="67" y="1588"/>
                    </a:lnTo>
                    <a:lnTo>
                      <a:pt x="79" y="1594"/>
                    </a:lnTo>
                    <a:lnTo>
                      <a:pt x="90" y="1598"/>
                    </a:lnTo>
                    <a:lnTo>
                      <a:pt x="102" y="1601"/>
                    </a:lnTo>
                    <a:lnTo>
                      <a:pt x="115" y="1603"/>
                    </a:lnTo>
                    <a:lnTo>
                      <a:pt x="129" y="1604"/>
                    </a:lnTo>
                    <a:lnTo>
                      <a:pt x="129" y="1604"/>
                    </a:lnTo>
                    <a:lnTo>
                      <a:pt x="142" y="1603"/>
                    </a:lnTo>
                    <a:lnTo>
                      <a:pt x="155" y="1601"/>
                    </a:lnTo>
                    <a:lnTo>
                      <a:pt x="166" y="1598"/>
                    </a:lnTo>
                    <a:lnTo>
                      <a:pt x="179" y="1594"/>
                    </a:lnTo>
                    <a:lnTo>
                      <a:pt x="190" y="1588"/>
                    </a:lnTo>
                    <a:lnTo>
                      <a:pt x="200" y="1582"/>
                    </a:lnTo>
                    <a:lnTo>
                      <a:pt x="210" y="1574"/>
                    </a:lnTo>
                    <a:lnTo>
                      <a:pt x="220" y="1566"/>
                    </a:lnTo>
                    <a:lnTo>
                      <a:pt x="228" y="1557"/>
                    </a:lnTo>
                    <a:lnTo>
                      <a:pt x="236" y="1547"/>
                    </a:lnTo>
                    <a:lnTo>
                      <a:pt x="242" y="1536"/>
                    </a:lnTo>
                    <a:lnTo>
                      <a:pt x="247" y="1525"/>
                    </a:lnTo>
                    <a:lnTo>
                      <a:pt x="252" y="1514"/>
                    </a:lnTo>
                    <a:lnTo>
                      <a:pt x="255" y="1501"/>
                    </a:lnTo>
                    <a:lnTo>
                      <a:pt x="257" y="1488"/>
                    </a:lnTo>
                    <a:lnTo>
                      <a:pt x="257" y="1475"/>
                    </a:lnTo>
                    <a:lnTo>
                      <a:pt x="257" y="513"/>
                    </a:lnTo>
                    <a:lnTo>
                      <a:pt x="370" y="513"/>
                    </a:lnTo>
                    <a:lnTo>
                      <a:pt x="370" y="1521"/>
                    </a:lnTo>
                    <a:lnTo>
                      <a:pt x="370" y="1582"/>
                    </a:lnTo>
                    <a:lnTo>
                      <a:pt x="370" y="3114"/>
                    </a:lnTo>
                    <a:lnTo>
                      <a:pt x="370" y="3114"/>
                    </a:lnTo>
                    <a:lnTo>
                      <a:pt x="371" y="3132"/>
                    </a:lnTo>
                    <a:lnTo>
                      <a:pt x="373" y="3149"/>
                    </a:lnTo>
                    <a:lnTo>
                      <a:pt x="377" y="3166"/>
                    </a:lnTo>
                    <a:lnTo>
                      <a:pt x="384" y="3182"/>
                    </a:lnTo>
                    <a:lnTo>
                      <a:pt x="391" y="3197"/>
                    </a:lnTo>
                    <a:lnTo>
                      <a:pt x="400" y="3212"/>
                    </a:lnTo>
                    <a:lnTo>
                      <a:pt x="409" y="3226"/>
                    </a:lnTo>
                    <a:lnTo>
                      <a:pt x="421" y="3238"/>
                    </a:lnTo>
                    <a:lnTo>
                      <a:pt x="434" y="3249"/>
                    </a:lnTo>
                    <a:lnTo>
                      <a:pt x="447" y="3259"/>
                    </a:lnTo>
                    <a:lnTo>
                      <a:pt x="462" y="3268"/>
                    </a:lnTo>
                    <a:lnTo>
                      <a:pt x="477" y="3275"/>
                    </a:lnTo>
                    <a:lnTo>
                      <a:pt x="493" y="3281"/>
                    </a:lnTo>
                    <a:lnTo>
                      <a:pt x="510" y="3286"/>
                    </a:lnTo>
                    <a:lnTo>
                      <a:pt x="527" y="3288"/>
                    </a:lnTo>
                    <a:lnTo>
                      <a:pt x="545" y="3289"/>
                    </a:lnTo>
                    <a:lnTo>
                      <a:pt x="545" y="3289"/>
                    </a:lnTo>
                    <a:lnTo>
                      <a:pt x="563" y="3288"/>
                    </a:lnTo>
                    <a:lnTo>
                      <a:pt x="580" y="3286"/>
                    </a:lnTo>
                    <a:lnTo>
                      <a:pt x="597" y="3281"/>
                    </a:lnTo>
                    <a:lnTo>
                      <a:pt x="613" y="3275"/>
                    </a:lnTo>
                    <a:lnTo>
                      <a:pt x="628" y="3268"/>
                    </a:lnTo>
                    <a:lnTo>
                      <a:pt x="643" y="3259"/>
                    </a:lnTo>
                    <a:lnTo>
                      <a:pt x="656" y="3249"/>
                    </a:lnTo>
                    <a:lnTo>
                      <a:pt x="669" y="3238"/>
                    </a:lnTo>
                    <a:lnTo>
                      <a:pt x="679" y="3226"/>
                    </a:lnTo>
                    <a:lnTo>
                      <a:pt x="690" y="3212"/>
                    </a:lnTo>
                    <a:lnTo>
                      <a:pt x="699" y="3197"/>
                    </a:lnTo>
                    <a:lnTo>
                      <a:pt x="706" y="3182"/>
                    </a:lnTo>
                    <a:lnTo>
                      <a:pt x="712" y="3166"/>
                    </a:lnTo>
                    <a:lnTo>
                      <a:pt x="717" y="3149"/>
                    </a:lnTo>
                    <a:lnTo>
                      <a:pt x="719" y="3132"/>
                    </a:lnTo>
                    <a:lnTo>
                      <a:pt x="720" y="3114"/>
                    </a:lnTo>
                    <a:lnTo>
                      <a:pt x="720" y="1582"/>
                    </a:lnTo>
                    <a:lnTo>
                      <a:pt x="827" y="1582"/>
                    </a:lnTo>
                    <a:lnTo>
                      <a:pt x="827" y="3114"/>
                    </a:lnTo>
                    <a:lnTo>
                      <a:pt x="827" y="3114"/>
                    </a:lnTo>
                    <a:lnTo>
                      <a:pt x="828" y="3132"/>
                    </a:lnTo>
                    <a:lnTo>
                      <a:pt x="831" y="3149"/>
                    </a:lnTo>
                    <a:lnTo>
                      <a:pt x="835" y="3166"/>
                    </a:lnTo>
                    <a:lnTo>
                      <a:pt x="840" y="3182"/>
                    </a:lnTo>
                    <a:lnTo>
                      <a:pt x="848" y="3197"/>
                    </a:lnTo>
                    <a:lnTo>
                      <a:pt x="856" y="3212"/>
                    </a:lnTo>
                    <a:lnTo>
                      <a:pt x="867" y="3226"/>
                    </a:lnTo>
                    <a:lnTo>
                      <a:pt x="878" y="3238"/>
                    </a:lnTo>
                    <a:lnTo>
                      <a:pt x="891" y="3249"/>
                    </a:lnTo>
                    <a:lnTo>
                      <a:pt x="903" y="3259"/>
                    </a:lnTo>
                    <a:lnTo>
                      <a:pt x="918" y="3268"/>
                    </a:lnTo>
                    <a:lnTo>
                      <a:pt x="933" y="3275"/>
                    </a:lnTo>
                    <a:lnTo>
                      <a:pt x="949" y="3281"/>
                    </a:lnTo>
                    <a:lnTo>
                      <a:pt x="966" y="3286"/>
                    </a:lnTo>
                    <a:lnTo>
                      <a:pt x="983" y="3288"/>
                    </a:lnTo>
                    <a:lnTo>
                      <a:pt x="1001" y="3289"/>
                    </a:lnTo>
                    <a:lnTo>
                      <a:pt x="1001" y="3289"/>
                    </a:lnTo>
                    <a:lnTo>
                      <a:pt x="1020" y="3288"/>
                    </a:lnTo>
                    <a:lnTo>
                      <a:pt x="1037" y="3286"/>
                    </a:lnTo>
                    <a:lnTo>
                      <a:pt x="1054" y="3281"/>
                    </a:lnTo>
                    <a:lnTo>
                      <a:pt x="1070" y="3275"/>
                    </a:lnTo>
                    <a:lnTo>
                      <a:pt x="1085" y="3268"/>
                    </a:lnTo>
                    <a:lnTo>
                      <a:pt x="1100" y="3259"/>
                    </a:lnTo>
                    <a:lnTo>
                      <a:pt x="1112" y="3249"/>
                    </a:lnTo>
                    <a:lnTo>
                      <a:pt x="1125" y="3238"/>
                    </a:lnTo>
                    <a:lnTo>
                      <a:pt x="1137" y="3226"/>
                    </a:lnTo>
                    <a:lnTo>
                      <a:pt x="1147" y="3212"/>
                    </a:lnTo>
                    <a:lnTo>
                      <a:pt x="1155" y="3197"/>
                    </a:lnTo>
                    <a:lnTo>
                      <a:pt x="1163" y="3182"/>
                    </a:lnTo>
                    <a:lnTo>
                      <a:pt x="1169" y="3166"/>
                    </a:lnTo>
                    <a:lnTo>
                      <a:pt x="1173" y="3149"/>
                    </a:lnTo>
                    <a:lnTo>
                      <a:pt x="1175" y="3132"/>
                    </a:lnTo>
                    <a:lnTo>
                      <a:pt x="1176" y="3114"/>
                    </a:lnTo>
                    <a:lnTo>
                      <a:pt x="1176" y="1582"/>
                    </a:lnTo>
                    <a:lnTo>
                      <a:pt x="1176" y="1521"/>
                    </a:lnTo>
                    <a:lnTo>
                      <a:pt x="1176" y="513"/>
                    </a:lnTo>
                    <a:lnTo>
                      <a:pt x="1310" y="513"/>
                    </a:lnTo>
                    <a:lnTo>
                      <a:pt x="1310" y="1475"/>
                    </a:lnTo>
                    <a:lnTo>
                      <a:pt x="1310" y="1475"/>
                    </a:lnTo>
                    <a:lnTo>
                      <a:pt x="1311" y="1488"/>
                    </a:lnTo>
                    <a:lnTo>
                      <a:pt x="1313" y="1501"/>
                    </a:lnTo>
                    <a:lnTo>
                      <a:pt x="1316" y="1514"/>
                    </a:lnTo>
                    <a:lnTo>
                      <a:pt x="1320" y="1525"/>
                    </a:lnTo>
                    <a:lnTo>
                      <a:pt x="1326" y="1536"/>
                    </a:lnTo>
                    <a:lnTo>
                      <a:pt x="1332" y="1547"/>
                    </a:lnTo>
                    <a:lnTo>
                      <a:pt x="1340" y="1557"/>
                    </a:lnTo>
                    <a:lnTo>
                      <a:pt x="1348" y="1566"/>
                    </a:lnTo>
                    <a:lnTo>
                      <a:pt x="1357" y="1574"/>
                    </a:lnTo>
                    <a:lnTo>
                      <a:pt x="1366" y="1582"/>
                    </a:lnTo>
                    <a:lnTo>
                      <a:pt x="1377" y="1588"/>
                    </a:lnTo>
                    <a:lnTo>
                      <a:pt x="1389" y="1594"/>
                    </a:lnTo>
                    <a:lnTo>
                      <a:pt x="1400" y="1598"/>
                    </a:lnTo>
                    <a:lnTo>
                      <a:pt x="1413" y="1601"/>
                    </a:lnTo>
                    <a:lnTo>
                      <a:pt x="1426" y="1603"/>
                    </a:lnTo>
                    <a:lnTo>
                      <a:pt x="1439" y="1604"/>
                    </a:lnTo>
                    <a:lnTo>
                      <a:pt x="1439" y="1604"/>
                    </a:lnTo>
                    <a:lnTo>
                      <a:pt x="1452" y="1603"/>
                    </a:lnTo>
                    <a:lnTo>
                      <a:pt x="1464" y="1601"/>
                    </a:lnTo>
                    <a:lnTo>
                      <a:pt x="1477" y="1598"/>
                    </a:lnTo>
                    <a:lnTo>
                      <a:pt x="1489" y="1594"/>
                    </a:lnTo>
                    <a:lnTo>
                      <a:pt x="1500" y="1588"/>
                    </a:lnTo>
                    <a:lnTo>
                      <a:pt x="1510" y="1582"/>
                    </a:lnTo>
                    <a:lnTo>
                      <a:pt x="1521" y="1574"/>
                    </a:lnTo>
                    <a:lnTo>
                      <a:pt x="1530" y="1566"/>
                    </a:lnTo>
                    <a:lnTo>
                      <a:pt x="1538" y="1557"/>
                    </a:lnTo>
                    <a:lnTo>
                      <a:pt x="1546" y="1547"/>
                    </a:lnTo>
                    <a:lnTo>
                      <a:pt x="1552" y="1536"/>
                    </a:lnTo>
                    <a:lnTo>
                      <a:pt x="1557" y="1525"/>
                    </a:lnTo>
                    <a:lnTo>
                      <a:pt x="1562" y="1514"/>
                    </a:lnTo>
                    <a:lnTo>
                      <a:pt x="1565" y="1501"/>
                    </a:lnTo>
                    <a:lnTo>
                      <a:pt x="1567" y="1488"/>
                    </a:lnTo>
                    <a:lnTo>
                      <a:pt x="1567" y="1475"/>
                    </a:lnTo>
                    <a:lnTo>
                      <a:pt x="1567" y="513"/>
                    </a:lnTo>
                    <a:lnTo>
                      <a:pt x="1567" y="478"/>
                    </a:lnTo>
                    <a:lnTo>
                      <a:pt x="1567" y="326"/>
                    </a:lnTo>
                    <a:lnTo>
                      <a:pt x="1567" y="326"/>
                    </a:lnTo>
                    <a:lnTo>
                      <a:pt x="1567" y="310"/>
                    </a:lnTo>
                    <a:lnTo>
                      <a:pt x="1566" y="293"/>
                    </a:lnTo>
                    <a:lnTo>
                      <a:pt x="1564" y="277"/>
                    </a:lnTo>
                    <a:lnTo>
                      <a:pt x="1560" y="261"/>
                    </a:lnTo>
                    <a:lnTo>
                      <a:pt x="1557" y="245"/>
                    </a:lnTo>
                    <a:lnTo>
                      <a:pt x="1553" y="229"/>
                    </a:lnTo>
                    <a:lnTo>
                      <a:pt x="1548" y="214"/>
                    </a:lnTo>
                    <a:lnTo>
                      <a:pt x="1541" y="199"/>
                    </a:lnTo>
                    <a:lnTo>
                      <a:pt x="1535" y="184"/>
                    </a:lnTo>
                    <a:lnTo>
                      <a:pt x="1527" y="171"/>
                    </a:lnTo>
                    <a:lnTo>
                      <a:pt x="1520" y="157"/>
                    </a:lnTo>
                    <a:lnTo>
                      <a:pt x="1511" y="144"/>
                    </a:lnTo>
                    <a:lnTo>
                      <a:pt x="1503" y="131"/>
                    </a:lnTo>
                    <a:lnTo>
                      <a:pt x="1492" y="118"/>
                    </a:lnTo>
                    <a:lnTo>
                      <a:pt x="1483" y="107"/>
                    </a:lnTo>
                    <a:lnTo>
                      <a:pt x="1472" y="96"/>
                    </a:lnTo>
                    <a:lnTo>
                      <a:pt x="1460" y="84"/>
                    </a:lnTo>
                    <a:lnTo>
                      <a:pt x="1448" y="75"/>
                    </a:lnTo>
                    <a:lnTo>
                      <a:pt x="1436" y="65"/>
                    </a:lnTo>
                    <a:lnTo>
                      <a:pt x="1423" y="55"/>
                    </a:lnTo>
                    <a:lnTo>
                      <a:pt x="1410" y="47"/>
                    </a:lnTo>
                    <a:lnTo>
                      <a:pt x="1396" y="39"/>
                    </a:lnTo>
                    <a:lnTo>
                      <a:pt x="1382" y="32"/>
                    </a:lnTo>
                    <a:lnTo>
                      <a:pt x="1367" y="25"/>
                    </a:lnTo>
                    <a:lnTo>
                      <a:pt x="1352" y="19"/>
                    </a:lnTo>
                    <a:lnTo>
                      <a:pt x="1338" y="15"/>
                    </a:lnTo>
                    <a:lnTo>
                      <a:pt x="1322" y="9"/>
                    </a:lnTo>
                    <a:lnTo>
                      <a:pt x="1307" y="6"/>
                    </a:lnTo>
                    <a:lnTo>
                      <a:pt x="1290" y="3"/>
                    </a:lnTo>
                    <a:lnTo>
                      <a:pt x="1274" y="1"/>
                    </a:lnTo>
                    <a:lnTo>
                      <a:pt x="1258" y="0"/>
                    </a:lnTo>
                    <a:lnTo>
                      <a:pt x="1240" y="0"/>
                    </a:lnTo>
                    <a:lnTo>
                      <a:pt x="1240" y="0"/>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52" name="Group 48"/>
            <p:cNvGrpSpPr/>
            <p:nvPr/>
          </p:nvGrpSpPr>
          <p:grpSpPr>
            <a:xfrm>
              <a:off x="914400" y="2917825"/>
              <a:ext cx="433113" cy="1098550"/>
              <a:chOff x="2389188" y="1800226"/>
              <a:chExt cx="828675" cy="2101850"/>
            </a:xfrm>
            <a:solidFill>
              <a:srgbClr val="00559B"/>
            </a:solidFill>
            <a:effectLst>
              <a:innerShdw dist="50800" dir="5400000">
                <a:prstClr val="black">
                  <a:alpha val="20000"/>
                </a:prstClr>
              </a:innerShdw>
            </a:effectLst>
          </p:grpSpPr>
          <p:sp>
            <p:nvSpPr>
              <p:cNvPr id="61" name="Freeform 5"/>
              <p:cNvSpPr/>
              <p:nvPr/>
            </p:nvSpPr>
            <p:spPr bwMode="auto">
              <a:xfrm>
                <a:off x="2640013" y="1800226"/>
                <a:ext cx="327025" cy="325438"/>
              </a:xfrm>
              <a:custGeom>
                <a:avLst/>
                <a:gdLst>
                  <a:gd name="T0" fmla="*/ 325 w 617"/>
                  <a:gd name="T1" fmla="*/ 617 h 617"/>
                  <a:gd name="T2" fmla="*/ 371 w 617"/>
                  <a:gd name="T3" fmla="*/ 611 h 617"/>
                  <a:gd name="T4" fmla="*/ 414 w 617"/>
                  <a:gd name="T5" fmla="*/ 599 h 617"/>
                  <a:gd name="T6" fmla="*/ 456 w 617"/>
                  <a:gd name="T7" fmla="*/ 580 h 617"/>
                  <a:gd name="T8" fmla="*/ 493 w 617"/>
                  <a:gd name="T9" fmla="*/ 556 h 617"/>
                  <a:gd name="T10" fmla="*/ 526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6 w 617"/>
                  <a:gd name="T33" fmla="*/ 91 h 617"/>
                  <a:gd name="T34" fmla="*/ 493 w 617"/>
                  <a:gd name="T35" fmla="*/ 61 h 617"/>
                  <a:gd name="T36" fmla="*/ 456 w 617"/>
                  <a:gd name="T37" fmla="*/ 37 h 617"/>
                  <a:gd name="T38" fmla="*/ 414 w 617"/>
                  <a:gd name="T39" fmla="*/ 18 h 617"/>
                  <a:gd name="T40" fmla="*/ 371 w 617"/>
                  <a:gd name="T41" fmla="*/ 7 h 617"/>
                  <a:gd name="T42" fmla="*/ 325 w 617"/>
                  <a:gd name="T43" fmla="*/ 0 h 617"/>
                  <a:gd name="T44" fmla="*/ 293 w 617"/>
                  <a:gd name="T45" fmla="*/ 0 h 617"/>
                  <a:gd name="T46" fmla="*/ 246 w 617"/>
                  <a:gd name="T47" fmla="*/ 7 h 617"/>
                  <a:gd name="T48" fmla="*/ 202 w 617"/>
                  <a:gd name="T49" fmla="*/ 18 h 617"/>
                  <a:gd name="T50" fmla="*/ 162 w 617"/>
                  <a:gd name="T51" fmla="*/ 37 h 617"/>
                  <a:gd name="T52" fmla="*/ 124 w 617"/>
                  <a:gd name="T53" fmla="*/ 61 h 617"/>
                  <a:gd name="T54" fmla="*/ 90 w 617"/>
                  <a:gd name="T55" fmla="*/ 91 h 617"/>
                  <a:gd name="T56" fmla="*/ 61 w 617"/>
                  <a:gd name="T57" fmla="*/ 124 h 617"/>
                  <a:gd name="T58" fmla="*/ 37 w 617"/>
                  <a:gd name="T59" fmla="*/ 161 h 617"/>
                  <a:gd name="T60" fmla="*/ 19 w 617"/>
                  <a:gd name="T61" fmla="*/ 203 h 617"/>
                  <a:gd name="T62" fmla="*/ 6 w 617"/>
                  <a:gd name="T63" fmla="*/ 247 h 617"/>
                  <a:gd name="T64" fmla="*/ 1 w 617"/>
                  <a:gd name="T65" fmla="*/ 292 h 617"/>
                  <a:gd name="T66" fmla="*/ 1 w 617"/>
                  <a:gd name="T67" fmla="*/ 324 h 617"/>
                  <a:gd name="T68" fmla="*/ 6 w 617"/>
                  <a:gd name="T69" fmla="*/ 370 h 617"/>
                  <a:gd name="T70" fmla="*/ 19 w 617"/>
                  <a:gd name="T71" fmla="*/ 415 h 617"/>
                  <a:gd name="T72" fmla="*/ 37 w 617"/>
                  <a:gd name="T73" fmla="*/ 456 h 617"/>
                  <a:gd name="T74" fmla="*/ 61 w 617"/>
                  <a:gd name="T75" fmla="*/ 493 h 617"/>
                  <a:gd name="T76" fmla="*/ 90 w 617"/>
                  <a:gd name="T77" fmla="*/ 527 h 617"/>
                  <a:gd name="T78" fmla="*/ 124 w 617"/>
                  <a:gd name="T79" fmla="*/ 556 h 617"/>
                  <a:gd name="T80" fmla="*/ 162 w 617"/>
                  <a:gd name="T81" fmla="*/ 580 h 617"/>
                  <a:gd name="T82" fmla="*/ 202 w 617"/>
                  <a:gd name="T83" fmla="*/ 599 h 617"/>
                  <a:gd name="T84" fmla="*/ 246 w 617"/>
                  <a:gd name="T85" fmla="*/ 611 h 617"/>
                  <a:gd name="T86" fmla="*/ 293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9" y="617"/>
                    </a:moveTo>
                    <a:lnTo>
                      <a:pt x="309" y="617"/>
                    </a:lnTo>
                    <a:lnTo>
                      <a:pt x="325" y="617"/>
                    </a:lnTo>
                    <a:lnTo>
                      <a:pt x="340" y="616"/>
                    </a:lnTo>
                    <a:lnTo>
                      <a:pt x="356" y="614"/>
                    </a:lnTo>
                    <a:lnTo>
                      <a:pt x="371" y="611"/>
                    </a:lnTo>
                    <a:lnTo>
                      <a:pt x="386" y="607"/>
                    </a:lnTo>
                    <a:lnTo>
                      <a:pt x="401" y="603"/>
                    </a:lnTo>
                    <a:lnTo>
                      <a:pt x="414" y="599"/>
                    </a:lnTo>
                    <a:lnTo>
                      <a:pt x="428" y="593"/>
                    </a:lnTo>
                    <a:lnTo>
                      <a:pt x="442" y="587"/>
                    </a:lnTo>
                    <a:lnTo>
                      <a:pt x="456" y="580"/>
                    </a:lnTo>
                    <a:lnTo>
                      <a:pt x="469" y="573"/>
                    </a:lnTo>
                    <a:lnTo>
                      <a:pt x="481" y="564"/>
                    </a:lnTo>
                    <a:lnTo>
                      <a:pt x="493" y="556"/>
                    </a:lnTo>
                    <a:lnTo>
                      <a:pt x="505" y="546"/>
                    </a:lnTo>
                    <a:lnTo>
                      <a:pt x="516" y="537"/>
                    </a:lnTo>
                    <a:lnTo>
                      <a:pt x="526" y="527"/>
                    </a:lnTo>
                    <a:lnTo>
                      <a:pt x="537" y="516"/>
                    </a:lnTo>
                    <a:lnTo>
                      <a:pt x="547" y="505"/>
                    </a:lnTo>
                    <a:lnTo>
                      <a:pt x="556" y="493"/>
                    </a:lnTo>
                    <a:lnTo>
                      <a:pt x="565" y="481"/>
                    </a:lnTo>
                    <a:lnTo>
                      <a:pt x="572" y="468"/>
                    </a:lnTo>
                    <a:lnTo>
                      <a:pt x="580" y="456"/>
                    </a:lnTo>
                    <a:lnTo>
                      <a:pt x="587" y="443"/>
                    </a:lnTo>
                    <a:lnTo>
                      <a:pt x="593" y="429"/>
                    </a:lnTo>
                    <a:lnTo>
                      <a:pt x="598" y="415"/>
                    </a:lnTo>
                    <a:lnTo>
                      <a:pt x="603" y="400"/>
                    </a:lnTo>
                    <a:lnTo>
                      <a:pt x="608" y="385"/>
                    </a:lnTo>
                    <a:lnTo>
                      <a:pt x="611" y="370"/>
                    </a:lnTo>
                    <a:lnTo>
                      <a:pt x="614" y="355"/>
                    </a:lnTo>
                    <a:lnTo>
                      <a:pt x="616" y="340"/>
                    </a:lnTo>
                    <a:lnTo>
                      <a:pt x="617" y="324"/>
                    </a:lnTo>
                    <a:lnTo>
                      <a:pt x="617" y="308"/>
                    </a:lnTo>
                    <a:lnTo>
                      <a:pt x="617" y="308"/>
                    </a:lnTo>
                    <a:lnTo>
                      <a:pt x="617" y="292"/>
                    </a:lnTo>
                    <a:lnTo>
                      <a:pt x="616" y="277"/>
                    </a:lnTo>
                    <a:lnTo>
                      <a:pt x="614" y="261"/>
                    </a:lnTo>
                    <a:lnTo>
                      <a:pt x="611" y="247"/>
                    </a:lnTo>
                    <a:lnTo>
                      <a:pt x="608" y="232"/>
                    </a:lnTo>
                    <a:lnTo>
                      <a:pt x="603" y="217"/>
                    </a:lnTo>
                    <a:lnTo>
                      <a:pt x="598" y="203"/>
                    </a:lnTo>
                    <a:lnTo>
                      <a:pt x="593" y="189"/>
                    </a:lnTo>
                    <a:lnTo>
                      <a:pt x="587" y="175"/>
                    </a:lnTo>
                    <a:lnTo>
                      <a:pt x="580" y="161"/>
                    </a:lnTo>
                    <a:lnTo>
                      <a:pt x="572" y="148"/>
                    </a:lnTo>
                    <a:lnTo>
                      <a:pt x="565" y="136"/>
                    </a:lnTo>
                    <a:lnTo>
                      <a:pt x="556" y="124"/>
                    </a:lnTo>
                    <a:lnTo>
                      <a:pt x="547" y="112"/>
                    </a:lnTo>
                    <a:lnTo>
                      <a:pt x="537" y="101"/>
                    </a:lnTo>
                    <a:lnTo>
                      <a:pt x="526" y="91"/>
                    </a:lnTo>
                    <a:lnTo>
                      <a:pt x="516" y="80"/>
                    </a:lnTo>
                    <a:lnTo>
                      <a:pt x="505" y="71"/>
                    </a:lnTo>
                    <a:lnTo>
                      <a:pt x="493" y="61"/>
                    </a:lnTo>
                    <a:lnTo>
                      <a:pt x="481" y="52"/>
                    </a:lnTo>
                    <a:lnTo>
                      <a:pt x="469" y="45"/>
                    </a:lnTo>
                    <a:lnTo>
                      <a:pt x="456" y="37"/>
                    </a:lnTo>
                    <a:lnTo>
                      <a:pt x="442" y="30"/>
                    </a:lnTo>
                    <a:lnTo>
                      <a:pt x="428" y="25"/>
                    </a:lnTo>
                    <a:lnTo>
                      <a:pt x="414" y="18"/>
                    </a:lnTo>
                    <a:lnTo>
                      <a:pt x="401" y="14"/>
                    </a:lnTo>
                    <a:lnTo>
                      <a:pt x="386" y="10"/>
                    </a:lnTo>
                    <a:lnTo>
                      <a:pt x="371" y="7"/>
                    </a:lnTo>
                    <a:lnTo>
                      <a:pt x="356" y="3"/>
                    </a:lnTo>
                    <a:lnTo>
                      <a:pt x="340" y="1"/>
                    </a:lnTo>
                    <a:lnTo>
                      <a:pt x="325" y="0"/>
                    </a:lnTo>
                    <a:lnTo>
                      <a:pt x="309" y="0"/>
                    </a:lnTo>
                    <a:lnTo>
                      <a:pt x="309" y="0"/>
                    </a:lnTo>
                    <a:lnTo>
                      <a:pt x="293" y="0"/>
                    </a:lnTo>
                    <a:lnTo>
                      <a:pt x="277" y="1"/>
                    </a:lnTo>
                    <a:lnTo>
                      <a:pt x="262" y="3"/>
                    </a:lnTo>
                    <a:lnTo>
                      <a:pt x="246" y="7"/>
                    </a:lnTo>
                    <a:lnTo>
                      <a:pt x="231" y="10"/>
                    </a:lnTo>
                    <a:lnTo>
                      <a:pt x="217" y="14"/>
                    </a:lnTo>
                    <a:lnTo>
                      <a:pt x="202" y="18"/>
                    </a:lnTo>
                    <a:lnTo>
                      <a:pt x="188" y="25"/>
                    </a:lnTo>
                    <a:lnTo>
                      <a:pt x="174" y="30"/>
                    </a:lnTo>
                    <a:lnTo>
                      <a:pt x="162" y="37"/>
                    </a:lnTo>
                    <a:lnTo>
                      <a:pt x="149" y="45"/>
                    </a:lnTo>
                    <a:lnTo>
                      <a:pt x="136" y="52"/>
                    </a:lnTo>
                    <a:lnTo>
                      <a:pt x="124" y="61"/>
                    </a:lnTo>
                    <a:lnTo>
                      <a:pt x="113" y="71"/>
                    </a:lnTo>
                    <a:lnTo>
                      <a:pt x="101" y="80"/>
                    </a:lnTo>
                    <a:lnTo>
                      <a:pt x="90" y="91"/>
                    </a:lnTo>
                    <a:lnTo>
                      <a:pt x="81" y="101"/>
                    </a:lnTo>
                    <a:lnTo>
                      <a:pt x="70" y="112"/>
                    </a:lnTo>
                    <a:lnTo>
                      <a:pt x="61" y="124"/>
                    </a:lnTo>
                    <a:lnTo>
                      <a:pt x="53" y="136"/>
                    </a:lnTo>
                    <a:lnTo>
                      <a:pt x="44" y="148"/>
                    </a:lnTo>
                    <a:lnTo>
                      <a:pt x="37" y="161"/>
                    </a:lnTo>
                    <a:lnTo>
                      <a:pt x="30" y="175"/>
                    </a:lnTo>
                    <a:lnTo>
                      <a:pt x="24" y="189"/>
                    </a:lnTo>
                    <a:lnTo>
                      <a:pt x="19" y="203"/>
                    </a:lnTo>
                    <a:lnTo>
                      <a:pt x="13" y="217"/>
                    </a:lnTo>
                    <a:lnTo>
                      <a:pt x="9" y="232"/>
                    </a:lnTo>
                    <a:lnTo>
                      <a:pt x="6" y="247"/>
                    </a:lnTo>
                    <a:lnTo>
                      <a:pt x="4" y="261"/>
                    </a:lnTo>
                    <a:lnTo>
                      <a:pt x="2" y="277"/>
                    </a:lnTo>
                    <a:lnTo>
                      <a:pt x="1" y="292"/>
                    </a:lnTo>
                    <a:lnTo>
                      <a:pt x="0" y="308"/>
                    </a:lnTo>
                    <a:lnTo>
                      <a:pt x="0" y="308"/>
                    </a:lnTo>
                    <a:lnTo>
                      <a:pt x="1" y="324"/>
                    </a:lnTo>
                    <a:lnTo>
                      <a:pt x="2" y="340"/>
                    </a:lnTo>
                    <a:lnTo>
                      <a:pt x="4" y="355"/>
                    </a:lnTo>
                    <a:lnTo>
                      <a:pt x="6" y="370"/>
                    </a:lnTo>
                    <a:lnTo>
                      <a:pt x="9" y="385"/>
                    </a:lnTo>
                    <a:lnTo>
                      <a:pt x="13" y="400"/>
                    </a:lnTo>
                    <a:lnTo>
                      <a:pt x="19" y="415"/>
                    </a:lnTo>
                    <a:lnTo>
                      <a:pt x="24" y="429"/>
                    </a:lnTo>
                    <a:lnTo>
                      <a:pt x="30" y="443"/>
                    </a:lnTo>
                    <a:lnTo>
                      <a:pt x="37" y="456"/>
                    </a:lnTo>
                    <a:lnTo>
                      <a:pt x="44" y="468"/>
                    </a:lnTo>
                    <a:lnTo>
                      <a:pt x="53" y="481"/>
                    </a:lnTo>
                    <a:lnTo>
                      <a:pt x="61" y="493"/>
                    </a:lnTo>
                    <a:lnTo>
                      <a:pt x="70" y="505"/>
                    </a:lnTo>
                    <a:lnTo>
                      <a:pt x="81" y="516"/>
                    </a:lnTo>
                    <a:lnTo>
                      <a:pt x="90" y="527"/>
                    </a:lnTo>
                    <a:lnTo>
                      <a:pt x="101" y="537"/>
                    </a:lnTo>
                    <a:lnTo>
                      <a:pt x="113" y="546"/>
                    </a:lnTo>
                    <a:lnTo>
                      <a:pt x="124" y="556"/>
                    </a:lnTo>
                    <a:lnTo>
                      <a:pt x="136" y="564"/>
                    </a:lnTo>
                    <a:lnTo>
                      <a:pt x="149" y="573"/>
                    </a:lnTo>
                    <a:lnTo>
                      <a:pt x="162" y="580"/>
                    </a:lnTo>
                    <a:lnTo>
                      <a:pt x="174" y="587"/>
                    </a:lnTo>
                    <a:lnTo>
                      <a:pt x="188" y="593"/>
                    </a:lnTo>
                    <a:lnTo>
                      <a:pt x="202" y="599"/>
                    </a:lnTo>
                    <a:lnTo>
                      <a:pt x="217" y="603"/>
                    </a:lnTo>
                    <a:lnTo>
                      <a:pt x="231" y="607"/>
                    </a:lnTo>
                    <a:lnTo>
                      <a:pt x="246" y="611"/>
                    </a:lnTo>
                    <a:lnTo>
                      <a:pt x="262" y="614"/>
                    </a:lnTo>
                    <a:lnTo>
                      <a:pt x="277" y="616"/>
                    </a:lnTo>
                    <a:lnTo>
                      <a:pt x="293" y="617"/>
                    </a:lnTo>
                    <a:lnTo>
                      <a:pt x="309" y="617"/>
                    </a:lnTo>
                    <a:lnTo>
                      <a:pt x="309" y="617"/>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62" name="Freeform 6"/>
              <p:cNvSpPr/>
              <p:nvPr/>
            </p:nvSpPr>
            <p:spPr bwMode="auto">
              <a:xfrm>
                <a:off x="2389188" y="2160588"/>
                <a:ext cx="828675" cy="1741488"/>
              </a:xfrm>
              <a:custGeom>
                <a:avLst/>
                <a:gdLst>
                  <a:gd name="T0" fmla="*/ 310 w 1567"/>
                  <a:gd name="T1" fmla="*/ 0 h 3289"/>
                  <a:gd name="T2" fmla="*/ 245 w 1567"/>
                  <a:gd name="T3" fmla="*/ 9 h 3289"/>
                  <a:gd name="T4" fmla="*/ 185 w 1567"/>
                  <a:gd name="T5" fmla="*/ 32 h 3289"/>
                  <a:gd name="T6" fmla="*/ 131 w 1567"/>
                  <a:gd name="T7" fmla="*/ 65 h 3289"/>
                  <a:gd name="T8" fmla="*/ 85 w 1567"/>
                  <a:gd name="T9" fmla="*/ 107 h 3289"/>
                  <a:gd name="T10" fmla="*/ 47 w 1567"/>
                  <a:gd name="T11" fmla="*/ 157 h 3289"/>
                  <a:gd name="T12" fmla="*/ 20 w 1567"/>
                  <a:gd name="T13" fmla="*/ 214 h 3289"/>
                  <a:gd name="T14" fmla="*/ 4 w 1567"/>
                  <a:gd name="T15" fmla="*/ 277 h 3289"/>
                  <a:gd name="T16" fmla="*/ 0 w 1567"/>
                  <a:gd name="T17" fmla="*/ 478 h 3289"/>
                  <a:gd name="T18" fmla="*/ 1 w 1567"/>
                  <a:gd name="T19" fmla="*/ 1488 h 3289"/>
                  <a:gd name="T20" fmla="*/ 16 w 1567"/>
                  <a:gd name="T21" fmla="*/ 1536 h 3289"/>
                  <a:gd name="T22" fmla="*/ 47 w 1567"/>
                  <a:gd name="T23" fmla="*/ 1574 h 3289"/>
                  <a:gd name="T24" fmla="*/ 90 w 1567"/>
                  <a:gd name="T25" fmla="*/ 1598 h 3289"/>
                  <a:gd name="T26" fmla="*/ 129 w 1567"/>
                  <a:gd name="T27" fmla="*/ 1604 h 3289"/>
                  <a:gd name="T28" fmla="*/ 179 w 1567"/>
                  <a:gd name="T29" fmla="*/ 1594 h 3289"/>
                  <a:gd name="T30" fmla="*/ 220 w 1567"/>
                  <a:gd name="T31" fmla="*/ 1566 h 3289"/>
                  <a:gd name="T32" fmla="*/ 247 w 1567"/>
                  <a:gd name="T33" fmla="*/ 1525 h 3289"/>
                  <a:gd name="T34" fmla="*/ 257 w 1567"/>
                  <a:gd name="T35" fmla="*/ 1475 h 3289"/>
                  <a:gd name="T36" fmla="*/ 370 w 1567"/>
                  <a:gd name="T37" fmla="*/ 1582 h 3289"/>
                  <a:gd name="T38" fmla="*/ 373 w 1567"/>
                  <a:gd name="T39" fmla="*/ 3149 h 3289"/>
                  <a:gd name="T40" fmla="*/ 400 w 1567"/>
                  <a:gd name="T41" fmla="*/ 3212 h 3289"/>
                  <a:gd name="T42" fmla="*/ 447 w 1567"/>
                  <a:gd name="T43" fmla="*/ 3259 h 3289"/>
                  <a:gd name="T44" fmla="*/ 510 w 1567"/>
                  <a:gd name="T45" fmla="*/ 3286 h 3289"/>
                  <a:gd name="T46" fmla="*/ 563 w 1567"/>
                  <a:gd name="T47" fmla="*/ 3288 h 3289"/>
                  <a:gd name="T48" fmla="*/ 628 w 1567"/>
                  <a:gd name="T49" fmla="*/ 3268 h 3289"/>
                  <a:gd name="T50" fmla="*/ 679 w 1567"/>
                  <a:gd name="T51" fmla="*/ 3226 h 3289"/>
                  <a:gd name="T52" fmla="*/ 712 w 1567"/>
                  <a:gd name="T53" fmla="*/ 3166 h 3289"/>
                  <a:gd name="T54" fmla="*/ 720 w 1567"/>
                  <a:gd name="T55" fmla="*/ 1582 h 3289"/>
                  <a:gd name="T56" fmla="*/ 828 w 1567"/>
                  <a:gd name="T57" fmla="*/ 3132 h 3289"/>
                  <a:gd name="T58" fmla="*/ 848 w 1567"/>
                  <a:gd name="T59" fmla="*/ 3197 h 3289"/>
                  <a:gd name="T60" fmla="*/ 891 w 1567"/>
                  <a:gd name="T61" fmla="*/ 3249 h 3289"/>
                  <a:gd name="T62" fmla="*/ 949 w 1567"/>
                  <a:gd name="T63" fmla="*/ 3281 h 3289"/>
                  <a:gd name="T64" fmla="*/ 1001 w 1567"/>
                  <a:gd name="T65" fmla="*/ 3289 h 3289"/>
                  <a:gd name="T66" fmla="*/ 1070 w 1567"/>
                  <a:gd name="T67" fmla="*/ 3275 h 3289"/>
                  <a:gd name="T68" fmla="*/ 1125 w 1567"/>
                  <a:gd name="T69" fmla="*/ 3238 h 3289"/>
                  <a:gd name="T70" fmla="*/ 1163 w 1567"/>
                  <a:gd name="T71" fmla="*/ 3182 h 3289"/>
                  <a:gd name="T72" fmla="*/ 1176 w 1567"/>
                  <a:gd name="T73" fmla="*/ 3114 h 3289"/>
                  <a:gd name="T74" fmla="*/ 1310 w 1567"/>
                  <a:gd name="T75" fmla="*/ 513 h 3289"/>
                  <a:gd name="T76" fmla="*/ 1313 w 1567"/>
                  <a:gd name="T77" fmla="*/ 1501 h 3289"/>
                  <a:gd name="T78" fmla="*/ 1332 w 1567"/>
                  <a:gd name="T79" fmla="*/ 1547 h 3289"/>
                  <a:gd name="T80" fmla="*/ 1366 w 1567"/>
                  <a:gd name="T81" fmla="*/ 1582 h 3289"/>
                  <a:gd name="T82" fmla="*/ 1413 w 1567"/>
                  <a:gd name="T83" fmla="*/ 1601 h 3289"/>
                  <a:gd name="T84" fmla="*/ 1452 w 1567"/>
                  <a:gd name="T85" fmla="*/ 1603 h 3289"/>
                  <a:gd name="T86" fmla="*/ 1500 w 1567"/>
                  <a:gd name="T87" fmla="*/ 1588 h 3289"/>
                  <a:gd name="T88" fmla="*/ 1538 w 1567"/>
                  <a:gd name="T89" fmla="*/ 1557 h 3289"/>
                  <a:gd name="T90" fmla="*/ 1562 w 1567"/>
                  <a:gd name="T91" fmla="*/ 1514 h 3289"/>
                  <a:gd name="T92" fmla="*/ 1567 w 1567"/>
                  <a:gd name="T93" fmla="*/ 513 h 3289"/>
                  <a:gd name="T94" fmla="*/ 1567 w 1567"/>
                  <a:gd name="T95" fmla="*/ 310 h 3289"/>
                  <a:gd name="T96" fmla="*/ 1557 w 1567"/>
                  <a:gd name="T97" fmla="*/ 245 h 3289"/>
                  <a:gd name="T98" fmla="*/ 1535 w 1567"/>
                  <a:gd name="T99" fmla="*/ 184 h 3289"/>
                  <a:gd name="T100" fmla="*/ 1503 w 1567"/>
                  <a:gd name="T101" fmla="*/ 131 h 3289"/>
                  <a:gd name="T102" fmla="*/ 1460 w 1567"/>
                  <a:gd name="T103" fmla="*/ 84 h 3289"/>
                  <a:gd name="T104" fmla="*/ 1410 w 1567"/>
                  <a:gd name="T105" fmla="*/ 47 h 3289"/>
                  <a:gd name="T106" fmla="*/ 1352 w 1567"/>
                  <a:gd name="T107" fmla="*/ 19 h 3289"/>
                  <a:gd name="T108" fmla="*/ 1290 w 1567"/>
                  <a:gd name="T109" fmla="*/ 3 h 3289"/>
                  <a:gd name="T110" fmla="*/ 1240 w 1567"/>
                  <a:gd name="T111"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7" h="3289">
                    <a:moveTo>
                      <a:pt x="1240" y="0"/>
                    </a:moveTo>
                    <a:lnTo>
                      <a:pt x="327" y="0"/>
                    </a:lnTo>
                    <a:lnTo>
                      <a:pt x="327" y="0"/>
                    </a:lnTo>
                    <a:lnTo>
                      <a:pt x="310" y="0"/>
                    </a:lnTo>
                    <a:lnTo>
                      <a:pt x="293" y="1"/>
                    </a:lnTo>
                    <a:lnTo>
                      <a:pt x="277" y="3"/>
                    </a:lnTo>
                    <a:lnTo>
                      <a:pt x="261" y="6"/>
                    </a:lnTo>
                    <a:lnTo>
                      <a:pt x="245" y="9"/>
                    </a:lnTo>
                    <a:lnTo>
                      <a:pt x="229" y="15"/>
                    </a:lnTo>
                    <a:lnTo>
                      <a:pt x="214" y="19"/>
                    </a:lnTo>
                    <a:lnTo>
                      <a:pt x="199" y="25"/>
                    </a:lnTo>
                    <a:lnTo>
                      <a:pt x="185" y="32"/>
                    </a:lnTo>
                    <a:lnTo>
                      <a:pt x="171" y="39"/>
                    </a:lnTo>
                    <a:lnTo>
                      <a:pt x="158" y="47"/>
                    </a:lnTo>
                    <a:lnTo>
                      <a:pt x="144" y="55"/>
                    </a:lnTo>
                    <a:lnTo>
                      <a:pt x="131" y="65"/>
                    </a:lnTo>
                    <a:lnTo>
                      <a:pt x="119" y="75"/>
                    </a:lnTo>
                    <a:lnTo>
                      <a:pt x="106" y="84"/>
                    </a:lnTo>
                    <a:lnTo>
                      <a:pt x="96" y="96"/>
                    </a:lnTo>
                    <a:lnTo>
                      <a:pt x="85" y="107"/>
                    </a:lnTo>
                    <a:lnTo>
                      <a:pt x="74" y="118"/>
                    </a:lnTo>
                    <a:lnTo>
                      <a:pt x="65" y="131"/>
                    </a:lnTo>
                    <a:lnTo>
                      <a:pt x="55" y="144"/>
                    </a:lnTo>
                    <a:lnTo>
                      <a:pt x="47" y="157"/>
                    </a:lnTo>
                    <a:lnTo>
                      <a:pt x="39" y="171"/>
                    </a:lnTo>
                    <a:lnTo>
                      <a:pt x="32" y="184"/>
                    </a:lnTo>
                    <a:lnTo>
                      <a:pt x="25" y="199"/>
                    </a:lnTo>
                    <a:lnTo>
                      <a:pt x="20" y="214"/>
                    </a:lnTo>
                    <a:lnTo>
                      <a:pt x="15" y="229"/>
                    </a:lnTo>
                    <a:lnTo>
                      <a:pt x="10" y="245"/>
                    </a:lnTo>
                    <a:lnTo>
                      <a:pt x="6" y="261"/>
                    </a:lnTo>
                    <a:lnTo>
                      <a:pt x="4" y="277"/>
                    </a:lnTo>
                    <a:lnTo>
                      <a:pt x="2" y="293"/>
                    </a:lnTo>
                    <a:lnTo>
                      <a:pt x="0" y="310"/>
                    </a:lnTo>
                    <a:lnTo>
                      <a:pt x="0" y="326"/>
                    </a:lnTo>
                    <a:lnTo>
                      <a:pt x="0" y="478"/>
                    </a:lnTo>
                    <a:lnTo>
                      <a:pt x="0" y="513"/>
                    </a:lnTo>
                    <a:lnTo>
                      <a:pt x="0" y="1475"/>
                    </a:lnTo>
                    <a:lnTo>
                      <a:pt x="0" y="1475"/>
                    </a:lnTo>
                    <a:lnTo>
                      <a:pt x="1" y="1488"/>
                    </a:lnTo>
                    <a:lnTo>
                      <a:pt x="2" y="1501"/>
                    </a:lnTo>
                    <a:lnTo>
                      <a:pt x="5" y="1514"/>
                    </a:lnTo>
                    <a:lnTo>
                      <a:pt x="9" y="1525"/>
                    </a:lnTo>
                    <a:lnTo>
                      <a:pt x="16" y="1536"/>
                    </a:lnTo>
                    <a:lnTo>
                      <a:pt x="22" y="1547"/>
                    </a:lnTo>
                    <a:lnTo>
                      <a:pt x="30" y="1557"/>
                    </a:lnTo>
                    <a:lnTo>
                      <a:pt x="37" y="1566"/>
                    </a:lnTo>
                    <a:lnTo>
                      <a:pt x="47" y="1574"/>
                    </a:lnTo>
                    <a:lnTo>
                      <a:pt x="56" y="1582"/>
                    </a:lnTo>
                    <a:lnTo>
                      <a:pt x="67" y="1588"/>
                    </a:lnTo>
                    <a:lnTo>
                      <a:pt x="79" y="1594"/>
                    </a:lnTo>
                    <a:lnTo>
                      <a:pt x="90" y="1598"/>
                    </a:lnTo>
                    <a:lnTo>
                      <a:pt x="102" y="1601"/>
                    </a:lnTo>
                    <a:lnTo>
                      <a:pt x="115" y="1603"/>
                    </a:lnTo>
                    <a:lnTo>
                      <a:pt x="129" y="1604"/>
                    </a:lnTo>
                    <a:lnTo>
                      <a:pt x="129" y="1604"/>
                    </a:lnTo>
                    <a:lnTo>
                      <a:pt x="142" y="1603"/>
                    </a:lnTo>
                    <a:lnTo>
                      <a:pt x="155" y="1601"/>
                    </a:lnTo>
                    <a:lnTo>
                      <a:pt x="166" y="1598"/>
                    </a:lnTo>
                    <a:lnTo>
                      <a:pt x="179" y="1594"/>
                    </a:lnTo>
                    <a:lnTo>
                      <a:pt x="190" y="1588"/>
                    </a:lnTo>
                    <a:lnTo>
                      <a:pt x="200" y="1582"/>
                    </a:lnTo>
                    <a:lnTo>
                      <a:pt x="210" y="1574"/>
                    </a:lnTo>
                    <a:lnTo>
                      <a:pt x="220" y="1566"/>
                    </a:lnTo>
                    <a:lnTo>
                      <a:pt x="228" y="1557"/>
                    </a:lnTo>
                    <a:lnTo>
                      <a:pt x="236" y="1547"/>
                    </a:lnTo>
                    <a:lnTo>
                      <a:pt x="242" y="1536"/>
                    </a:lnTo>
                    <a:lnTo>
                      <a:pt x="247" y="1525"/>
                    </a:lnTo>
                    <a:lnTo>
                      <a:pt x="252" y="1514"/>
                    </a:lnTo>
                    <a:lnTo>
                      <a:pt x="255" y="1501"/>
                    </a:lnTo>
                    <a:lnTo>
                      <a:pt x="257" y="1488"/>
                    </a:lnTo>
                    <a:lnTo>
                      <a:pt x="257" y="1475"/>
                    </a:lnTo>
                    <a:lnTo>
                      <a:pt x="257" y="513"/>
                    </a:lnTo>
                    <a:lnTo>
                      <a:pt x="370" y="513"/>
                    </a:lnTo>
                    <a:lnTo>
                      <a:pt x="370" y="1521"/>
                    </a:lnTo>
                    <a:lnTo>
                      <a:pt x="370" y="1582"/>
                    </a:lnTo>
                    <a:lnTo>
                      <a:pt x="370" y="3114"/>
                    </a:lnTo>
                    <a:lnTo>
                      <a:pt x="370" y="3114"/>
                    </a:lnTo>
                    <a:lnTo>
                      <a:pt x="371" y="3132"/>
                    </a:lnTo>
                    <a:lnTo>
                      <a:pt x="373" y="3149"/>
                    </a:lnTo>
                    <a:lnTo>
                      <a:pt x="377" y="3166"/>
                    </a:lnTo>
                    <a:lnTo>
                      <a:pt x="384" y="3182"/>
                    </a:lnTo>
                    <a:lnTo>
                      <a:pt x="391" y="3197"/>
                    </a:lnTo>
                    <a:lnTo>
                      <a:pt x="400" y="3212"/>
                    </a:lnTo>
                    <a:lnTo>
                      <a:pt x="409" y="3226"/>
                    </a:lnTo>
                    <a:lnTo>
                      <a:pt x="421" y="3238"/>
                    </a:lnTo>
                    <a:lnTo>
                      <a:pt x="434" y="3249"/>
                    </a:lnTo>
                    <a:lnTo>
                      <a:pt x="447" y="3259"/>
                    </a:lnTo>
                    <a:lnTo>
                      <a:pt x="462" y="3268"/>
                    </a:lnTo>
                    <a:lnTo>
                      <a:pt x="477" y="3275"/>
                    </a:lnTo>
                    <a:lnTo>
                      <a:pt x="493" y="3281"/>
                    </a:lnTo>
                    <a:lnTo>
                      <a:pt x="510" y="3286"/>
                    </a:lnTo>
                    <a:lnTo>
                      <a:pt x="527" y="3288"/>
                    </a:lnTo>
                    <a:lnTo>
                      <a:pt x="545" y="3289"/>
                    </a:lnTo>
                    <a:lnTo>
                      <a:pt x="545" y="3289"/>
                    </a:lnTo>
                    <a:lnTo>
                      <a:pt x="563" y="3288"/>
                    </a:lnTo>
                    <a:lnTo>
                      <a:pt x="580" y="3286"/>
                    </a:lnTo>
                    <a:lnTo>
                      <a:pt x="597" y="3281"/>
                    </a:lnTo>
                    <a:lnTo>
                      <a:pt x="613" y="3275"/>
                    </a:lnTo>
                    <a:lnTo>
                      <a:pt x="628" y="3268"/>
                    </a:lnTo>
                    <a:lnTo>
                      <a:pt x="643" y="3259"/>
                    </a:lnTo>
                    <a:lnTo>
                      <a:pt x="656" y="3249"/>
                    </a:lnTo>
                    <a:lnTo>
                      <a:pt x="669" y="3238"/>
                    </a:lnTo>
                    <a:lnTo>
                      <a:pt x="679" y="3226"/>
                    </a:lnTo>
                    <a:lnTo>
                      <a:pt x="690" y="3212"/>
                    </a:lnTo>
                    <a:lnTo>
                      <a:pt x="699" y="3197"/>
                    </a:lnTo>
                    <a:lnTo>
                      <a:pt x="706" y="3182"/>
                    </a:lnTo>
                    <a:lnTo>
                      <a:pt x="712" y="3166"/>
                    </a:lnTo>
                    <a:lnTo>
                      <a:pt x="717" y="3149"/>
                    </a:lnTo>
                    <a:lnTo>
                      <a:pt x="719" y="3132"/>
                    </a:lnTo>
                    <a:lnTo>
                      <a:pt x="720" y="3114"/>
                    </a:lnTo>
                    <a:lnTo>
                      <a:pt x="720" y="1582"/>
                    </a:lnTo>
                    <a:lnTo>
                      <a:pt x="827" y="1582"/>
                    </a:lnTo>
                    <a:lnTo>
                      <a:pt x="827" y="3114"/>
                    </a:lnTo>
                    <a:lnTo>
                      <a:pt x="827" y="3114"/>
                    </a:lnTo>
                    <a:lnTo>
                      <a:pt x="828" y="3132"/>
                    </a:lnTo>
                    <a:lnTo>
                      <a:pt x="831" y="3149"/>
                    </a:lnTo>
                    <a:lnTo>
                      <a:pt x="835" y="3166"/>
                    </a:lnTo>
                    <a:lnTo>
                      <a:pt x="840" y="3182"/>
                    </a:lnTo>
                    <a:lnTo>
                      <a:pt x="848" y="3197"/>
                    </a:lnTo>
                    <a:lnTo>
                      <a:pt x="856" y="3212"/>
                    </a:lnTo>
                    <a:lnTo>
                      <a:pt x="867" y="3226"/>
                    </a:lnTo>
                    <a:lnTo>
                      <a:pt x="878" y="3238"/>
                    </a:lnTo>
                    <a:lnTo>
                      <a:pt x="891" y="3249"/>
                    </a:lnTo>
                    <a:lnTo>
                      <a:pt x="903" y="3259"/>
                    </a:lnTo>
                    <a:lnTo>
                      <a:pt x="918" y="3268"/>
                    </a:lnTo>
                    <a:lnTo>
                      <a:pt x="933" y="3275"/>
                    </a:lnTo>
                    <a:lnTo>
                      <a:pt x="949" y="3281"/>
                    </a:lnTo>
                    <a:lnTo>
                      <a:pt x="966" y="3286"/>
                    </a:lnTo>
                    <a:lnTo>
                      <a:pt x="983" y="3288"/>
                    </a:lnTo>
                    <a:lnTo>
                      <a:pt x="1001" y="3289"/>
                    </a:lnTo>
                    <a:lnTo>
                      <a:pt x="1001" y="3289"/>
                    </a:lnTo>
                    <a:lnTo>
                      <a:pt x="1020" y="3288"/>
                    </a:lnTo>
                    <a:lnTo>
                      <a:pt x="1037" y="3286"/>
                    </a:lnTo>
                    <a:lnTo>
                      <a:pt x="1054" y="3281"/>
                    </a:lnTo>
                    <a:lnTo>
                      <a:pt x="1070" y="3275"/>
                    </a:lnTo>
                    <a:lnTo>
                      <a:pt x="1085" y="3268"/>
                    </a:lnTo>
                    <a:lnTo>
                      <a:pt x="1100" y="3259"/>
                    </a:lnTo>
                    <a:lnTo>
                      <a:pt x="1112" y="3249"/>
                    </a:lnTo>
                    <a:lnTo>
                      <a:pt x="1125" y="3238"/>
                    </a:lnTo>
                    <a:lnTo>
                      <a:pt x="1137" y="3226"/>
                    </a:lnTo>
                    <a:lnTo>
                      <a:pt x="1147" y="3212"/>
                    </a:lnTo>
                    <a:lnTo>
                      <a:pt x="1155" y="3197"/>
                    </a:lnTo>
                    <a:lnTo>
                      <a:pt x="1163" y="3182"/>
                    </a:lnTo>
                    <a:lnTo>
                      <a:pt x="1169" y="3166"/>
                    </a:lnTo>
                    <a:lnTo>
                      <a:pt x="1173" y="3149"/>
                    </a:lnTo>
                    <a:lnTo>
                      <a:pt x="1175" y="3132"/>
                    </a:lnTo>
                    <a:lnTo>
                      <a:pt x="1176" y="3114"/>
                    </a:lnTo>
                    <a:lnTo>
                      <a:pt x="1176" y="1582"/>
                    </a:lnTo>
                    <a:lnTo>
                      <a:pt x="1176" y="1521"/>
                    </a:lnTo>
                    <a:lnTo>
                      <a:pt x="1176" y="513"/>
                    </a:lnTo>
                    <a:lnTo>
                      <a:pt x="1310" y="513"/>
                    </a:lnTo>
                    <a:lnTo>
                      <a:pt x="1310" y="1475"/>
                    </a:lnTo>
                    <a:lnTo>
                      <a:pt x="1310" y="1475"/>
                    </a:lnTo>
                    <a:lnTo>
                      <a:pt x="1311" y="1488"/>
                    </a:lnTo>
                    <a:lnTo>
                      <a:pt x="1313" y="1501"/>
                    </a:lnTo>
                    <a:lnTo>
                      <a:pt x="1316" y="1514"/>
                    </a:lnTo>
                    <a:lnTo>
                      <a:pt x="1320" y="1525"/>
                    </a:lnTo>
                    <a:lnTo>
                      <a:pt x="1326" y="1536"/>
                    </a:lnTo>
                    <a:lnTo>
                      <a:pt x="1332" y="1547"/>
                    </a:lnTo>
                    <a:lnTo>
                      <a:pt x="1340" y="1557"/>
                    </a:lnTo>
                    <a:lnTo>
                      <a:pt x="1348" y="1566"/>
                    </a:lnTo>
                    <a:lnTo>
                      <a:pt x="1357" y="1574"/>
                    </a:lnTo>
                    <a:lnTo>
                      <a:pt x="1366" y="1582"/>
                    </a:lnTo>
                    <a:lnTo>
                      <a:pt x="1377" y="1588"/>
                    </a:lnTo>
                    <a:lnTo>
                      <a:pt x="1389" y="1594"/>
                    </a:lnTo>
                    <a:lnTo>
                      <a:pt x="1400" y="1598"/>
                    </a:lnTo>
                    <a:lnTo>
                      <a:pt x="1413" y="1601"/>
                    </a:lnTo>
                    <a:lnTo>
                      <a:pt x="1426" y="1603"/>
                    </a:lnTo>
                    <a:lnTo>
                      <a:pt x="1439" y="1604"/>
                    </a:lnTo>
                    <a:lnTo>
                      <a:pt x="1439" y="1604"/>
                    </a:lnTo>
                    <a:lnTo>
                      <a:pt x="1452" y="1603"/>
                    </a:lnTo>
                    <a:lnTo>
                      <a:pt x="1464" y="1601"/>
                    </a:lnTo>
                    <a:lnTo>
                      <a:pt x="1477" y="1598"/>
                    </a:lnTo>
                    <a:lnTo>
                      <a:pt x="1489" y="1594"/>
                    </a:lnTo>
                    <a:lnTo>
                      <a:pt x="1500" y="1588"/>
                    </a:lnTo>
                    <a:lnTo>
                      <a:pt x="1510" y="1582"/>
                    </a:lnTo>
                    <a:lnTo>
                      <a:pt x="1521" y="1574"/>
                    </a:lnTo>
                    <a:lnTo>
                      <a:pt x="1530" y="1566"/>
                    </a:lnTo>
                    <a:lnTo>
                      <a:pt x="1538" y="1557"/>
                    </a:lnTo>
                    <a:lnTo>
                      <a:pt x="1546" y="1547"/>
                    </a:lnTo>
                    <a:lnTo>
                      <a:pt x="1552" y="1536"/>
                    </a:lnTo>
                    <a:lnTo>
                      <a:pt x="1557" y="1525"/>
                    </a:lnTo>
                    <a:lnTo>
                      <a:pt x="1562" y="1514"/>
                    </a:lnTo>
                    <a:lnTo>
                      <a:pt x="1565" y="1501"/>
                    </a:lnTo>
                    <a:lnTo>
                      <a:pt x="1567" y="1488"/>
                    </a:lnTo>
                    <a:lnTo>
                      <a:pt x="1567" y="1475"/>
                    </a:lnTo>
                    <a:lnTo>
                      <a:pt x="1567" y="513"/>
                    </a:lnTo>
                    <a:lnTo>
                      <a:pt x="1567" y="478"/>
                    </a:lnTo>
                    <a:lnTo>
                      <a:pt x="1567" y="326"/>
                    </a:lnTo>
                    <a:lnTo>
                      <a:pt x="1567" y="326"/>
                    </a:lnTo>
                    <a:lnTo>
                      <a:pt x="1567" y="310"/>
                    </a:lnTo>
                    <a:lnTo>
                      <a:pt x="1566" y="293"/>
                    </a:lnTo>
                    <a:lnTo>
                      <a:pt x="1564" y="277"/>
                    </a:lnTo>
                    <a:lnTo>
                      <a:pt x="1560" y="261"/>
                    </a:lnTo>
                    <a:lnTo>
                      <a:pt x="1557" y="245"/>
                    </a:lnTo>
                    <a:lnTo>
                      <a:pt x="1553" y="229"/>
                    </a:lnTo>
                    <a:lnTo>
                      <a:pt x="1548" y="214"/>
                    </a:lnTo>
                    <a:lnTo>
                      <a:pt x="1541" y="199"/>
                    </a:lnTo>
                    <a:lnTo>
                      <a:pt x="1535" y="184"/>
                    </a:lnTo>
                    <a:lnTo>
                      <a:pt x="1527" y="171"/>
                    </a:lnTo>
                    <a:lnTo>
                      <a:pt x="1520" y="157"/>
                    </a:lnTo>
                    <a:lnTo>
                      <a:pt x="1511" y="144"/>
                    </a:lnTo>
                    <a:lnTo>
                      <a:pt x="1503" y="131"/>
                    </a:lnTo>
                    <a:lnTo>
                      <a:pt x="1492" y="118"/>
                    </a:lnTo>
                    <a:lnTo>
                      <a:pt x="1483" y="107"/>
                    </a:lnTo>
                    <a:lnTo>
                      <a:pt x="1472" y="96"/>
                    </a:lnTo>
                    <a:lnTo>
                      <a:pt x="1460" y="84"/>
                    </a:lnTo>
                    <a:lnTo>
                      <a:pt x="1448" y="75"/>
                    </a:lnTo>
                    <a:lnTo>
                      <a:pt x="1436" y="65"/>
                    </a:lnTo>
                    <a:lnTo>
                      <a:pt x="1423" y="55"/>
                    </a:lnTo>
                    <a:lnTo>
                      <a:pt x="1410" y="47"/>
                    </a:lnTo>
                    <a:lnTo>
                      <a:pt x="1396" y="39"/>
                    </a:lnTo>
                    <a:lnTo>
                      <a:pt x="1382" y="32"/>
                    </a:lnTo>
                    <a:lnTo>
                      <a:pt x="1367" y="25"/>
                    </a:lnTo>
                    <a:lnTo>
                      <a:pt x="1352" y="19"/>
                    </a:lnTo>
                    <a:lnTo>
                      <a:pt x="1338" y="15"/>
                    </a:lnTo>
                    <a:lnTo>
                      <a:pt x="1322" y="9"/>
                    </a:lnTo>
                    <a:lnTo>
                      <a:pt x="1307" y="6"/>
                    </a:lnTo>
                    <a:lnTo>
                      <a:pt x="1290" y="3"/>
                    </a:lnTo>
                    <a:lnTo>
                      <a:pt x="1274" y="1"/>
                    </a:lnTo>
                    <a:lnTo>
                      <a:pt x="1258" y="0"/>
                    </a:lnTo>
                    <a:lnTo>
                      <a:pt x="1240" y="0"/>
                    </a:lnTo>
                    <a:lnTo>
                      <a:pt x="1240" y="0"/>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53" name="Group 51"/>
            <p:cNvGrpSpPr/>
            <p:nvPr/>
          </p:nvGrpSpPr>
          <p:grpSpPr>
            <a:xfrm>
              <a:off x="3390900" y="2917825"/>
              <a:ext cx="433113" cy="1098550"/>
              <a:chOff x="2389188" y="1800226"/>
              <a:chExt cx="828675" cy="2101850"/>
            </a:xfrm>
            <a:solidFill>
              <a:srgbClr val="00559B"/>
            </a:solidFill>
            <a:effectLst>
              <a:innerShdw dist="50800" dir="5400000">
                <a:prstClr val="black">
                  <a:alpha val="20000"/>
                </a:prstClr>
              </a:innerShdw>
            </a:effectLst>
          </p:grpSpPr>
          <p:sp>
            <p:nvSpPr>
              <p:cNvPr id="59" name="Freeform 5"/>
              <p:cNvSpPr/>
              <p:nvPr/>
            </p:nvSpPr>
            <p:spPr bwMode="auto">
              <a:xfrm>
                <a:off x="2640013" y="1800226"/>
                <a:ext cx="327025" cy="325438"/>
              </a:xfrm>
              <a:custGeom>
                <a:avLst/>
                <a:gdLst>
                  <a:gd name="T0" fmla="*/ 325 w 617"/>
                  <a:gd name="T1" fmla="*/ 617 h 617"/>
                  <a:gd name="T2" fmla="*/ 371 w 617"/>
                  <a:gd name="T3" fmla="*/ 611 h 617"/>
                  <a:gd name="T4" fmla="*/ 414 w 617"/>
                  <a:gd name="T5" fmla="*/ 599 h 617"/>
                  <a:gd name="T6" fmla="*/ 456 w 617"/>
                  <a:gd name="T7" fmla="*/ 580 h 617"/>
                  <a:gd name="T8" fmla="*/ 493 w 617"/>
                  <a:gd name="T9" fmla="*/ 556 h 617"/>
                  <a:gd name="T10" fmla="*/ 526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6 w 617"/>
                  <a:gd name="T33" fmla="*/ 91 h 617"/>
                  <a:gd name="T34" fmla="*/ 493 w 617"/>
                  <a:gd name="T35" fmla="*/ 61 h 617"/>
                  <a:gd name="T36" fmla="*/ 456 w 617"/>
                  <a:gd name="T37" fmla="*/ 37 h 617"/>
                  <a:gd name="T38" fmla="*/ 414 w 617"/>
                  <a:gd name="T39" fmla="*/ 18 h 617"/>
                  <a:gd name="T40" fmla="*/ 371 w 617"/>
                  <a:gd name="T41" fmla="*/ 7 h 617"/>
                  <a:gd name="T42" fmla="*/ 325 w 617"/>
                  <a:gd name="T43" fmla="*/ 0 h 617"/>
                  <a:gd name="T44" fmla="*/ 293 w 617"/>
                  <a:gd name="T45" fmla="*/ 0 h 617"/>
                  <a:gd name="T46" fmla="*/ 246 w 617"/>
                  <a:gd name="T47" fmla="*/ 7 h 617"/>
                  <a:gd name="T48" fmla="*/ 202 w 617"/>
                  <a:gd name="T49" fmla="*/ 18 h 617"/>
                  <a:gd name="T50" fmla="*/ 162 w 617"/>
                  <a:gd name="T51" fmla="*/ 37 h 617"/>
                  <a:gd name="T52" fmla="*/ 124 w 617"/>
                  <a:gd name="T53" fmla="*/ 61 h 617"/>
                  <a:gd name="T54" fmla="*/ 90 w 617"/>
                  <a:gd name="T55" fmla="*/ 91 h 617"/>
                  <a:gd name="T56" fmla="*/ 61 w 617"/>
                  <a:gd name="T57" fmla="*/ 124 h 617"/>
                  <a:gd name="T58" fmla="*/ 37 w 617"/>
                  <a:gd name="T59" fmla="*/ 161 h 617"/>
                  <a:gd name="T60" fmla="*/ 19 w 617"/>
                  <a:gd name="T61" fmla="*/ 203 h 617"/>
                  <a:gd name="T62" fmla="*/ 6 w 617"/>
                  <a:gd name="T63" fmla="*/ 247 h 617"/>
                  <a:gd name="T64" fmla="*/ 1 w 617"/>
                  <a:gd name="T65" fmla="*/ 292 h 617"/>
                  <a:gd name="T66" fmla="*/ 1 w 617"/>
                  <a:gd name="T67" fmla="*/ 324 h 617"/>
                  <a:gd name="T68" fmla="*/ 6 w 617"/>
                  <a:gd name="T69" fmla="*/ 370 h 617"/>
                  <a:gd name="T70" fmla="*/ 19 w 617"/>
                  <a:gd name="T71" fmla="*/ 415 h 617"/>
                  <a:gd name="T72" fmla="*/ 37 w 617"/>
                  <a:gd name="T73" fmla="*/ 456 h 617"/>
                  <a:gd name="T74" fmla="*/ 61 w 617"/>
                  <a:gd name="T75" fmla="*/ 493 h 617"/>
                  <a:gd name="T76" fmla="*/ 90 w 617"/>
                  <a:gd name="T77" fmla="*/ 527 h 617"/>
                  <a:gd name="T78" fmla="*/ 124 w 617"/>
                  <a:gd name="T79" fmla="*/ 556 h 617"/>
                  <a:gd name="T80" fmla="*/ 162 w 617"/>
                  <a:gd name="T81" fmla="*/ 580 h 617"/>
                  <a:gd name="T82" fmla="*/ 202 w 617"/>
                  <a:gd name="T83" fmla="*/ 599 h 617"/>
                  <a:gd name="T84" fmla="*/ 246 w 617"/>
                  <a:gd name="T85" fmla="*/ 611 h 617"/>
                  <a:gd name="T86" fmla="*/ 293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9" y="617"/>
                    </a:moveTo>
                    <a:lnTo>
                      <a:pt x="309" y="617"/>
                    </a:lnTo>
                    <a:lnTo>
                      <a:pt x="325" y="617"/>
                    </a:lnTo>
                    <a:lnTo>
                      <a:pt x="340" y="616"/>
                    </a:lnTo>
                    <a:lnTo>
                      <a:pt x="356" y="614"/>
                    </a:lnTo>
                    <a:lnTo>
                      <a:pt x="371" y="611"/>
                    </a:lnTo>
                    <a:lnTo>
                      <a:pt x="386" y="607"/>
                    </a:lnTo>
                    <a:lnTo>
                      <a:pt x="401" y="603"/>
                    </a:lnTo>
                    <a:lnTo>
                      <a:pt x="414" y="599"/>
                    </a:lnTo>
                    <a:lnTo>
                      <a:pt x="428" y="593"/>
                    </a:lnTo>
                    <a:lnTo>
                      <a:pt x="442" y="587"/>
                    </a:lnTo>
                    <a:lnTo>
                      <a:pt x="456" y="580"/>
                    </a:lnTo>
                    <a:lnTo>
                      <a:pt x="469" y="573"/>
                    </a:lnTo>
                    <a:lnTo>
                      <a:pt x="481" y="564"/>
                    </a:lnTo>
                    <a:lnTo>
                      <a:pt x="493" y="556"/>
                    </a:lnTo>
                    <a:lnTo>
                      <a:pt x="505" y="546"/>
                    </a:lnTo>
                    <a:lnTo>
                      <a:pt x="516" y="537"/>
                    </a:lnTo>
                    <a:lnTo>
                      <a:pt x="526" y="527"/>
                    </a:lnTo>
                    <a:lnTo>
                      <a:pt x="537" y="516"/>
                    </a:lnTo>
                    <a:lnTo>
                      <a:pt x="547" y="505"/>
                    </a:lnTo>
                    <a:lnTo>
                      <a:pt x="556" y="493"/>
                    </a:lnTo>
                    <a:lnTo>
                      <a:pt x="565" y="481"/>
                    </a:lnTo>
                    <a:lnTo>
                      <a:pt x="572" y="468"/>
                    </a:lnTo>
                    <a:lnTo>
                      <a:pt x="580" y="456"/>
                    </a:lnTo>
                    <a:lnTo>
                      <a:pt x="587" y="443"/>
                    </a:lnTo>
                    <a:lnTo>
                      <a:pt x="593" y="429"/>
                    </a:lnTo>
                    <a:lnTo>
                      <a:pt x="598" y="415"/>
                    </a:lnTo>
                    <a:lnTo>
                      <a:pt x="603" y="400"/>
                    </a:lnTo>
                    <a:lnTo>
                      <a:pt x="608" y="385"/>
                    </a:lnTo>
                    <a:lnTo>
                      <a:pt x="611" y="370"/>
                    </a:lnTo>
                    <a:lnTo>
                      <a:pt x="614" y="355"/>
                    </a:lnTo>
                    <a:lnTo>
                      <a:pt x="616" y="340"/>
                    </a:lnTo>
                    <a:lnTo>
                      <a:pt x="617" y="324"/>
                    </a:lnTo>
                    <a:lnTo>
                      <a:pt x="617" y="308"/>
                    </a:lnTo>
                    <a:lnTo>
                      <a:pt x="617" y="308"/>
                    </a:lnTo>
                    <a:lnTo>
                      <a:pt x="617" y="292"/>
                    </a:lnTo>
                    <a:lnTo>
                      <a:pt x="616" y="277"/>
                    </a:lnTo>
                    <a:lnTo>
                      <a:pt x="614" y="261"/>
                    </a:lnTo>
                    <a:lnTo>
                      <a:pt x="611" y="247"/>
                    </a:lnTo>
                    <a:lnTo>
                      <a:pt x="608" y="232"/>
                    </a:lnTo>
                    <a:lnTo>
                      <a:pt x="603" y="217"/>
                    </a:lnTo>
                    <a:lnTo>
                      <a:pt x="598" y="203"/>
                    </a:lnTo>
                    <a:lnTo>
                      <a:pt x="593" y="189"/>
                    </a:lnTo>
                    <a:lnTo>
                      <a:pt x="587" y="175"/>
                    </a:lnTo>
                    <a:lnTo>
                      <a:pt x="580" y="161"/>
                    </a:lnTo>
                    <a:lnTo>
                      <a:pt x="572" y="148"/>
                    </a:lnTo>
                    <a:lnTo>
                      <a:pt x="565" y="136"/>
                    </a:lnTo>
                    <a:lnTo>
                      <a:pt x="556" y="124"/>
                    </a:lnTo>
                    <a:lnTo>
                      <a:pt x="547" y="112"/>
                    </a:lnTo>
                    <a:lnTo>
                      <a:pt x="537" y="101"/>
                    </a:lnTo>
                    <a:lnTo>
                      <a:pt x="526" y="91"/>
                    </a:lnTo>
                    <a:lnTo>
                      <a:pt x="516" y="80"/>
                    </a:lnTo>
                    <a:lnTo>
                      <a:pt x="505" y="71"/>
                    </a:lnTo>
                    <a:lnTo>
                      <a:pt x="493" y="61"/>
                    </a:lnTo>
                    <a:lnTo>
                      <a:pt x="481" y="52"/>
                    </a:lnTo>
                    <a:lnTo>
                      <a:pt x="469" y="45"/>
                    </a:lnTo>
                    <a:lnTo>
                      <a:pt x="456" y="37"/>
                    </a:lnTo>
                    <a:lnTo>
                      <a:pt x="442" y="30"/>
                    </a:lnTo>
                    <a:lnTo>
                      <a:pt x="428" y="25"/>
                    </a:lnTo>
                    <a:lnTo>
                      <a:pt x="414" y="18"/>
                    </a:lnTo>
                    <a:lnTo>
                      <a:pt x="401" y="14"/>
                    </a:lnTo>
                    <a:lnTo>
                      <a:pt x="386" y="10"/>
                    </a:lnTo>
                    <a:lnTo>
                      <a:pt x="371" y="7"/>
                    </a:lnTo>
                    <a:lnTo>
                      <a:pt x="356" y="3"/>
                    </a:lnTo>
                    <a:lnTo>
                      <a:pt x="340" y="1"/>
                    </a:lnTo>
                    <a:lnTo>
                      <a:pt x="325" y="0"/>
                    </a:lnTo>
                    <a:lnTo>
                      <a:pt x="309" y="0"/>
                    </a:lnTo>
                    <a:lnTo>
                      <a:pt x="309" y="0"/>
                    </a:lnTo>
                    <a:lnTo>
                      <a:pt x="293" y="0"/>
                    </a:lnTo>
                    <a:lnTo>
                      <a:pt x="277" y="1"/>
                    </a:lnTo>
                    <a:lnTo>
                      <a:pt x="262" y="3"/>
                    </a:lnTo>
                    <a:lnTo>
                      <a:pt x="246" y="7"/>
                    </a:lnTo>
                    <a:lnTo>
                      <a:pt x="231" y="10"/>
                    </a:lnTo>
                    <a:lnTo>
                      <a:pt x="217" y="14"/>
                    </a:lnTo>
                    <a:lnTo>
                      <a:pt x="202" y="18"/>
                    </a:lnTo>
                    <a:lnTo>
                      <a:pt x="188" y="25"/>
                    </a:lnTo>
                    <a:lnTo>
                      <a:pt x="174" y="30"/>
                    </a:lnTo>
                    <a:lnTo>
                      <a:pt x="162" y="37"/>
                    </a:lnTo>
                    <a:lnTo>
                      <a:pt x="149" y="45"/>
                    </a:lnTo>
                    <a:lnTo>
                      <a:pt x="136" y="52"/>
                    </a:lnTo>
                    <a:lnTo>
                      <a:pt x="124" y="61"/>
                    </a:lnTo>
                    <a:lnTo>
                      <a:pt x="113" y="71"/>
                    </a:lnTo>
                    <a:lnTo>
                      <a:pt x="101" y="80"/>
                    </a:lnTo>
                    <a:lnTo>
                      <a:pt x="90" y="91"/>
                    </a:lnTo>
                    <a:lnTo>
                      <a:pt x="81" y="101"/>
                    </a:lnTo>
                    <a:lnTo>
                      <a:pt x="70" y="112"/>
                    </a:lnTo>
                    <a:lnTo>
                      <a:pt x="61" y="124"/>
                    </a:lnTo>
                    <a:lnTo>
                      <a:pt x="53" y="136"/>
                    </a:lnTo>
                    <a:lnTo>
                      <a:pt x="44" y="148"/>
                    </a:lnTo>
                    <a:lnTo>
                      <a:pt x="37" y="161"/>
                    </a:lnTo>
                    <a:lnTo>
                      <a:pt x="30" y="175"/>
                    </a:lnTo>
                    <a:lnTo>
                      <a:pt x="24" y="189"/>
                    </a:lnTo>
                    <a:lnTo>
                      <a:pt x="19" y="203"/>
                    </a:lnTo>
                    <a:lnTo>
                      <a:pt x="13" y="217"/>
                    </a:lnTo>
                    <a:lnTo>
                      <a:pt x="9" y="232"/>
                    </a:lnTo>
                    <a:lnTo>
                      <a:pt x="6" y="247"/>
                    </a:lnTo>
                    <a:lnTo>
                      <a:pt x="4" y="261"/>
                    </a:lnTo>
                    <a:lnTo>
                      <a:pt x="2" y="277"/>
                    </a:lnTo>
                    <a:lnTo>
                      <a:pt x="1" y="292"/>
                    </a:lnTo>
                    <a:lnTo>
                      <a:pt x="0" y="308"/>
                    </a:lnTo>
                    <a:lnTo>
                      <a:pt x="0" y="308"/>
                    </a:lnTo>
                    <a:lnTo>
                      <a:pt x="1" y="324"/>
                    </a:lnTo>
                    <a:lnTo>
                      <a:pt x="2" y="340"/>
                    </a:lnTo>
                    <a:lnTo>
                      <a:pt x="4" y="355"/>
                    </a:lnTo>
                    <a:lnTo>
                      <a:pt x="6" y="370"/>
                    </a:lnTo>
                    <a:lnTo>
                      <a:pt x="9" y="385"/>
                    </a:lnTo>
                    <a:lnTo>
                      <a:pt x="13" y="400"/>
                    </a:lnTo>
                    <a:lnTo>
                      <a:pt x="19" y="415"/>
                    </a:lnTo>
                    <a:lnTo>
                      <a:pt x="24" y="429"/>
                    </a:lnTo>
                    <a:lnTo>
                      <a:pt x="30" y="443"/>
                    </a:lnTo>
                    <a:lnTo>
                      <a:pt x="37" y="456"/>
                    </a:lnTo>
                    <a:lnTo>
                      <a:pt x="44" y="468"/>
                    </a:lnTo>
                    <a:lnTo>
                      <a:pt x="53" y="481"/>
                    </a:lnTo>
                    <a:lnTo>
                      <a:pt x="61" y="493"/>
                    </a:lnTo>
                    <a:lnTo>
                      <a:pt x="70" y="505"/>
                    </a:lnTo>
                    <a:lnTo>
                      <a:pt x="81" y="516"/>
                    </a:lnTo>
                    <a:lnTo>
                      <a:pt x="90" y="527"/>
                    </a:lnTo>
                    <a:lnTo>
                      <a:pt x="101" y="537"/>
                    </a:lnTo>
                    <a:lnTo>
                      <a:pt x="113" y="546"/>
                    </a:lnTo>
                    <a:lnTo>
                      <a:pt x="124" y="556"/>
                    </a:lnTo>
                    <a:lnTo>
                      <a:pt x="136" y="564"/>
                    </a:lnTo>
                    <a:lnTo>
                      <a:pt x="149" y="573"/>
                    </a:lnTo>
                    <a:lnTo>
                      <a:pt x="162" y="580"/>
                    </a:lnTo>
                    <a:lnTo>
                      <a:pt x="174" y="587"/>
                    </a:lnTo>
                    <a:lnTo>
                      <a:pt x="188" y="593"/>
                    </a:lnTo>
                    <a:lnTo>
                      <a:pt x="202" y="599"/>
                    </a:lnTo>
                    <a:lnTo>
                      <a:pt x="217" y="603"/>
                    </a:lnTo>
                    <a:lnTo>
                      <a:pt x="231" y="607"/>
                    </a:lnTo>
                    <a:lnTo>
                      <a:pt x="246" y="611"/>
                    </a:lnTo>
                    <a:lnTo>
                      <a:pt x="262" y="614"/>
                    </a:lnTo>
                    <a:lnTo>
                      <a:pt x="277" y="616"/>
                    </a:lnTo>
                    <a:lnTo>
                      <a:pt x="293" y="617"/>
                    </a:lnTo>
                    <a:lnTo>
                      <a:pt x="309" y="617"/>
                    </a:lnTo>
                    <a:lnTo>
                      <a:pt x="309" y="617"/>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60" name="Freeform 6"/>
              <p:cNvSpPr/>
              <p:nvPr/>
            </p:nvSpPr>
            <p:spPr bwMode="auto">
              <a:xfrm>
                <a:off x="2389188" y="2160588"/>
                <a:ext cx="828675" cy="1741488"/>
              </a:xfrm>
              <a:custGeom>
                <a:avLst/>
                <a:gdLst>
                  <a:gd name="T0" fmla="*/ 310 w 1567"/>
                  <a:gd name="T1" fmla="*/ 0 h 3289"/>
                  <a:gd name="T2" fmla="*/ 245 w 1567"/>
                  <a:gd name="T3" fmla="*/ 9 h 3289"/>
                  <a:gd name="T4" fmla="*/ 185 w 1567"/>
                  <a:gd name="T5" fmla="*/ 32 h 3289"/>
                  <a:gd name="T6" fmla="*/ 131 w 1567"/>
                  <a:gd name="T7" fmla="*/ 65 h 3289"/>
                  <a:gd name="T8" fmla="*/ 85 w 1567"/>
                  <a:gd name="T9" fmla="*/ 107 h 3289"/>
                  <a:gd name="T10" fmla="*/ 47 w 1567"/>
                  <a:gd name="T11" fmla="*/ 157 h 3289"/>
                  <a:gd name="T12" fmla="*/ 20 w 1567"/>
                  <a:gd name="T13" fmla="*/ 214 h 3289"/>
                  <a:gd name="T14" fmla="*/ 4 w 1567"/>
                  <a:gd name="T15" fmla="*/ 277 h 3289"/>
                  <a:gd name="T16" fmla="*/ 0 w 1567"/>
                  <a:gd name="T17" fmla="*/ 478 h 3289"/>
                  <a:gd name="T18" fmla="*/ 1 w 1567"/>
                  <a:gd name="T19" fmla="*/ 1488 h 3289"/>
                  <a:gd name="T20" fmla="*/ 16 w 1567"/>
                  <a:gd name="T21" fmla="*/ 1536 h 3289"/>
                  <a:gd name="T22" fmla="*/ 47 w 1567"/>
                  <a:gd name="T23" fmla="*/ 1574 h 3289"/>
                  <a:gd name="T24" fmla="*/ 90 w 1567"/>
                  <a:gd name="T25" fmla="*/ 1598 h 3289"/>
                  <a:gd name="T26" fmla="*/ 129 w 1567"/>
                  <a:gd name="T27" fmla="*/ 1604 h 3289"/>
                  <a:gd name="T28" fmla="*/ 179 w 1567"/>
                  <a:gd name="T29" fmla="*/ 1594 h 3289"/>
                  <a:gd name="T30" fmla="*/ 220 w 1567"/>
                  <a:gd name="T31" fmla="*/ 1566 h 3289"/>
                  <a:gd name="T32" fmla="*/ 247 w 1567"/>
                  <a:gd name="T33" fmla="*/ 1525 h 3289"/>
                  <a:gd name="T34" fmla="*/ 257 w 1567"/>
                  <a:gd name="T35" fmla="*/ 1475 h 3289"/>
                  <a:gd name="T36" fmla="*/ 370 w 1567"/>
                  <a:gd name="T37" fmla="*/ 1582 h 3289"/>
                  <a:gd name="T38" fmla="*/ 373 w 1567"/>
                  <a:gd name="T39" fmla="*/ 3149 h 3289"/>
                  <a:gd name="T40" fmla="*/ 400 w 1567"/>
                  <a:gd name="T41" fmla="*/ 3212 h 3289"/>
                  <a:gd name="T42" fmla="*/ 447 w 1567"/>
                  <a:gd name="T43" fmla="*/ 3259 h 3289"/>
                  <a:gd name="T44" fmla="*/ 510 w 1567"/>
                  <a:gd name="T45" fmla="*/ 3286 h 3289"/>
                  <a:gd name="T46" fmla="*/ 563 w 1567"/>
                  <a:gd name="T47" fmla="*/ 3288 h 3289"/>
                  <a:gd name="T48" fmla="*/ 628 w 1567"/>
                  <a:gd name="T49" fmla="*/ 3268 h 3289"/>
                  <a:gd name="T50" fmla="*/ 679 w 1567"/>
                  <a:gd name="T51" fmla="*/ 3226 h 3289"/>
                  <a:gd name="T52" fmla="*/ 712 w 1567"/>
                  <a:gd name="T53" fmla="*/ 3166 h 3289"/>
                  <a:gd name="T54" fmla="*/ 720 w 1567"/>
                  <a:gd name="T55" fmla="*/ 1582 h 3289"/>
                  <a:gd name="T56" fmla="*/ 828 w 1567"/>
                  <a:gd name="T57" fmla="*/ 3132 h 3289"/>
                  <a:gd name="T58" fmla="*/ 848 w 1567"/>
                  <a:gd name="T59" fmla="*/ 3197 h 3289"/>
                  <a:gd name="T60" fmla="*/ 891 w 1567"/>
                  <a:gd name="T61" fmla="*/ 3249 h 3289"/>
                  <a:gd name="T62" fmla="*/ 949 w 1567"/>
                  <a:gd name="T63" fmla="*/ 3281 h 3289"/>
                  <a:gd name="T64" fmla="*/ 1001 w 1567"/>
                  <a:gd name="T65" fmla="*/ 3289 h 3289"/>
                  <a:gd name="T66" fmla="*/ 1070 w 1567"/>
                  <a:gd name="T67" fmla="*/ 3275 h 3289"/>
                  <a:gd name="T68" fmla="*/ 1125 w 1567"/>
                  <a:gd name="T69" fmla="*/ 3238 h 3289"/>
                  <a:gd name="T70" fmla="*/ 1163 w 1567"/>
                  <a:gd name="T71" fmla="*/ 3182 h 3289"/>
                  <a:gd name="T72" fmla="*/ 1176 w 1567"/>
                  <a:gd name="T73" fmla="*/ 3114 h 3289"/>
                  <a:gd name="T74" fmla="*/ 1310 w 1567"/>
                  <a:gd name="T75" fmla="*/ 513 h 3289"/>
                  <a:gd name="T76" fmla="*/ 1313 w 1567"/>
                  <a:gd name="T77" fmla="*/ 1501 h 3289"/>
                  <a:gd name="T78" fmla="*/ 1332 w 1567"/>
                  <a:gd name="T79" fmla="*/ 1547 h 3289"/>
                  <a:gd name="T80" fmla="*/ 1366 w 1567"/>
                  <a:gd name="T81" fmla="*/ 1582 h 3289"/>
                  <a:gd name="T82" fmla="*/ 1413 w 1567"/>
                  <a:gd name="T83" fmla="*/ 1601 h 3289"/>
                  <a:gd name="T84" fmla="*/ 1452 w 1567"/>
                  <a:gd name="T85" fmla="*/ 1603 h 3289"/>
                  <a:gd name="T86" fmla="*/ 1500 w 1567"/>
                  <a:gd name="T87" fmla="*/ 1588 h 3289"/>
                  <a:gd name="T88" fmla="*/ 1538 w 1567"/>
                  <a:gd name="T89" fmla="*/ 1557 h 3289"/>
                  <a:gd name="T90" fmla="*/ 1562 w 1567"/>
                  <a:gd name="T91" fmla="*/ 1514 h 3289"/>
                  <a:gd name="T92" fmla="*/ 1567 w 1567"/>
                  <a:gd name="T93" fmla="*/ 513 h 3289"/>
                  <a:gd name="T94" fmla="*/ 1567 w 1567"/>
                  <a:gd name="T95" fmla="*/ 310 h 3289"/>
                  <a:gd name="T96" fmla="*/ 1557 w 1567"/>
                  <a:gd name="T97" fmla="*/ 245 h 3289"/>
                  <a:gd name="T98" fmla="*/ 1535 w 1567"/>
                  <a:gd name="T99" fmla="*/ 184 h 3289"/>
                  <a:gd name="T100" fmla="*/ 1503 w 1567"/>
                  <a:gd name="T101" fmla="*/ 131 h 3289"/>
                  <a:gd name="T102" fmla="*/ 1460 w 1567"/>
                  <a:gd name="T103" fmla="*/ 84 h 3289"/>
                  <a:gd name="T104" fmla="*/ 1410 w 1567"/>
                  <a:gd name="T105" fmla="*/ 47 h 3289"/>
                  <a:gd name="T106" fmla="*/ 1352 w 1567"/>
                  <a:gd name="T107" fmla="*/ 19 h 3289"/>
                  <a:gd name="T108" fmla="*/ 1290 w 1567"/>
                  <a:gd name="T109" fmla="*/ 3 h 3289"/>
                  <a:gd name="T110" fmla="*/ 1240 w 1567"/>
                  <a:gd name="T111" fmla="*/ 0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67" h="3289">
                    <a:moveTo>
                      <a:pt x="1240" y="0"/>
                    </a:moveTo>
                    <a:lnTo>
                      <a:pt x="327" y="0"/>
                    </a:lnTo>
                    <a:lnTo>
                      <a:pt x="327" y="0"/>
                    </a:lnTo>
                    <a:lnTo>
                      <a:pt x="310" y="0"/>
                    </a:lnTo>
                    <a:lnTo>
                      <a:pt x="293" y="1"/>
                    </a:lnTo>
                    <a:lnTo>
                      <a:pt x="277" y="3"/>
                    </a:lnTo>
                    <a:lnTo>
                      <a:pt x="261" y="6"/>
                    </a:lnTo>
                    <a:lnTo>
                      <a:pt x="245" y="9"/>
                    </a:lnTo>
                    <a:lnTo>
                      <a:pt x="229" y="15"/>
                    </a:lnTo>
                    <a:lnTo>
                      <a:pt x="214" y="19"/>
                    </a:lnTo>
                    <a:lnTo>
                      <a:pt x="199" y="25"/>
                    </a:lnTo>
                    <a:lnTo>
                      <a:pt x="185" y="32"/>
                    </a:lnTo>
                    <a:lnTo>
                      <a:pt x="171" y="39"/>
                    </a:lnTo>
                    <a:lnTo>
                      <a:pt x="158" y="47"/>
                    </a:lnTo>
                    <a:lnTo>
                      <a:pt x="144" y="55"/>
                    </a:lnTo>
                    <a:lnTo>
                      <a:pt x="131" y="65"/>
                    </a:lnTo>
                    <a:lnTo>
                      <a:pt x="119" y="75"/>
                    </a:lnTo>
                    <a:lnTo>
                      <a:pt x="106" y="84"/>
                    </a:lnTo>
                    <a:lnTo>
                      <a:pt x="96" y="96"/>
                    </a:lnTo>
                    <a:lnTo>
                      <a:pt x="85" y="107"/>
                    </a:lnTo>
                    <a:lnTo>
                      <a:pt x="74" y="118"/>
                    </a:lnTo>
                    <a:lnTo>
                      <a:pt x="65" y="131"/>
                    </a:lnTo>
                    <a:lnTo>
                      <a:pt x="55" y="144"/>
                    </a:lnTo>
                    <a:lnTo>
                      <a:pt x="47" y="157"/>
                    </a:lnTo>
                    <a:lnTo>
                      <a:pt x="39" y="171"/>
                    </a:lnTo>
                    <a:lnTo>
                      <a:pt x="32" y="184"/>
                    </a:lnTo>
                    <a:lnTo>
                      <a:pt x="25" y="199"/>
                    </a:lnTo>
                    <a:lnTo>
                      <a:pt x="20" y="214"/>
                    </a:lnTo>
                    <a:lnTo>
                      <a:pt x="15" y="229"/>
                    </a:lnTo>
                    <a:lnTo>
                      <a:pt x="10" y="245"/>
                    </a:lnTo>
                    <a:lnTo>
                      <a:pt x="6" y="261"/>
                    </a:lnTo>
                    <a:lnTo>
                      <a:pt x="4" y="277"/>
                    </a:lnTo>
                    <a:lnTo>
                      <a:pt x="2" y="293"/>
                    </a:lnTo>
                    <a:lnTo>
                      <a:pt x="0" y="310"/>
                    </a:lnTo>
                    <a:lnTo>
                      <a:pt x="0" y="326"/>
                    </a:lnTo>
                    <a:lnTo>
                      <a:pt x="0" y="478"/>
                    </a:lnTo>
                    <a:lnTo>
                      <a:pt x="0" y="513"/>
                    </a:lnTo>
                    <a:lnTo>
                      <a:pt x="0" y="1475"/>
                    </a:lnTo>
                    <a:lnTo>
                      <a:pt x="0" y="1475"/>
                    </a:lnTo>
                    <a:lnTo>
                      <a:pt x="1" y="1488"/>
                    </a:lnTo>
                    <a:lnTo>
                      <a:pt x="2" y="1501"/>
                    </a:lnTo>
                    <a:lnTo>
                      <a:pt x="5" y="1514"/>
                    </a:lnTo>
                    <a:lnTo>
                      <a:pt x="9" y="1525"/>
                    </a:lnTo>
                    <a:lnTo>
                      <a:pt x="16" y="1536"/>
                    </a:lnTo>
                    <a:lnTo>
                      <a:pt x="22" y="1547"/>
                    </a:lnTo>
                    <a:lnTo>
                      <a:pt x="30" y="1557"/>
                    </a:lnTo>
                    <a:lnTo>
                      <a:pt x="37" y="1566"/>
                    </a:lnTo>
                    <a:lnTo>
                      <a:pt x="47" y="1574"/>
                    </a:lnTo>
                    <a:lnTo>
                      <a:pt x="56" y="1582"/>
                    </a:lnTo>
                    <a:lnTo>
                      <a:pt x="67" y="1588"/>
                    </a:lnTo>
                    <a:lnTo>
                      <a:pt x="79" y="1594"/>
                    </a:lnTo>
                    <a:lnTo>
                      <a:pt x="90" y="1598"/>
                    </a:lnTo>
                    <a:lnTo>
                      <a:pt x="102" y="1601"/>
                    </a:lnTo>
                    <a:lnTo>
                      <a:pt x="115" y="1603"/>
                    </a:lnTo>
                    <a:lnTo>
                      <a:pt x="129" y="1604"/>
                    </a:lnTo>
                    <a:lnTo>
                      <a:pt x="129" y="1604"/>
                    </a:lnTo>
                    <a:lnTo>
                      <a:pt x="142" y="1603"/>
                    </a:lnTo>
                    <a:lnTo>
                      <a:pt x="155" y="1601"/>
                    </a:lnTo>
                    <a:lnTo>
                      <a:pt x="166" y="1598"/>
                    </a:lnTo>
                    <a:lnTo>
                      <a:pt x="179" y="1594"/>
                    </a:lnTo>
                    <a:lnTo>
                      <a:pt x="190" y="1588"/>
                    </a:lnTo>
                    <a:lnTo>
                      <a:pt x="200" y="1582"/>
                    </a:lnTo>
                    <a:lnTo>
                      <a:pt x="210" y="1574"/>
                    </a:lnTo>
                    <a:lnTo>
                      <a:pt x="220" y="1566"/>
                    </a:lnTo>
                    <a:lnTo>
                      <a:pt x="228" y="1557"/>
                    </a:lnTo>
                    <a:lnTo>
                      <a:pt x="236" y="1547"/>
                    </a:lnTo>
                    <a:lnTo>
                      <a:pt x="242" y="1536"/>
                    </a:lnTo>
                    <a:lnTo>
                      <a:pt x="247" y="1525"/>
                    </a:lnTo>
                    <a:lnTo>
                      <a:pt x="252" y="1514"/>
                    </a:lnTo>
                    <a:lnTo>
                      <a:pt x="255" y="1501"/>
                    </a:lnTo>
                    <a:lnTo>
                      <a:pt x="257" y="1488"/>
                    </a:lnTo>
                    <a:lnTo>
                      <a:pt x="257" y="1475"/>
                    </a:lnTo>
                    <a:lnTo>
                      <a:pt x="257" y="513"/>
                    </a:lnTo>
                    <a:lnTo>
                      <a:pt x="370" y="513"/>
                    </a:lnTo>
                    <a:lnTo>
                      <a:pt x="370" y="1521"/>
                    </a:lnTo>
                    <a:lnTo>
                      <a:pt x="370" y="1582"/>
                    </a:lnTo>
                    <a:lnTo>
                      <a:pt x="370" y="3114"/>
                    </a:lnTo>
                    <a:lnTo>
                      <a:pt x="370" y="3114"/>
                    </a:lnTo>
                    <a:lnTo>
                      <a:pt x="371" y="3132"/>
                    </a:lnTo>
                    <a:lnTo>
                      <a:pt x="373" y="3149"/>
                    </a:lnTo>
                    <a:lnTo>
                      <a:pt x="377" y="3166"/>
                    </a:lnTo>
                    <a:lnTo>
                      <a:pt x="384" y="3182"/>
                    </a:lnTo>
                    <a:lnTo>
                      <a:pt x="391" y="3197"/>
                    </a:lnTo>
                    <a:lnTo>
                      <a:pt x="400" y="3212"/>
                    </a:lnTo>
                    <a:lnTo>
                      <a:pt x="409" y="3226"/>
                    </a:lnTo>
                    <a:lnTo>
                      <a:pt x="421" y="3238"/>
                    </a:lnTo>
                    <a:lnTo>
                      <a:pt x="434" y="3249"/>
                    </a:lnTo>
                    <a:lnTo>
                      <a:pt x="447" y="3259"/>
                    </a:lnTo>
                    <a:lnTo>
                      <a:pt x="462" y="3268"/>
                    </a:lnTo>
                    <a:lnTo>
                      <a:pt x="477" y="3275"/>
                    </a:lnTo>
                    <a:lnTo>
                      <a:pt x="493" y="3281"/>
                    </a:lnTo>
                    <a:lnTo>
                      <a:pt x="510" y="3286"/>
                    </a:lnTo>
                    <a:lnTo>
                      <a:pt x="527" y="3288"/>
                    </a:lnTo>
                    <a:lnTo>
                      <a:pt x="545" y="3289"/>
                    </a:lnTo>
                    <a:lnTo>
                      <a:pt x="545" y="3289"/>
                    </a:lnTo>
                    <a:lnTo>
                      <a:pt x="563" y="3288"/>
                    </a:lnTo>
                    <a:lnTo>
                      <a:pt x="580" y="3286"/>
                    </a:lnTo>
                    <a:lnTo>
                      <a:pt x="597" y="3281"/>
                    </a:lnTo>
                    <a:lnTo>
                      <a:pt x="613" y="3275"/>
                    </a:lnTo>
                    <a:lnTo>
                      <a:pt x="628" y="3268"/>
                    </a:lnTo>
                    <a:lnTo>
                      <a:pt x="643" y="3259"/>
                    </a:lnTo>
                    <a:lnTo>
                      <a:pt x="656" y="3249"/>
                    </a:lnTo>
                    <a:lnTo>
                      <a:pt x="669" y="3238"/>
                    </a:lnTo>
                    <a:lnTo>
                      <a:pt x="679" y="3226"/>
                    </a:lnTo>
                    <a:lnTo>
                      <a:pt x="690" y="3212"/>
                    </a:lnTo>
                    <a:lnTo>
                      <a:pt x="699" y="3197"/>
                    </a:lnTo>
                    <a:lnTo>
                      <a:pt x="706" y="3182"/>
                    </a:lnTo>
                    <a:lnTo>
                      <a:pt x="712" y="3166"/>
                    </a:lnTo>
                    <a:lnTo>
                      <a:pt x="717" y="3149"/>
                    </a:lnTo>
                    <a:lnTo>
                      <a:pt x="719" y="3132"/>
                    </a:lnTo>
                    <a:lnTo>
                      <a:pt x="720" y="3114"/>
                    </a:lnTo>
                    <a:lnTo>
                      <a:pt x="720" y="1582"/>
                    </a:lnTo>
                    <a:lnTo>
                      <a:pt x="827" y="1582"/>
                    </a:lnTo>
                    <a:lnTo>
                      <a:pt x="827" y="3114"/>
                    </a:lnTo>
                    <a:lnTo>
                      <a:pt x="827" y="3114"/>
                    </a:lnTo>
                    <a:lnTo>
                      <a:pt x="828" y="3132"/>
                    </a:lnTo>
                    <a:lnTo>
                      <a:pt x="831" y="3149"/>
                    </a:lnTo>
                    <a:lnTo>
                      <a:pt x="835" y="3166"/>
                    </a:lnTo>
                    <a:lnTo>
                      <a:pt x="840" y="3182"/>
                    </a:lnTo>
                    <a:lnTo>
                      <a:pt x="848" y="3197"/>
                    </a:lnTo>
                    <a:lnTo>
                      <a:pt x="856" y="3212"/>
                    </a:lnTo>
                    <a:lnTo>
                      <a:pt x="867" y="3226"/>
                    </a:lnTo>
                    <a:lnTo>
                      <a:pt x="878" y="3238"/>
                    </a:lnTo>
                    <a:lnTo>
                      <a:pt x="891" y="3249"/>
                    </a:lnTo>
                    <a:lnTo>
                      <a:pt x="903" y="3259"/>
                    </a:lnTo>
                    <a:lnTo>
                      <a:pt x="918" y="3268"/>
                    </a:lnTo>
                    <a:lnTo>
                      <a:pt x="933" y="3275"/>
                    </a:lnTo>
                    <a:lnTo>
                      <a:pt x="949" y="3281"/>
                    </a:lnTo>
                    <a:lnTo>
                      <a:pt x="966" y="3286"/>
                    </a:lnTo>
                    <a:lnTo>
                      <a:pt x="983" y="3288"/>
                    </a:lnTo>
                    <a:lnTo>
                      <a:pt x="1001" y="3289"/>
                    </a:lnTo>
                    <a:lnTo>
                      <a:pt x="1001" y="3289"/>
                    </a:lnTo>
                    <a:lnTo>
                      <a:pt x="1020" y="3288"/>
                    </a:lnTo>
                    <a:lnTo>
                      <a:pt x="1037" y="3286"/>
                    </a:lnTo>
                    <a:lnTo>
                      <a:pt x="1054" y="3281"/>
                    </a:lnTo>
                    <a:lnTo>
                      <a:pt x="1070" y="3275"/>
                    </a:lnTo>
                    <a:lnTo>
                      <a:pt x="1085" y="3268"/>
                    </a:lnTo>
                    <a:lnTo>
                      <a:pt x="1100" y="3259"/>
                    </a:lnTo>
                    <a:lnTo>
                      <a:pt x="1112" y="3249"/>
                    </a:lnTo>
                    <a:lnTo>
                      <a:pt x="1125" y="3238"/>
                    </a:lnTo>
                    <a:lnTo>
                      <a:pt x="1137" y="3226"/>
                    </a:lnTo>
                    <a:lnTo>
                      <a:pt x="1147" y="3212"/>
                    </a:lnTo>
                    <a:lnTo>
                      <a:pt x="1155" y="3197"/>
                    </a:lnTo>
                    <a:lnTo>
                      <a:pt x="1163" y="3182"/>
                    </a:lnTo>
                    <a:lnTo>
                      <a:pt x="1169" y="3166"/>
                    </a:lnTo>
                    <a:lnTo>
                      <a:pt x="1173" y="3149"/>
                    </a:lnTo>
                    <a:lnTo>
                      <a:pt x="1175" y="3132"/>
                    </a:lnTo>
                    <a:lnTo>
                      <a:pt x="1176" y="3114"/>
                    </a:lnTo>
                    <a:lnTo>
                      <a:pt x="1176" y="1582"/>
                    </a:lnTo>
                    <a:lnTo>
                      <a:pt x="1176" y="1521"/>
                    </a:lnTo>
                    <a:lnTo>
                      <a:pt x="1176" y="513"/>
                    </a:lnTo>
                    <a:lnTo>
                      <a:pt x="1310" y="513"/>
                    </a:lnTo>
                    <a:lnTo>
                      <a:pt x="1310" y="1475"/>
                    </a:lnTo>
                    <a:lnTo>
                      <a:pt x="1310" y="1475"/>
                    </a:lnTo>
                    <a:lnTo>
                      <a:pt x="1311" y="1488"/>
                    </a:lnTo>
                    <a:lnTo>
                      <a:pt x="1313" y="1501"/>
                    </a:lnTo>
                    <a:lnTo>
                      <a:pt x="1316" y="1514"/>
                    </a:lnTo>
                    <a:lnTo>
                      <a:pt x="1320" y="1525"/>
                    </a:lnTo>
                    <a:lnTo>
                      <a:pt x="1326" y="1536"/>
                    </a:lnTo>
                    <a:lnTo>
                      <a:pt x="1332" y="1547"/>
                    </a:lnTo>
                    <a:lnTo>
                      <a:pt x="1340" y="1557"/>
                    </a:lnTo>
                    <a:lnTo>
                      <a:pt x="1348" y="1566"/>
                    </a:lnTo>
                    <a:lnTo>
                      <a:pt x="1357" y="1574"/>
                    </a:lnTo>
                    <a:lnTo>
                      <a:pt x="1366" y="1582"/>
                    </a:lnTo>
                    <a:lnTo>
                      <a:pt x="1377" y="1588"/>
                    </a:lnTo>
                    <a:lnTo>
                      <a:pt x="1389" y="1594"/>
                    </a:lnTo>
                    <a:lnTo>
                      <a:pt x="1400" y="1598"/>
                    </a:lnTo>
                    <a:lnTo>
                      <a:pt x="1413" y="1601"/>
                    </a:lnTo>
                    <a:lnTo>
                      <a:pt x="1426" y="1603"/>
                    </a:lnTo>
                    <a:lnTo>
                      <a:pt x="1439" y="1604"/>
                    </a:lnTo>
                    <a:lnTo>
                      <a:pt x="1439" y="1604"/>
                    </a:lnTo>
                    <a:lnTo>
                      <a:pt x="1452" y="1603"/>
                    </a:lnTo>
                    <a:lnTo>
                      <a:pt x="1464" y="1601"/>
                    </a:lnTo>
                    <a:lnTo>
                      <a:pt x="1477" y="1598"/>
                    </a:lnTo>
                    <a:lnTo>
                      <a:pt x="1489" y="1594"/>
                    </a:lnTo>
                    <a:lnTo>
                      <a:pt x="1500" y="1588"/>
                    </a:lnTo>
                    <a:lnTo>
                      <a:pt x="1510" y="1582"/>
                    </a:lnTo>
                    <a:lnTo>
                      <a:pt x="1521" y="1574"/>
                    </a:lnTo>
                    <a:lnTo>
                      <a:pt x="1530" y="1566"/>
                    </a:lnTo>
                    <a:lnTo>
                      <a:pt x="1538" y="1557"/>
                    </a:lnTo>
                    <a:lnTo>
                      <a:pt x="1546" y="1547"/>
                    </a:lnTo>
                    <a:lnTo>
                      <a:pt x="1552" y="1536"/>
                    </a:lnTo>
                    <a:lnTo>
                      <a:pt x="1557" y="1525"/>
                    </a:lnTo>
                    <a:lnTo>
                      <a:pt x="1562" y="1514"/>
                    </a:lnTo>
                    <a:lnTo>
                      <a:pt x="1565" y="1501"/>
                    </a:lnTo>
                    <a:lnTo>
                      <a:pt x="1567" y="1488"/>
                    </a:lnTo>
                    <a:lnTo>
                      <a:pt x="1567" y="1475"/>
                    </a:lnTo>
                    <a:lnTo>
                      <a:pt x="1567" y="513"/>
                    </a:lnTo>
                    <a:lnTo>
                      <a:pt x="1567" y="478"/>
                    </a:lnTo>
                    <a:lnTo>
                      <a:pt x="1567" y="326"/>
                    </a:lnTo>
                    <a:lnTo>
                      <a:pt x="1567" y="326"/>
                    </a:lnTo>
                    <a:lnTo>
                      <a:pt x="1567" y="310"/>
                    </a:lnTo>
                    <a:lnTo>
                      <a:pt x="1566" y="293"/>
                    </a:lnTo>
                    <a:lnTo>
                      <a:pt x="1564" y="277"/>
                    </a:lnTo>
                    <a:lnTo>
                      <a:pt x="1560" y="261"/>
                    </a:lnTo>
                    <a:lnTo>
                      <a:pt x="1557" y="245"/>
                    </a:lnTo>
                    <a:lnTo>
                      <a:pt x="1553" y="229"/>
                    </a:lnTo>
                    <a:lnTo>
                      <a:pt x="1548" y="214"/>
                    </a:lnTo>
                    <a:lnTo>
                      <a:pt x="1541" y="199"/>
                    </a:lnTo>
                    <a:lnTo>
                      <a:pt x="1535" y="184"/>
                    </a:lnTo>
                    <a:lnTo>
                      <a:pt x="1527" y="171"/>
                    </a:lnTo>
                    <a:lnTo>
                      <a:pt x="1520" y="157"/>
                    </a:lnTo>
                    <a:lnTo>
                      <a:pt x="1511" y="144"/>
                    </a:lnTo>
                    <a:lnTo>
                      <a:pt x="1503" y="131"/>
                    </a:lnTo>
                    <a:lnTo>
                      <a:pt x="1492" y="118"/>
                    </a:lnTo>
                    <a:lnTo>
                      <a:pt x="1483" y="107"/>
                    </a:lnTo>
                    <a:lnTo>
                      <a:pt x="1472" y="96"/>
                    </a:lnTo>
                    <a:lnTo>
                      <a:pt x="1460" y="84"/>
                    </a:lnTo>
                    <a:lnTo>
                      <a:pt x="1448" y="75"/>
                    </a:lnTo>
                    <a:lnTo>
                      <a:pt x="1436" y="65"/>
                    </a:lnTo>
                    <a:lnTo>
                      <a:pt x="1423" y="55"/>
                    </a:lnTo>
                    <a:lnTo>
                      <a:pt x="1410" y="47"/>
                    </a:lnTo>
                    <a:lnTo>
                      <a:pt x="1396" y="39"/>
                    </a:lnTo>
                    <a:lnTo>
                      <a:pt x="1382" y="32"/>
                    </a:lnTo>
                    <a:lnTo>
                      <a:pt x="1367" y="25"/>
                    </a:lnTo>
                    <a:lnTo>
                      <a:pt x="1352" y="19"/>
                    </a:lnTo>
                    <a:lnTo>
                      <a:pt x="1338" y="15"/>
                    </a:lnTo>
                    <a:lnTo>
                      <a:pt x="1322" y="9"/>
                    </a:lnTo>
                    <a:lnTo>
                      <a:pt x="1307" y="6"/>
                    </a:lnTo>
                    <a:lnTo>
                      <a:pt x="1290" y="3"/>
                    </a:lnTo>
                    <a:lnTo>
                      <a:pt x="1274" y="1"/>
                    </a:lnTo>
                    <a:lnTo>
                      <a:pt x="1258" y="0"/>
                    </a:lnTo>
                    <a:lnTo>
                      <a:pt x="1240" y="0"/>
                    </a:lnTo>
                    <a:lnTo>
                      <a:pt x="1240" y="0"/>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sp>
          <p:nvSpPr>
            <p:cNvPr id="54" name="Freeform 29"/>
            <p:cNvSpPr>
              <a:spLocks noEditPoints="1"/>
            </p:cNvSpPr>
            <p:nvPr/>
          </p:nvSpPr>
          <p:spPr bwMode="auto">
            <a:xfrm>
              <a:off x="2209800" y="1818565"/>
              <a:ext cx="533400" cy="466725"/>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82B864"/>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55" name="Freeform 29"/>
            <p:cNvSpPr>
              <a:spLocks noEditPoints="1"/>
            </p:cNvSpPr>
            <p:nvPr/>
          </p:nvSpPr>
          <p:spPr bwMode="auto">
            <a:xfrm>
              <a:off x="2871788" y="2237467"/>
              <a:ext cx="366712" cy="320873"/>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56" name="Freeform 29"/>
            <p:cNvSpPr>
              <a:spLocks noEditPoints="1"/>
            </p:cNvSpPr>
            <p:nvPr/>
          </p:nvSpPr>
          <p:spPr bwMode="auto">
            <a:xfrm>
              <a:off x="3505201" y="2571750"/>
              <a:ext cx="333017" cy="291390"/>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82B864"/>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57" name="Freeform 29"/>
            <p:cNvSpPr>
              <a:spLocks noEditPoints="1"/>
            </p:cNvSpPr>
            <p:nvPr/>
          </p:nvSpPr>
          <p:spPr bwMode="auto">
            <a:xfrm flipH="1">
              <a:off x="1371600" y="2266950"/>
              <a:ext cx="366712" cy="320873"/>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58" name="Freeform 29"/>
            <p:cNvSpPr>
              <a:spLocks noEditPoints="1"/>
            </p:cNvSpPr>
            <p:nvPr/>
          </p:nvSpPr>
          <p:spPr bwMode="auto">
            <a:xfrm flipH="1">
              <a:off x="838200" y="2533650"/>
              <a:ext cx="333016" cy="291390"/>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82B864"/>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grpSp>
      <p:grpSp>
        <p:nvGrpSpPr>
          <p:cNvPr id="69" name="Group 117"/>
          <p:cNvGrpSpPr/>
          <p:nvPr/>
        </p:nvGrpSpPr>
        <p:grpSpPr>
          <a:xfrm>
            <a:off x="6927697" y="1988840"/>
            <a:ext cx="3599531" cy="2640000"/>
            <a:chOff x="5156200" y="1818565"/>
            <a:chExt cx="3013262" cy="2197809"/>
          </a:xfrm>
          <a:solidFill>
            <a:srgbClr val="1E8282"/>
          </a:solidFill>
        </p:grpSpPr>
        <p:grpSp>
          <p:nvGrpSpPr>
            <p:cNvPr id="70" name="Group 118"/>
            <p:cNvGrpSpPr/>
            <p:nvPr/>
          </p:nvGrpSpPr>
          <p:grpSpPr>
            <a:xfrm>
              <a:off x="6286499" y="2381250"/>
              <a:ext cx="742228" cy="1635125"/>
              <a:chOff x="1182688" y="1800226"/>
              <a:chExt cx="954088" cy="2101850"/>
            </a:xfrm>
            <a:grpFill/>
            <a:effectLst/>
          </p:grpSpPr>
          <p:sp>
            <p:nvSpPr>
              <p:cNvPr id="88" name="Freeform 136"/>
              <p:cNvSpPr/>
              <p:nvPr/>
            </p:nvSpPr>
            <p:spPr bwMode="auto">
              <a:xfrm>
                <a:off x="1503363" y="1800226"/>
                <a:ext cx="325438" cy="325438"/>
              </a:xfrm>
              <a:custGeom>
                <a:avLst/>
                <a:gdLst>
                  <a:gd name="T0" fmla="*/ 324 w 617"/>
                  <a:gd name="T1" fmla="*/ 617 h 617"/>
                  <a:gd name="T2" fmla="*/ 370 w 617"/>
                  <a:gd name="T3" fmla="*/ 611 h 617"/>
                  <a:gd name="T4" fmla="*/ 415 w 617"/>
                  <a:gd name="T5" fmla="*/ 599 h 617"/>
                  <a:gd name="T6" fmla="*/ 456 w 617"/>
                  <a:gd name="T7" fmla="*/ 580 h 617"/>
                  <a:gd name="T8" fmla="*/ 493 w 617"/>
                  <a:gd name="T9" fmla="*/ 556 h 617"/>
                  <a:gd name="T10" fmla="*/ 527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7 w 617"/>
                  <a:gd name="T33" fmla="*/ 91 h 617"/>
                  <a:gd name="T34" fmla="*/ 493 w 617"/>
                  <a:gd name="T35" fmla="*/ 61 h 617"/>
                  <a:gd name="T36" fmla="*/ 456 w 617"/>
                  <a:gd name="T37" fmla="*/ 37 h 617"/>
                  <a:gd name="T38" fmla="*/ 415 w 617"/>
                  <a:gd name="T39" fmla="*/ 18 h 617"/>
                  <a:gd name="T40" fmla="*/ 370 w 617"/>
                  <a:gd name="T41" fmla="*/ 7 h 617"/>
                  <a:gd name="T42" fmla="*/ 324 w 617"/>
                  <a:gd name="T43" fmla="*/ 0 h 617"/>
                  <a:gd name="T44" fmla="*/ 292 w 617"/>
                  <a:gd name="T45" fmla="*/ 0 h 617"/>
                  <a:gd name="T46" fmla="*/ 246 w 617"/>
                  <a:gd name="T47" fmla="*/ 7 h 617"/>
                  <a:gd name="T48" fmla="*/ 203 w 617"/>
                  <a:gd name="T49" fmla="*/ 18 h 617"/>
                  <a:gd name="T50" fmla="*/ 161 w 617"/>
                  <a:gd name="T51" fmla="*/ 37 h 617"/>
                  <a:gd name="T52" fmla="*/ 124 w 617"/>
                  <a:gd name="T53" fmla="*/ 61 h 617"/>
                  <a:gd name="T54" fmla="*/ 91 w 617"/>
                  <a:gd name="T55" fmla="*/ 91 h 617"/>
                  <a:gd name="T56" fmla="*/ 61 w 617"/>
                  <a:gd name="T57" fmla="*/ 124 h 617"/>
                  <a:gd name="T58" fmla="*/ 37 w 617"/>
                  <a:gd name="T59" fmla="*/ 161 h 617"/>
                  <a:gd name="T60" fmla="*/ 18 w 617"/>
                  <a:gd name="T61" fmla="*/ 203 h 617"/>
                  <a:gd name="T62" fmla="*/ 6 w 617"/>
                  <a:gd name="T63" fmla="*/ 247 h 617"/>
                  <a:gd name="T64" fmla="*/ 0 w 617"/>
                  <a:gd name="T65" fmla="*/ 292 h 617"/>
                  <a:gd name="T66" fmla="*/ 0 w 617"/>
                  <a:gd name="T67" fmla="*/ 324 h 617"/>
                  <a:gd name="T68" fmla="*/ 6 w 617"/>
                  <a:gd name="T69" fmla="*/ 370 h 617"/>
                  <a:gd name="T70" fmla="*/ 18 w 617"/>
                  <a:gd name="T71" fmla="*/ 415 h 617"/>
                  <a:gd name="T72" fmla="*/ 37 w 617"/>
                  <a:gd name="T73" fmla="*/ 456 h 617"/>
                  <a:gd name="T74" fmla="*/ 61 w 617"/>
                  <a:gd name="T75" fmla="*/ 493 h 617"/>
                  <a:gd name="T76" fmla="*/ 91 w 617"/>
                  <a:gd name="T77" fmla="*/ 527 h 617"/>
                  <a:gd name="T78" fmla="*/ 124 w 617"/>
                  <a:gd name="T79" fmla="*/ 556 h 617"/>
                  <a:gd name="T80" fmla="*/ 161 w 617"/>
                  <a:gd name="T81" fmla="*/ 580 h 617"/>
                  <a:gd name="T82" fmla="*/ 203 w 617"/>
                  <a:gd name="T83" fmla="*/ 599 h 617"/>
                  <a:gd name="T84" fmla="*/ 246 w 617"/>
                  <a:gd name="T85" fmla="*/ 611 h 617"/>
                  <a:gd name="T86" fmla="*/ 292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8" y="617"/>
                    </a:moveTo>
                    <a:lnTo>
                      <a:pt x="308" y="617"/>
                    </a:lnTo>
                    <a:lnTo>
                      <a:pt x="324" y="617"/>
                    </a:lnTo>
                    <a:lnTo>
                      <a:pt x="340" y="616"/>
                    </a:lnTo>
                    <a:lnTo>
                      <a:pt x="355" y="614"/>
                    </a:lnTo>
                    <a:lnTo>
                      <a:pt x="370" y="611"/>
                    </a:lnTo>
                    <a:lnTo>
                      <a:pt x="385" y="607"/>
                    </a:lnTo>
                    <a:lnTo>
                      <a:pt x="400" y="603"/>
                    </a:lnTo>
                    <a:lnTo>
                      <a:pt x="415" y="599"/>
                    </a:lnTo>
                    <a:lnTo>
                      <a:pt x="429" y="593"/>
                    </a:lnTo>
                    <a:lnTo>
                      <a:pt x="443" y="587"/>
                    </a:lnTo>
                    <a:lnTo>
                      <a:pt x="456" y="580"/>
                    </a:lnTo>
                    <a:lnTo>
                      <a:pt x="468" y="573"/>
                    </a:lnTo>
                    <a:lnTo>
                      <a:pt x="481" y="564"/>
                    </a:lnTo>
                    <a:lnTo>
                      <a:pt x="493" y="556"/>
                    </a:lnTo>
                    <a:lnTo>
                      <a:pt x="505" y="546"/>
                    </a:lnTo>
                    <a:lnTo>
                      <a:pt x="516" y="537"/>
                    </a:lnTo>
                    <a:lnTo>
                      <a:pt x="527" y="527"/>
                    </a:lnTo>
                    <a:lnTo>
                      <a:pt x="537" y="516"/>
                    </a:lnTo>
                    <a:lnTo>
                      <a:pt x="546" y="505"/>
                    </a:lnTo>
                    <a:lnTo>
                      <a:pt x="556" y="493"/>
                    </a:lnTo>
                    <a:lnTo>
                      <a:pt x="564" y="481"/>
                    </a:lnTo>
                    <a:lnTo>
                      <a:pt x="573" y="468"/>
                    </a:lnTo>
                    <a:lnTo>
                      <a:pt x="580" y="456"/>
                    </a:lnTo>
                    <a:lnTo>
                      <a:pt x="587" y="443"/>
                    </a:lnTo>
                    <a:lnTo>
                      <a:pt x="593" y="429"/>
                    </a:lnTo>
                    <a:lnTo>
                      <a:pt x="598" y="415"/>
                    </a:lnTo>
                    <a:lnTo>
                      <a:pt x="603" y="400"/>
                    </a:lnTo>
                    <a:lnTo>
                      <a:pt x="607" y="385"/>
                    </a:lnTo>
                    <a:lnTo>
                      <a:pt x="611" y="370"/>
                    </a:lnTo>
                    <a:lnTo>
                      <a:pt x="613" y="355"/>
                    </a:lnTo>
                    <a:lnTo>
                      <a:pt x="616" y="340"/>
                    </a:lnTo>
                    <a:lnTo>
                      <a:pt x="617" y="324"/>
                    </a:lnTo>
                    <a:lnTo>
                      <a:pt x="617" y="308"/>
                    </a:lnTo>
                    <a:lnTo>
                      <a:pt x="617" y="308"/>
                    </a:lnTo>
                    <a:lnTo>
                      <a:pt x="617" y="292"/>
                    </a:lnTo>
                    <a:lnTo>
                      <a:pt x="616" y="277"/>
                    </a:lnTo>
                    <a:lnTo>
                      <a:pt x="613" y="261"/>
                    </a:lnTo>
                    <a:lnTo>
                      <a:pt x="611" y="247"/>
                    </a:lnTo>
                    <a:lnTo>
                      <a:pt x="607" y="232"/>
                    </a:lnTo>
                    <a:lnTo>
                      <a:pt x="603" y="217"/>
                    </a:lnTo>
                    <a:lnTo>
                      <a:pt x="598" y="203"/>
                    </a:lnTo>
                    <a:lnTo>
                      <a:pt x="593" y="189"/>
                    </a:lnTo>
                    <a:lnTo>
                      <a:pt x="587" y="175"/>
                    </a:lnTo>
                    <a:lnTo>
                      <a:pt x="580" y="161"/>
                    </a:lnTo>
                    <a:lnTo>
                      <a:pt x="573" y="148"/>
                    </a:lnTo>
                    <a:lnTo>
                      <a:pt x="564" y="136"/>
                    </a:lnTo>
                    <a:lnTo>
                      <a:pt x="556" y="124"/>
                    </a:lnTo>
                    <a:lnTo>
                      <a:pt x="546" y="112"/>
                    </a:lnTo>
                    <a:lnTo>
                      <a:pt x="537" y="101"/>
                    </a:lnTo>
                    <a:lnTo>
                      <a:pt x="527" y="91"/>
                    </a:lnTo>
                    <a:lnTo>
                      <a:pt x="516" y="80"/>
                    </a:lnTo>
                    <a:lnTo>
                      <a:pt x="505" y="71"/>
                    </a:lnTo>
                    <a:lnTo>
                      <a:pt x="493" y="61"/>
                    </a:lnTo>
                    <a:lnTo>
                      <a:pt x="481" y="52"/>
                    </a:lnTo>
                    <a:lnTo>
                      <a:pt x="468" y="45"/>
                    </a:lnTo>
                    <a:lnTo>
                      <a:pt x="456" y="37"/>
                    </a:lnTo>
                    <a:lnTo>
                      <a:pt x="443" y="30"/>
                    </a:lnTo>
                    <a:lnTo>
                      <a:pt x="429" y="25"/>
                    </a:lnTo>
                    <a:lnTo>
                      <a:pt x="415" y="18"/>
                    </a:lnTo>
                    <a:lnTo>
                      <a:pt x="400" y="14"/>
                    </a:lnTo>
                    <a:lnTo>
                      <a:pt x="385" y="10"/>
                    </a:lnTo>
                    <a:lnTo>
                      <a:pt x="370" y="7"/>
                    </a:lnTo>
                    <a:lnTo>
                      <a:pt x="355" y="3"/>
                    </a:lnTo>
                    <a:lnTo>
                      <a:pt x="340" y="1"/>
                    </a:lnTo>
                    <a:lnTo>
                      <a:pt x="324" y="0"/>
                    </a:lnTo>
                    <a:lnTo>
                      <a:pt x="308" y="0"/>
                    </a:lnTo>
                    <a:lnTo>
                      <a:pt x="308" y="0"/>
                    </a:lnTo>
                    <a:lnTo>
                      <a:pt x="292" y="0"/>
                    </a:lnTo>
                    <a:lnTo>
                      <a:pt x="277" y="1"/>
                    </a:lnTo>
                    <a:lnTo>
                      <a:pt x="261" y="3"/>
                    </a:lnTo>
                    <a:lnTo>
                      <a:pt x="246" y="7"/>
                    </a:lnTo>
                    <a:lnTo>
                      <a:pt x="232" y="10"/>
                    </a:lnTo>
                    <a:lnTo>
                      <a:pt x="217" y="14"/>
                    </a:lnTo>
                    <a:lnTo>
                      <a:pt x="203" y="18"/>
                    </a:lnTo>
                    <a:lnTo>
                      <a:pt x="188" y="25"/>
                    </a:lnTo>
                    <a:lnTo>
                      <a:pt x="175" y="30"/>
                    </a:lnTo>
                    <a:lnTo>
                      <a:pt x="161" y="37"/>
                    </a:lnTo>
                    <a:lnTo>
                      <a:pt x="148" y="45"/>
                    </a:lnTo>
                    <a:lnTo>
                      <a:pt x="136" y="52"/>
                    </a:lnTo>
                    <a:lnTo>
                      <a:pt x="124" y="61"/>
                    </a:lnTo>
                    <a:lnTo>
                      <a:pt x="112" y="71"/>
                    </a:lnTo>
                    <a:lnTo>
                      <a:pt x="101" y="80"/>
                    </a:lnTo>
                    <a:lnTo>
                      <a:pt x="91" y="91"/>
                    </a:lnTo>
                    <a:lnTo>
                      <a:pt x="80" y="101"/>
                    </a:lnTo>
                    <a:lnTo>
                      <a:pt x="70" y="112"/>
                    </a:lnTo>
                    <a:lnTo>
                      <a:pt x="61" y="124"/>
                    </a:lnTo>
                    <a:lnTo>
                      <a:pt x="52" y="136"/>
                    </a:lnTo>
                    <a:lnTo>
                      <a:pt x="45" y="148"/>
                    </a:lnTo>
                    <a:lnTo>
                      <a:pt x="37" y="161"/>
                    </a:lnTo>
                    <a:lnTo>
                      <a:pt x="30" y="175"/>
                    </a:lnTo>
                    <a:lnTo>
                      <a:pt x="25" y="189"/>
                    </a:lnTo>
                    <a:lnTo>
                      <a:pt x="18" y="203"/>
                    </a:lnTo>
                    <a:lnTo>
                      <a:pt x="14" y="217"/>
                    </a:lnTo>
                    <a:lnTo>
                      <a:pt x="10" y="232"/>
                    </a:lnTo>
                    <a:lnTo>
                      <a:pt x="6" y="247"/>
                    </a:lnTo>
                    <a:lnTo>
                      <a:pt x="3" y="261"/>
                    </a:lnTo>
                    <a:lnTo>
                      <a:pt x="1" y="277"/>
                    </a:lnTo>
                    <a:lnTo>
                      <a:pt x="0" y="292"/>
                    </a:lnTo>
                    <a:lnTo>
                      <a:pt x="0" y="308"/>
                    </a:lnTo>
                    <a:lnTo>
                      <a:pt x="0" y="308"/>
                    </a:lnTo>
                    <a:lnTo>
                      <a:pt x="0" y="324"/>
                    </a:lnTo>
                    <a:lnTo>
                      <a:pt x="1" y="340"/>
                    </a:lnTo>
                    <a:lnTo>
                      <a:pt x="3" y="355"/>
                    </a:lnTo>
                    <a:lnTo>
                      <a:pt x="6" y="370"/>
                    </a:lnTo>
                    <a:lnTo>
                      <a:pt x="10" y="385"/>
                    </a:lnTo>
                    <a:lnTo>
                      <a:pt x="14" y="400"/>
                    </a:lnTo>
                    <a:lnTo>
                      <a:pt x="18" y="415"/>
                    </a:lnTo>
                    <a:lnTo>
                      <a:pt x="25" y="429"/>
                    </a:lnTo>
                    <a:lnTo>
                      <a:pt x="30" y="443"/>
                    </a:lnTo>
                    <a:lnTo>
                      <a:pt x="37" y="456"/>
                    </a:lnTo>
                    <a:lnTo>
                      <a:pt x="45" y="468"/>
                    </a:lnTo>
                    <a:lnTo>
                      <a:pt x="52" y="481"/>
                    </a:lnTo>
                    <a:lnTo>
                      <a:pt x="61" y="493"/>
                    </a:lnTo>
                    <a:lnTo>
                      <a:pt x="70" y="505"/>
                    </a:lnTo>
                    <a:lnTo>
                      <a:pt x="80" y="516"/>
                    </a:lnTo>
                    <a:lnTo>
                      <a:pt x="91" y="527"/>
                    </a:lnTo>
                    <a:lnTo>
                      <a:pt x="101" y="537"/>
                    </a:lnTo>
                    <a:lnTo>
                      <a:pt x="112" y="546"/>
                    </a:lnTo>
                    <a:lnTo>
                      <a:pt x="124" y="556"/>
                    </a:lnTo>
                    <a:lnTo>
                      <a:pt x="136" y="564"/>
                    </a:lnTo>
                    <a:lnTo>
                      <a:pt x="148" y="573"/>
                    </a:lnTo>
                    <a:lnTo>
                      <a:pt x="161" y="580"/>
                    </a:lnTo>
                    <a:lnTo>
                      <a:pt x="175" y="587"/>
                    </a:lnTo>
                    <a:lnTo>
                      <a:pt x="188" y="593"/>
                    </a:lnTo>
                    <a:lnTo>
                      <a:pt x="203" y="599"/>
                    </a:lnTo>
                    <a:lnTo>
                      <a:pt x="217" y="603"/>
                    </a:lnTo>
                    <a:lnTo>
                      <a:pt x="232" y="607"/>
                    </a:lnTo>
                    <a:lnTo>
                      <a:pt x="246" y="611"/>
                    </a:lnTo>
                    <a:lnTo>
                      <a:pt x="261" y="614"/>
                    </a:lnTo>
                    <a:lnTo>
                      <a:pt x="277" y="616"/>
                    </a:lnTo>
                    <a:lnTo>
                      <a:pt x="292" y="617"/>
                    </a:lnTo>
                    <a:lnTo>
                      <a:pt x="308" y="617"/>
                    </a:lnTo>
                    <a:lnTo>
                      <a:pt x="308" y="617"/>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89" name="Freeform 137"/>
              <p:cNvSpPr/>
              <p:nvPr/>
            </p:nvSpPr>
            <p:spPr bwMode="auto">
              <a:xfrm>
                <a:off x="1182688" y="2181226"/>
                <a:ext cx="954088" cy="1720850"/>
              </a:xfrm>
              <a:custGeom>
                <a:avLst/>
                <a:gdLst>
                  <a:gd name="T0" fmla="*/ 1484 w 1805"/>
                  <a:gd name="T1" fmla="*/ 188 h 3254"/>
                  <a:gd name="T2" fmla="*/ 1447 w 1805"/>
                  <a:gd name="T3" fmla="*/ 105 h 3254"/>
                  <a:gd name="T4" fmla="*/ 1396 w 1805"/>
                  <a:gd name="T5" fmla="*/ 46 h 3254"/>
                  <a:gd name="T6" fmla="*/ 1356 w 1805"/>
                  <a:gd name="T7" fmla="*/ 19 h 3254"/>
                  <a:gd name="T8" fmla="*/ 1306 w 1805"/>
                  <a:gd name="T9" fmla="*/ 3 h 3254"/>
                  <a:gd name="T10" fmla="*/ 874 w 1805"/>
                  <a:gd name="T11" fmla="*/ 0 h 3254"/>
                  <a:gd name="T12" fmla="*/ 513 w 1805"/>
                  <a:gd name="T13" fmla="*/ 1 h 3254"/>
                  <a:gd name="T14" fmla="*/ 461 w 1805"/>
                  <a:gd name="T15" fmla="*/ 14 h 3254"/>
                  <a:gd name="T16" fmla="*/ 418 w 1805"/>
                  <a:gd name="T17" fmla="*/ 39 h 3254"/>
                  <a:gd name="T18" fmla="*/ 370 w 1805"/>
                  <a:gd name="T19" fmla="*/ 88 h 3254"/>
                  <a:gd name="T20" fmla="*/ 332 w 1805"/>
                  <a:gd name="T21" fmla="*/ 158 h 3254"/>
                  <a:gd name="T22" fmla="*/ 5 w 1805"/>
                  <a:gd name="T23" fmla="*/ 1212 h 3254"/>
                  <a:gd name="T24" fmla="*/ 1 w 1805"/>
                  <a:gd name="T25" fmla="*/ 1263 h 3254"/>
                  <a:gd name="T26" fmla="*/ 15 w 1805"/>
                  <a:gd name="T27" fmla="*/ 1310 h 3254"/>
                  <a:gd name="T28" fmla="*/ 46 w 1805"/>
                  <a:gd name="T29" fmla="*/ 1349 h 3254"/>
                  <a:gd name="T30" fmla="*/ 91 w 1805"/>
                  <a:gd name="T31" fmla="*/ 1373 h 3254"/>
                  <a:gd name="T32" fmla="*/ 129 w 1805"/>
                  <a:gd name="T33" fmla="*/ 1378 h 3254"/>
                  <a:gd name="T34" fmla="*/ 178 w 1805"/>
                  <a:gd name="T35" fmla="*/ 1369 h 3254"/>
                  <a:gd name="T36" fmla="*/ 219 w 1805"/>
                  <a:gd name="T37" fmla="*/ 1342 h 3254"/>
                  <a:gd name="T38" fmla="*/ 248 w 1805"/>
                  <a:gd name="T39" fmla="*/ 1300 h 3254"/>
                  <a:gd name="T40" fmla="*/ 527 w 1805"/>
                  <a:gd name="T41" fmla="*/ 428 h 3254"/>
                  <a:gd name="T42" fmla="*/ 548 w 1805"/>
                  <a:gd name="T43" fmla="*/ 3102 h 3254"/>
                  <a:gd name="T44" fmla="*/ 555 w 1805"/>
                  <a:gd name="T45" fmla="*/ 3147 h 3254"/>
                  <a:gd name="T46" fmla="*/ 583 w 1805"/>
                  <a:gd name="T47" fmla="*/ 3198 h 3254"/>
                  <a:gd name="T48" fmla="*/ 627 w 1805"/>
                  <a:gd name="T49" fmla="*/ 3236 h 3254"/>
                  <a:gd name="T50" fmla="*/ 684 w 1805"/>
                  <a:gd name="T51" fmla="*/ 3253 h 3254"/>
                  <a:gd name="T52" fmla="*/ 730 w 1805"/>
                  <a:gd name="T53" fmla="*/ 3251 h 3254"/>
                  <a:gd name="T54" fmla="*/ 783 w 1805"/>
                  <a:gd name="T55" fmla="*/ 3227 h 3254"/>
                  <a:gd name="T56" fmla="*/ 825 w 1805"/>
                  <a:gd name="T57" fmla="*/ 3187 h 3254"/>
                  <a:gd name="T58" fmla="*/ 847 w 1805"/>
                  <a:gd name="T59" fmla="*/ 3133 h 3254"/>
                  <a:gd name="T60" fmla="*/ 903 w 1805"/>
                  <a:gd name="T61" fmla="*/ 1923 h 3254"/>
                  <a:gd name="T62" fmla="*/ 956 w 1805"/>
                  <a:gd name="T63" fmla="*/ 3118 h 3254"/>
                  <a:gd name="T64" fmla="*/ 973 w 1805"/>
                  <a:gd name="T65" fmla="*/ 3175 h 3254"/>
                  <a:gd name="T66" fmla="*/ 1010 w 1805"/>
                  <a:gd name="T67" fmla="*/ 3219 h 3254"/>
                  <a:gd name="T68" fmla="*/ 1062 w 1805"/>
                  <a:gd name="T69" fmla="*/ 3246 h 3254"/>
                  <a:gd name="T70" fmla="*/ 1106 w 1805"/>
                  <a:gd name="T71" fmla="*/ 3254 h 3254"/>
                  <a:gd name="T72" fmla="*/ 1165 w 1805"/>
                  <a:gd name="T73" fmla="*/ 3242 h 3254"/>
                  <a:gd name="T74" fmla="*/ 1213 w 1805"/>
                  <a:gd name="T75" fmla="*/ 3209 h 3254"/>
                  <a:gd name="T76" fmla="*/ 1245 w 1805"/>
                  <a:gd name="T77" fmla="*/ 3161 h 3254"/>
                  <a:gd name="T78" fmla="*/ 1257 w 1805"/>
                  <a:gd name="T79" fmla="*/ 3102 h 3254"/>
                  <a:gd name="T80" fmla="*/ 1278 w 1805"/>
                  <a:gd name="T81" fmla="*/ 428 h 3254"/>
                  <a:gd name="T82" fmla="*/ 1553 w 1805"/>
                  <a:gd name="T83" fmla="*/ 1288 h 3254"/>
                  <a:gd name="T84" fmla="*/ 1578 w 1805"/>
                  <a:gd name="T85" fmla="*/ 1333 h 3254"/>
                  <a:gd name="T86" fmla="*/ 1616 w 1805"/>
                  <a:gd name="T87" fmla="*/ 1364 h 3254"/>
                  <a:gd name="T88" fmla="*/ 1663 w 1805"/>
                  <a:gd name="T89" fmla="*/ 1378 h 3254"/>
                  <a:gd name="T90" fmla="*/ 1714 w 1805"/>
                  <a:gd name="T91" fmla="*/ 1373 h 3254"/>
                  <a:gd name="T92" fmla="*/ 1749 w 1805"/>
                  <a:gd name="T93" fmla="*/ 1356 h 3254"/>
                  <a:gd name="T94" fmla="*/ 1784 w 1805"/>
                  <a:gd name="T95" fmla="*/ 1321 h 3254"/>
                  <a:gd name="T96" fmla="*/ 1803 w 1805"/>
                  <a:gd name="T97" fmla="*/ 1276 h 3254"/>
                  <a:gd name="T98" fmla="*/ 1803 w 1805"/>
                  <a:gd name="T99" fmla="*/ 1225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5" h="3254">
                    <a:moveTo>
                      <a:pt x="1800" y="1212"/>
                    </a:moveTo>
                    <a:lnTo>
                      <a:pt x="1493" y="209"/>
                    </a:lnTo>
                    <a:lnTo>
                      <a:pt x="1493" y="209"/>
                    </a:lnTo>
                    <a:lnTo>
                      <a:pt x="1484" y="188"/>
                    </a:lnTo>
                    <a:lnTo>
                      <a:pt x="1473" y="158"/>
                    </a:lnTo>
                    <a:lnTo>
                      <a:pt x="1466" y="141"/>
                    </a:lnTo>
                    <a:lnTo>
                      <a:pt x="1457" y="123"/>
                    </a:lnTo>
                    <a:lnTo>
                      <a:pt x="1447" y="105"/>
                    </a:lnTo>
                    <a:lnTo>
                      <a:pt x="1435" y="88"/>
                    </a:lnTo>
                    <a:lnTo>
                      <a:pt x="1421" y="70"/>
                    </a:lnTo>
                    <a:lnTo>
                      <a:pt x="1405" y="54"/>
                    </a:lnTo>
                    <a:lnTo>
                      <a:pt x="1396" y="46"/>
                    </a:lnTo>
                    <a:lnTo>
                      <a:pt x="1387" y="39"/>
                    </a:lnTo>
                    <a:lnTo>
                      <a:pt x="1377" y="31"/>
                    </a:lnTo>
                    <a:lnTo>
                      <a:pt x="1367" y="25"/>
                    </a:lnTo>
                    <a:lnTo>
                      <a:pt x="1356" y="19"/>
                    </a:lnTo>
                    <a:lnTo>
                      <a:pt x="1344" y="14"/>
                    </a:lnTo>
                    <a:lnTo>
                      <a:pt x="1332" y="10"/>
                    </a:lnTo>
                    <a:lnTo>
                      <a:pt x="1320" y="7"/>
                    </a:lnTo>
                    <a:lnTo>
                      <a:pt x="1306" y="3"/>
                    </a:lnTo>
                    <a:lnTo>
                      <a:pt x="1292" y="1"/>
                    </a:lnTo>
                    <a:lnTo>
                      <a:pt x="1277" y="0"/>
                    </a:lnTo>
                    <a:lnTo>
                      <a:pt x="1261" y="0"/>
                    </a:lnTo>
                    <a:lnTo>
                      <a:pt x="874" y="0"/>
                    </a:lnTo>
                    <a:lnTo>
                      <a:pt x="544" y="0"/>
                    </a:lnTo>
                    <a:lnTo>
                      <a:pt x="544" y="0"/>
                    </a:lnTo>
                    <a:lnTo>
                      <a:pt x="528" y="0"/>
                    </a:lnTo>
                    <a:lnTo>
                      <a:pt x="513" y="1"/>
                    </a:lnTo>
                    <a:lnTo>
                      <a:pt x="499" y="3"/>
                    </a:lnTo>
                    <a:lnTo>
                      <a:pt x="486" y="7"/>
                    </a:lnTo>
                    <a:lnTo>
                      <a:pt x="473" y="10"/>
                    </a:lnTo>
                    <a:lnTo>
                      <a:pt x="461" y="14"/>
                    </a:lnTo>
                    <a:lnTo>
                      <a:pt x="449" y="19"/>
                    </a:lnTo>
                    <a:lnTo>
                      <a:pt x="439" y="25"/>
                    </a:lnTo>
                    <a:lnTo>
                      <a:pt x="428" y="31"/>
                    </a:lnTo>
                    <a:lnTo>
                      <a:pt x="418" y="39"/>
                    </a:lnTo>
                    <a:lnTo>
                      <a:pt x="409" y="46"/>
                    </a:lnTo>
                    <a:lnTo>
                      <a:pt x="400" y="54"/>
                    </a:lnTo>
                    <a:lnTo>
                      <a:pt x="384" y="70"/>
                    </a:lnTo>
                    <a:lnTo>
                      <a:pt x="370" y="88"/>
                    </a:lnTo>
                    <a:lnTo>
                      <a:pt x="359" y="105"/>
                    </a:lnTo>
                    <a:lnTo>
                      <a:pt x="348" y="123"/>
                    </a:lnTo>
                    <a:lnTo>
                      <a:pt x="339" y="141"/>
                    </a:lnTo>
                    <a:lnTo>
                      <a:pt x="332" y="158"/>
                    </a:lnTo>
                    <a:lnTo>
                      <a:pt x="320" y="188"/>
                    </a:lnTo>
                    <a:lnTo>
                      <a:pt x="313" y="209"/>
                    </a:lnTo>
                    <a:lnTo>
                      <a:pt x="5" y="1212"/>
                    </a:lnTo>
                    <a:lnTo>
                      <a:pt x="5" y="1212"/>
                    </a:lnTo>
                    <a:lnTo>
                      <a:pt x="2" y="1225"/>
                    </a:lnTo>
                    <a:lnTo>
                      <a:pt x="1" y="1238"/>
                    </a:lnTo>
                    <a:lnTo>
                      <a:pt x="0" y="1250"/>
                    </a:lnTo>
                    <a:lnTo>
                      <a:pt x="1" y="1263"/>
                    </a:lnTo>
                    <a:lnTo>
                      <a:pt x="2" y="1276"/>
                    </a:lnTo>
                    <a:lnTo>
                      <a:pt x="5" y="1288"/>
                    </a:lnTo>
                    <a:lnTo>
                      <a:pt x="10" y="1300"/>
                    </a:lnTo>
                    <a:lnTo>
                      <a:pt x="15" y="1310"/>
                    </a:lnTo>
                    <a:lnTo>
                      <a:pt x="21" y="1321"/>
                    </a:lnTo>
                    <a:lnTo>
                      <a:pt x="29" y="1330"/>
                    </a:lnTo>
                    <a:lnTo>
                      <a:pt x="37" y="1340"/>
                    </a:lnTo>
                    <a:lnTo>
                      <a:pt x="46" y="1349"/>
                    </a:lnTo>
                    <a:lnTo>
                      <a:pt x="57" y="1356"/>
                    </a:lnTo>
                    <a:lnTo>
                      <a:pt x="67" y="1362"/>
                    </a:lnTo>
                    <a:lnTo>
                      <a:pt x="79" y="1369"/>
                    </a:lnTo>
                    <a:lnTo>
                      <a:pt x="91" y="1373"/>
                    </a:lnTo>
                    <a:lnTo>
                      <a:pt x="91" y="1373"/>
                    </a:lnTo>
                    <a:lnTo>
                      <a:pt x="104" y="1376"/>
                    </a:lnTo>
                    <a:lnTo>
                      <a:pt x="116" y="1378"/>
                    </a:lnTo>
                    <a:lnTo>
                      <a:pt x="129" y="1378"/>
                    </a:lnTo>
                    <a:lnTo>
                      <a:pt x="142" y="1378"/>
                    </a:lnTo>
                    <a:lnTo>
                      <a:pt x="155" y="1376"/>
                    </a:lnTo>
                    <a:lnTo>
                      <a:pt x="167" y="1373"/>
                    </a:lnTo>
                    <a:lnTo>
                      <a:pt x="178" y="1369"/>
                    </a:lnTo>
                    <a:lnTo>
                      <a:pt x="189" y="1364"/>
                    </a:lnTo>
                    <a:lnTo>
                      <a:pt x="200" y="1357"/>
                    </a:lnTo>
                    <a:lnTo>
                      <a:pt x="209" y="1350"/>
                    </a:lnTo>
                    <a:lnTo>
                      <a:pt x="219" y="1342"/>
                    </a:lnTo>
                    <a:lnTo>
                      <a:pt x="227" y="1333"/>
                    </a:lnTo>
                    <a:lnTo>
                      <a:pt x="235" y="1323"/>
                    </a:lnTo>
                    <a:lnTo>
                      <a:pt x="241" y="1311"/>
                    </a:lnTo>
                    <a:lnTo>
                      <a:pt x="248" y="1300"/>
                    </a:lnTo>
                    <a:lnTo>
                      <a:pt x="252" y="1288"/>
                    </a:lnTo>
                    <a:lnTo>
                      <a:pt x="515" y="427"/>
                    </a:lnTo>
                    <a:lnTo>
                      <a:pt x="515" y="427"/>
                    </a:lnTo>
                    <a:lnTo>
                      <a:pt x="527" y="428"/>
                    </a:lnTo>
                    <a:lnTo>
                      <a:pt x="562" y="428"/>
                    </a:lnTo>
                    <a:lnTo>
                      <a:pt x="164" y="1923"/>
                    </a:lnTo>
                    <a:lnTo>
                      <a:pt x="548" y="1923"/>
                    </a:lnTo>
                    <a:lnTo>
                      <a:pt x="548" y="3102"/>
                    </a:lnTo>
                    <a:lnTo>
                      <a:pt x="548" y="3102"/>
                    </a:lnTo>
                    <a:lnTo>
                      <a:pt x="548" y="3118"/>
                    </a:lnTo>
                    <a:lnTo>
                      <a:pt x="551" y="3133"/>
                    </a:lnTo>
                    <a:lnTo>
                      <a:pt x="555" y="3147"/>
                    </a:lnTo>
                    <a:lnTo>
                      <a:pt x="560" y="3161"/>
                    </a:lnTo>
                    <a:lnTo>
                      <a:pt x="567" y="3175"/>
                    </a:lnTo>
                    <a:lnTo>
                      <a:pt x="574" y="3187"/>
                    </a:lnTo>
                    <a:lnTo>
                      <a:pt x="583" y="3198"/>
                    </a:lnTo>
                    <a:lnTo>
                      <a:pt x="592" y="3209"/>
                    </a:lnTo>
                    <a:lnTo>
                      <a:pt x="603" y="3219"/>
                    </a:lnTo>
                    <a:lnTo>
                      <a:pt x="615" y="3227"/>
                    </a:lnTo>
                    <a:lnTo>
                      <a:pt x="627" y="3236"/>
                    </a:lnTo>
                    <a:lnTo>
                      <a:pt x="640" y="3242"/>
                    </a:lnTo>
                    <a:lnTo>
                      <a:pt x="654" y="3246"/>
                    </a:lnTo>
                    <a:lnTo>
                      <a:pt x="669" y="3251"/>
                    </a:lnTo>
                    <a:lnTo>
                      <a:pt x="684" y="3253"/>
                    </a:lnTo>
                    <a:lnTo>
                      <a:pt x="699" y="3254"/>
                    </a:lnTo>
                    <a:lnTo>
                      <a:pt x="699" y="3254"/>
                    </a:lnTo>
                    <a:lnTo>
                      <a:pt x="715" y="3253"/>
                    </a:lnTo>
                    <a:lnTo>
                      <a:pt x="730" y="3251"/>
                    </a:lnTo>
                    <a:lnTo>
                      <a:pt x="744" y="3246"/>
                    </a:lnTo>
                    <a:lnTo>
                      <a:pt x="758" y="3242"/>
                    </a:lnTo>
                    <a:lnTo>
                      <a:pt x="771" y="3236"/>
                    </a:lnTo>
                    <a:lnTo>
                      <a:pt x="783" y="3227"/>
                    </a:lnTo>
                    <a:lnTo>
                      <a:pt x="795" y="3219"/>
                    </a:lnTo>
                    <a:lnTo>
                      <a:pt x="806" y="3209"/>
                    </a:lnTo>
                    <a:lnTo>
                      <a:pt x="815" y="3198"/>
                    </a:lnTo>
                    <a:lnTo>
                      <a:pt x="825" y="3187"/>
                    </a:lnTo>
                    <a:lnTo>
                      <a:pt x="832" y="3175"/>
                    </a:lnTo>
                    <a:lnTo>
                      <a:pt x="839" y="3161"/>
                    </a:lnTo>
                    <a:lnTo>
                      <a:pt x="843" y="3147"/>
                    </a:lnTo>
                    <a:lnTo>
                      <a:pt x="847" y="3133"/>
                    </a:lnTo>
                    <a:lnTo>
                      <a:pt x="849" y="3118"/>
                    </a:lnTo>
                    <a:lnTo>
                      <a:pt x="850" y="3102"/>
                    </a:lnTo>
                    <a:lnTo>
                      <a:pt x="850" y="1923"/>
                    </a:lnTo>
                    <a:lnTo>
                      <a:pt x="903" y="1923"/>
                    </a:lnTo>
                    <a:lnTo>
                      <a:pt x="955" y="1923"/>
                    </a:lnTo>
                    <a:lnTo>
                      <a:pt x="955" y="3102"/>
                    </a:lnTo>
                    <a:lnTo>
                      <a:pt x="955" y="3102"/>
                    </a:lnTo>
                    <a:lnTo>
                      <a:pt x="956" y="3118"/>
                    </a:lnTo>
                    <a:lnTo>
                      <a:pt x="958" y="3133"/>
                    </a:lnTo>
                    <a:lnTo>
                      <a:pt x="962" y="3147"/>
                    </a:lnTo>
                    <a:lnTo>
                      <a:pt x="967" y="3161"/>
                    </a:lnTo>
                    <a:lnTo>
                      <a:pt x="973" y="3175"/>
                    </a:lnTo>
                    <a:lnTo>
                      <a:pt x="980" y="3187"/>
                    </a:lnTo>
                    <a:lnTo>
                      <a:pt x="990" y="3198"/>
                    </a:lnTo>
                    <a:lnTo>
                      <a:pt x="1000" y="3209"/>
                    </a:lnTo>
                    <a:lnTo>
                      <a:pt x="1010" y="3219"/>
                    </a:lnTo>
                    <a:lnTo>
                      <a:pt x="1022" y="3227"/>
                    </a:lnTo>
                    <a:lnTo>
                      <a:pt x="1034" y="3236"/>
                    </a:lnTo>
                    <a:lnTo>
                      <a:pt x="1048" y="3242"/>
                    </a:lnTo>
                    <a:lnTo>
                      <a:pt x="1062" y="3246"/>
                    </a:lnTo>
                    <a:lnTo>
                      <a:pt x="1075" y="3251"/>
                    </a:lnTo>
                    <a:lnTo>
                      <a:pt x="1090" y="3253"/>
                    </a:lnTo>
                    <a:lnTo>
                      <a:pt x="1106" y="3254"/>
                    </a:lnTo>
                    <a:lnTo>
                      <a:pt x="1106" y="3254"/>
                    </a:lnTo>
                    <a:lnTo>
                      <a:pt x="1121" y="3253"/>
                    </a:lnTo>
                    <a:lnTo>
                      <a:pt x="1136" y="3251"/>
                    </a:lnTo>
                    <a:lnTo>
                      <a:pt x="1151" y="3246"/>
                    </a:lnTo>
                    <a:lnTo>
                      <a:pt x="1165" y="3242"/>
                    </a:lnTo>
                    <a:lnTo>
                      <a:pt x="1178" y="3236"/>
                    </a:lnTo>
                    <a:lnTo>
                      <a:pt x="1191" y="3227"/>
                    </a:lnTo>
                    <a:lnTo>
                      <a:pt x="1202" y="3219"/>
                    </a:lnTo>
                    <a:lnTo>
                      <a:pt x="1213" y="3209"/>
                    </a:lnTo>
                    <a:lnTo>
                      <a:pt x="1223" y="3198"/>
                    </a:lnTo>
                    <a:lnTo>
                      <a:pt x="1231" y="3187"/>
                    </a:lnTo>
                    <a:lnTo>
                      <a:pt x="1239" y="3175"/>
                    </a:lnTo>
                    <a:lnTo>
                      <a:pt x="1245" y="3161"/>
                    </a:lnTo>
                    <a:lnTo>
                      <a:pt x="1250" y="3147"/>
                    </a:lnTo>
                    <a:lnTo>
                      <a:pt x="1255" y="3133"/>
                    </a:lnTo>
                    <a:lnTo>
                      <a:pt x="1257" y="3118"/>
                    </a:lnTo>
                    <a:lnTo>
                      <a:pt x="1257" y="3102"/>
                    </a:lnTo>
                    <a:lnTo>
                      <a:pt x="1257" y="1923"/>
                    </a:lnTo>
                    <a:lnTo>
                      <a:pt x="1641" y="1923"/>
                    </a:lnTo>
                    <a:lnTo>
                      <a:pt x="1243" y="428"/>
                    </a:lnTo>
                    <a:lnTo>
                      <a:pt x="1278" y="428"/>
                    </a:lnTo>
                    <a:lnTo>
                      <a:pt x="1278" y="428"/>
                    </a:lnTo>
                    <a:lnTo>
                      <a:pt x="1290" y="427"/>
                    </a:lnTo>
                    <a:lnTo>
                      <a:pt x="1553" y="1288"/>
                    </a:lnTo>
                    <a:lnTo>
                      <a:pt x="1553" y="1288"/>
                    </a:lnTo>
                    <a:lnTo>
                      <a:pt x="1558" y="1300"/>
                    </a:lnTo>
                    <a:lnTo>
                      <a:pt x="1564" y="1311"/>
                    </a:lnTo>
                    <a:lnTo>
                      <a:pt x="1570" y="1323"/>
                    </a:lnTo>
                    <a:lnTo>
                      <a:pt x="1578" y="1333"/>
                    </a:lnTo>
                    <a:lnTo>
                      <a:pt x="1586" y="1342"/>
                    </a:lnTo>
                    <a:lnTo>
                      <a:pt x="1595" y="1350"/>
                    </a:lnTo>
                    <a:lnTo>
                      <a:pt x="1606" y="1357"/>
                    </a:lnTo>
                    <a:lnTo>
                      <a:pt x="1616" y="1364"/>
                    </a:lnTo>
                    <a:lnTo>
                      <a:pt x="1627" y="1369"/>
                    </a:lnTo>
                    <a:lnTo>
                      <a:pt x="1639" y="1373"/>
                    </a:lnTo>
                    <a:lnTo>
                      <a:pt x="1650" y="1376"/>
                    </a:lnTo>
                    <a:lnTo>
                      <a:pt x="1663" y="1378"/>
                    </a:lnTo>
                    <a:lnTo>
                      <a:pt x="1676" y="1378"/>
                    </a:lnTo>
                    <a:lnTo>
                      <a:pt x="1689" y="1378"/>
                    </a:lnTo>
                    <a:lnTo>
                      <a:pt x="1702" y="1376"/>
                    </a:lnTo>
                    <a:lnTo>
                      <a:pt x="1714" y="1373"/>
                    </a:lnTo>
                    <a:lnTo>
                      <a:pt x="1714" y="1373"/>
                    </a:lnTo>
                    <a:lnTo>
                      <a:pt x="1726" y="1369"/>
                    </a:lnTo>
                    <a:lnTo>
                      <a:pt x="1738" y="1362"/>
                    </a:lnTo>
                    <a:lnTo>
                      <a:pt x="1749" y="1356"/>
                    </a:lnTo>
                    <a:lnTo>
                      <a:pt x="1759" y="1349"/>
                    </a:lnTo>
                    <a:lnTo>
                      <a:pt x="1768" y="1340"/>
                    </a:lnTo>
                    <a:lnTo>
                      <a:pt x="1776" y="1330"/>
                    </a:lnTo>
                    <a:lnTo>
                      <a:pt x="1784" y="1321"/>
                    </a:lnTo>
                    <a:lnTo>
                      <a:pt x="1790" y="1310"/>
                    </a:lnTo>
                    <a:lnTo>
                      <a:pt x="1795" y="1300"/>
                    </a:lnTo>
                    <a:lnTo>
                      <a:pt x="1800" y="1288"/>
                    </a:lnTo>
                    <a:lnTo>
                      <a:pt x="1803" y="1276"/>
                    </a:lnTo>
                    <a:lnTo>
                      <a:pt x="1804" y="1263"/>
                    </a:lnTo>
                    <a:lnTo>
                      <a:pt x="1805" y="1250"/>
                    </a:lnTo>
                    <a:lnTo>
                      <a:pt x="1804" y="1238"/>
                    </a:lnTo>
                    <a:lnTo>
                      <a:pt x="1803" y="1225"/>
                    </a:lnTo>
                    <a:lnTo>
                      <a:pt x="1800" y="1212"/>
                    </a:lnTo>
                    <a:lnTo>
                      <a:pt x="1800" y="1212"/>
                    </a:lnTo>
                    <a:close/>
                  </a:path>
                </a:pathLst>
              </a:custGeom>
              <a:solidFill>
                <a:srgbClr val="82B864"/>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sp>
          <p:nvSpPr>
            <p:cNvPr id="71" name="Freeform 29"/>
            <p:cNvSpPr>
              <a:spLocks noEditPoints="1"/>
            </p:cNvSpPr>
            <p:nvPr/>
          </p:nvSpPr>
          <p:spPr bwMode="auto">
            <a:xfrm>
              <a:off x="6527800" y="1818565"/>
              <a:ext cx="533400" cy="466725"/>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82B864"/>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72" name="Freeform 29"/>
            <p:cNvSpPr>
              <a:spLocks noEditPoints="1"/>
            </p:cNvSpPr>
            <p:nvPr/>
          </p:nvSpPr>
          <p:spPr bwMode="auto">
            <a:xfrm>
              <a:off x="7189788" y="2237467"/>
              <a:ext cx="366712" cy="320873"/>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73" name="Freeform 29"/>
            <p:cNvSpPr>
              <a:spLocks noEditPoints="1"/>
            </p:cNvSpPr>
            <p:nvPr/>
          </p:nvSpPr>
          <p:spPr bwMode="auto">
            <a:xfrm>
              <a:off x="7823201" y="2571750"/>
              <a:ext cx="333017" cy="291390"/>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74" name="Freeform 29"/>
            <p:cNvSpPr>
              <a:spLocks noEditPoints="1"/>
            </p:cNvSpPr>
            <p:nvPr/>
          </p:nvSpPr>
          <p:spPr bwMode="auto">
            <a:xfrm flipH="1">
              <a:off x="5689600" y="2266950"/>
              <a:ext cx="366712" cy="320873"/>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sp>
          <p:nvSpPr>
            <p:cNvPr id="75" name="Freeform 29"/>
            <p:cNvSpPr>
              <a:spLocks noEditPoints="1"/>
            </p:cNvSpPr>
            <p:nvPr/>
          </p:nvSpPr>
          <p:spPr bwMode="auto">
            <a:xfrm flipH="1">
              <a:off x="5156200" y="2533650"/>
              <a:ext cx="333016" cy="291390"/>
            </a:xfrm>
            <a:custGeom>
              <a:avLst/>
              <a:gdLst/>
              <a:ahLst/>
              <a:cxnLst>
                <a:cxn ang="0">
                  <a:pos x="128" y="0"/>
                </a:cxn>
                <a:cxn ang="0">
                  <a:pos x="78" y="8"/>
                </a:cxn>
                <a:cxn ang="0">
                  <a:pos x="38" y="28"/>
                </a:cxn>
                <a:cxn ang="0">
                  <a:pos x="10" y="58"/>
                </a:cxn>
                <a:cxn ang="0">
                  <a:pos x="2" y="76"/>
                </a:cxn>
                <a:cxn ang="0">
                  <a:pos x="0" y="96"/>
                </a:cxn>
                <a:cxn ang="0">
                  <a:pos x="2" y="108"/>
                </a:cxn>
                <a:cxn ang="0">
                  <a:pos x="8" y="132"/>
                </a:cxn>
                <a:cxn ang="0">
                  <a:pos x="24" y="152"/>
                </a:cxn>
                <a:cxn ang="0">
                  <a:pos x="44" y="168"/>
                </a:cxn>
                <a:cxn ang="0">
                  <a:pos x="56" y="176"/>
                </a:cxn>
                <a:cxn ang="0">
                  <a:pos x="56" y="176"/>
                </a:cxn>
                <a:cxn ang="0">
                  <a:pos x="50" y="198"/>
                </a:cxn>
                <a:cxn ang="0">
                  <a:pos x="40" y="214"/>
                </a:cxn>
                <a:cxn ang="0">
                  <a:pos x="40" y="216"/>
                </a:cxn>
                <a:cxn ang="0">
                  <a:pos x="42" y="222"/>
                </a:cxn>
                <a:cxn ang="0">
                  <a:pos x="48" y="224"/>
                </a:cxn>
                <a:cxn ang="0">
                  <a:pos x="50" y="224"/>
                </a:cxn>
                <a:cxn ang="0">
                  <a:pos x="68" y="218"/>
                </a:cxn>
                <a:cxn ang="0">
                  <a:pos x="96" y="198"/>
                </a:cxn>
                <a:cxn ang="0">
                  <a:pos x="104" y="190"/>
                </a:cxn>
                <a:cxn ang="0">
                  <a:pos x="128" y="192"/>
                </a:cxn>
                <a:cxn ang="0">
                  <a:pos x="178" y="184"/>
                </a:cxn>
                <a:cxn ang="0">
                  <a:pos x="218" y="164"/>
                </a:cxn>
                <a:cxn ang="0">
                  <a:pos x="246" y="134"/>
                </a:cxn>
                <a:cxn ang="0">
                  <a:pos x="254" y="116"/>
                </a:cxn>
                <a:cxn ang="0">
                  <a:pos x="256" y="96"/>
                </a:cxn>
                <a:cxn ang="0">
                  <a:pos x="256" y="86"/>
                </a:cxn>
                <a:cxn ang="0">
                  <a:pos x="250" y="68"/>
                </a:cxn>
                <a:cxn ang="0">
                  <a:pos x="234" y="42"/>
                </a:cxn>
                <a:cxn ang="0">
                  <a:pos x="200" y="16"/>
                </a:cxn>
                <a:cxn ang="0">
                  <a:pos x="154" y="2"/>
                </a:cxn>
                <a:cxn ang="0">
                  <a:pos x="128" y="176"/>
                </a:cxn>
                <a:cxn ang="0">
                  <a:pos x="106" y="174"/>
                </a:cxn>
                <a:cxn ang="0">
                  <a:pos x="104" y="174"/>
                </a:cxn>
                <a:cxn ang="0">
                  <a:pos x="96" y="176"/>
                </a:cxn>
                <a:cxn ang="0">
                  <a:pos x="90" y="180"/>
                </a:cxn>
                <a:cxn ang="0">
                  <a:pos x="66" y="200"/>
                </a:cxn>
                <a:cxn ang="0">
                  <a:pos x="70" y="190"/>
                </a:cxn>
                <a:cxn ang="0">
                  <a:pos x="72" y="176"/>
                </a:cxn>
                <a:cxn ang="0">
                  <a:pos x="72" y="176"/>
                </a:cxn>
                <a:cxn ang="0">
                  <a:pos x="70" y="168"/>
                </a:cxn>
                <a:cxn ang="0">
                  <a:pos x="64" y="162"/>
                </a:cxn>
                <a:cxn ang="0">
                  <a:pos x="52" y="156"/>
                </a:cxn>
                <a:cxn ang="0">
                  <a:pos x="36" y="140"/>
                </a:cxn>
                <a:cxn ang="0">
                  <a:pos x="24" y="124"/>
                </a:cxn>
                <a:cxn ang="0">
                  <a:pos x="16" y="106"/>
                </a:cxn>
                <a:cxn ang="0">
                  <a:pos x="16" y="96"/>
                </a:cxn>
                <a:cxn ang="0">
                  <a:pos x="24" y="64"/>
                </a:cxn>
                <a:cxn ang="0">
                  <a:pos x="48" y="40"/>
                </a:cxn>
                <a:cxn ang="0">
                  <a:pos x="84" y="22"/>
                </a:cxn>
                <a:cxn ang="0">
                  <a:pos x="128" y="16"/>
                </a:cxn>
                <a:cxn ang="0">
                  <a:pos x="150" y="18"/>
                </a:cxn>
                <a:cxn ang="0">
                  <a:pos x="190" y="30"/>
                </a:cxn>
                <a:cxn ang="0">
                  <a:pos x="220" y="52"/>
                </a:cxn>
                <a:cxn ang="0">
                  <a:pos x="238" y="80"/>
                </a:cxn>
                <a:cxn ang="0">
                  <a:pos x="240" y="96"/>
                </a:cxn>
                <a:cxn ang="0">
                  <a:pos x="232" y="128"/>
                </a:cxn>
                <a:cxn ang="0">
                  <a:pos x="208" y="152"/>
                </a:cxn>
                <a:cxn ang="0">
                  <a:pos x="172" y="170"/>
                </a:cxn>
                <a:cxn ang="0">
                  <a:pos x="128" y="176"/>
                </a:cxn>
              </a:cxnLst>
              <a:rect l="0" t="0" r="r" b="b"/>
              <a:pathLst>
                <a:path w="256" h="224">
                  <a:moveTo>
                    <a:pt x="128" y="0"/>
                  </a:moveTo>
                  <a:lnTo>
                    <a:pt x="128" y="0"/>
                  </a:lnTo>
                  <a:lnTo>
                    <a:pt x="102" y="2"/>
                  </a:lnTo>
                  <a:lnTo>
                    <a:pt x="78" y="8"/>
                  </a:lnTo>
                  <a:lnTo>
                    <a:pt x="56" y="16"/>
                  </a:lnTo>
                  <a:lnTo>
                    <a:pt x="38" y="28"/>
                  </a:lnTo>
                  <a:lnTo>
                    <a:pt x="22" y="42"/>
                  </a:lnTo>
                  <a:lnTo>
                    <a:pt x="10" y="58"/>
                  </a:lnTo>
                  <a:lnTo>
                    <a:pt x="6" y="68"/>
                  </a:lnTo>
                  <a:lnTo>
                    <a:pt x="2" y="76"/>
                  </a:lnTo>
                  <a:lnTo>
                    <a:pt x="0" y="86"/>
                  </a:lnTo>
                  <a:lnTo>
                    <a:pt x="0" y="96"/>
                  </a:lnTo>
                  <a:lnTo>
                    <a:pt x="0" y="96"/>
                  </a:lnTo>
                  <a:lnTo>
                    <a:pt x="2" y="108"/>
                  </a:lnTo>
                  <a:lnTo>
                    <a:pt x="4" y="120"/>
                  </a:lnTo>
                  <a:lnTo>
                    <a:pt x="8" y="132"/>
                  </a:lnTo>
                  <a:lnTo>
                    <a:pt x="16" y="142"/>
                  </a:lnTo>
                  <a:lnTo>
                    <a:pt x="24" y="152"/>
                  </a:lnTo>
                  <a:lnTo>
                    <a:pt x="34" y="160"/>
                  </a:lnTo>
                  <a:lnTo>
                    <a:pt x="44" y="168"/>
                  </a:lnTo>
                  <a:lnTo>
                    <a:pt x="56" y="176"/>
                  </a:lnTo>
                  <a:lnTo>
                    <a:pt x="56" y="176"/>
                  </a:lnTo>
                  <a:lnTo>
                    <a:pt x="56" y="176"/>
                  </a:lnTo>
                  <a:lnTo>
                    <a:pt x="56" y="176"/>
                  </a:lnTo>
                  <a:lnTo>
                    <a:pt x="54" y="186"/>
                  </a:lnTo>
                  <a:lnTo>
                    <a:pt x="50" y="198"/>
                  </a:lnTo>
                  <a:lnTo>
                    <a:pt x="40" y="214"/>
                  </a:lnTo>
                  <a:lnTo>
                    <a:pt x="40" y="214"/>
                  </a:lnTo>
                  <a:lnTo>
                    <a:pt x="40" y="214"/>
                  </a:lnTo>
                  <a:lnTo>
                    <a:pt x="40" y="216"/>
                  </a:lnTo>
                  <a:lnTo>
                    <a:pt x="40" y="216"/>
                  </a:lnTo>
                  <a:lnTo>
                    <a:pt x="42" y="222"/>
                  </a:lnTo>
                  <a:lnTo>
                    <a:pt x="48" y="224"/>
                  </a:lnTo>
                  <a:lnTo>
                    <a:pt x="48" y="224"/>
                  </a:lnTo>
                  <a:lnTo>
                    <a:pt x="50" y="224"/>
                  </a:lnTo>
                  <a:lnTo>
                    <a:pt x="50" y="224"/>
                  </a:lnTo>
                  <a:lnTo>
                    <a:pt x="58" y="222"/>
                  </a:lnTo>
                  <a:lnTo>
                    <a:pt x="68" y="218"/>
                  </a:lnTo>
                  <a:lnTo>
                    <a:pt x="84" y="208"/>
                  </a:lnTo>
                  <a:lnTo>
                    <a:pt x="96" y="198"/>
                  </a:lnTo>
                  <a:lnTo>
                    <a:pt x="104" y="190"/>
                  </a:lnTo>
                  <a:lnTo>
                    <a:pt x="104" y="190"/>
                  </a:lnTo>
                  <a:lnTo>
                    <a:pt x="128" y="192"/>
                  </a:lnTo>
                  <a:lnTo>
                    <a:pt x="128" y="192"/>
                  </a:lnTo>
                  <a:lnTo>
                    <a:pt x="154" y="190"/>
                  </a:lnTo>
                  <a:lnTo>
                    <a:pt x="178" y="184"/>
                  </a:lnTo>
                  <a:lnTo>
                    <a:pt x="200" y="176"/>
                  </a:lnTo>
                  <a:lnTo>
                    <a:pt x="218" y="164"/>
                  </a:lnTo>
                  <a:lnTo>
                    <a:pt x="234" y="150"/>
                  </a:lnTo>
                  <a:lnTo>
                    <a:pt x="246" y="134"/>
                  </a:lnTo>
                  <a:lnTo>
                    <a:pt x="250" y="124"/>
                  </a:lnTo>
                  <a:lnTo>
                    <a:pt x="254" y="116"/>
                  </a:lnTo>
                  <a:lnTo>
                    <a:pt x="256" y="106"/>
                  </a:lnTo>
                  <a:lnTo>
                    <a:pt x="256" y="96"/>
                  </a:lnTo>
                  <a:lnTo>
                    <a:pt x="256" y="96"/>
                  </a:lnTo>
                  <a:lnTo>
                    <a:pt x="256" y="86"/>
                  </a:lnTo>
                  <a:lnTo>
                    <a:pt x="254" y="76"/>
                  </a:lnTo>
                  <a:lnTo>
                    <a:pt x="250" y="68"/>
                  </a:lnTo>
                  <a:lnTo>
                    <a:pt x="246" y="58"/>
                  </a:lnTo>
                  <a:lnTo>
                    <a:pt x="234" y="42"/>
                  </a:lnTo>
                  <a:lnTo>
                    <a:pt x="218" y="28"/>
                  </a:lnTo>
                  <a:lnTo>
                    <a:pt x="200" y="16"/>
                  </a:lnTo>
                  <a:lnTo>
                    <a:pt x="178" y="8"/>
                  </a:lnTo>
                  <a:lnTo>
                    <a:pt x="154" y="2"/>
                  </a:lnTo>
                  <a:lnTo>
                    <a:pt x="128" y="0"/>
                  </a:lnTo>
                  <a:close/>
                  <a:moveTo>
                    <a:pt x="128" y="176"/>
                  </a:moveTo>
                  <a:lnTo>
                    <a:pt x="128" y="176"/>
                  </a:lnTo>
                  <a:lnTo>
                    <a:pt x="106" y="174"/>
                  </a:lnTo>
                  <a:lnTo>
                    <a:pt x="106" y="174"/>
                  </a:lnTo>
                  <a:lnTo>
                    <a:pt x="104" y="174"/>
                  </a:lnTo>
                  <a:lnTo>
                    <a:pt x="104" y="174"/>
                  </a:lnTo>
                  <a:lnTo>
                    <a:pt x="96" y="176"/>
                  </a:lnTo>
                  <a:lnTo>
                    <a:pt x="90" y="180"/>
                  </a:lnTo>
                  <a:lnTo>
                    <a:pt x="90" y="180"/>
                  </a:lnTo>
                  <a:lnTo>
                    <a:pt x="82" y="190"/>
                  </a:lnTo>
                  <a:lnTo>
                    <a:pt x="66" y="200"/>
                  </a:lnTo>
                  <a:lnTo>
                    <a:pt x="66" y="200"/>
                  </a:lnTo>
                  <a:lnTo>
                    <a:pt x="70" y="190"/>
                  </a:lnTo>
                  <a:lnTo>
                    <a:pt x="72" y="176"/>
                  </a:lnTo>
                  <a:lnTo>
                    <a:pt x="72" y="176"/>
                  </a:lnTo>
                  <a:lnTo>
                    <a:pt x="72" y="176"/>
                  </a:lnTo>
                  <a:lnTo>
                    <a:pt x="72" y="176"/>
                  </a:lnTo>
                  <a:lnTo>
                    <a:pt x="72" y="172"/>
                  </a:lnTo>
                  <a:lnTo>
                    <a:pt x="70" y="168"/>
                  </a:lnTo>
                  <a:lnTo>
                    <a:pt x="66" y="164"/>
                  </a:lnTo>
                  <a:lnTo>
                    <a:pt x="64" y="162"/>
                  </a:lnTo>
                  <a:lnTo>
                    <a:pt x="64" y="162"/>
                  </a:lnTo>
                  <a:lnTo>
                    <a:pt x="52" y="156"/>
                  </a:lnTo>
                  <a:lnTo>
                    <a:pt x="44" y="148"/>
                  </a:lnTo>
                  <a:lnTo>
                    <a:pt x="36" y="140"/>
                  </a:lnTo>
                  <a:lnTo>
                    <a:pt x="28" y="132"/>
                  </a:lnTo>
                  <a:lnTo>
                    <a:pt x="24" y="124"/>
                  </a:lnTo>
                  <a:lnTo>
                    <a:pt x="20" y="114"/>
                  </a:lnTo>
                  <a:lnTo>
                    <a:pt x="16" y="106"/>
                  </a:lnTo>
                  <a:lnTo>
                    <a:pt x="16" y="96"/>
                  </a:lnTo>
                  <a:lnTo>
                    <a:pt x="16" y="96"/>
                  </a:lnTo>
                  <a:lnTo>
                    <a:pt x="18" y="80"/>
                  </a:lnTo>
                  <a:lnTo>
                    <a:pt x="24" y="64"/>
                  </a:lnTo>
                  <a:lnTo>
                    <a:pt x="36" y="52"/>
                  </a:lnTo>
                  <a:lnTo>
                    <a:pt x="48" y="40"/>
                  </a:lnTo>
                  <a:lnTo>
                    <a:pt x="66" y="30"/>
                  </a:lnTo>
                  <a:lnTo>
                    <a:pt x="84" y="22"/>
                  </a:lnTo>
                  <a:lnTo>
                    <a:pt x="106" y="18"/>
                  </a:lnTo>
                  <a:lnTo>
                    <a:pt x="128" y="16"/>
                  </a:lnTo>
                  <a:lnTo>
                    <a:pt x="128" y="16"/>
                  </a:lnTo>
                  <a:lnTo>
                    <a:pt x="150" y="18"/>
                  </a:lnTo>
                  <a:lnTo>
                    <a:pt x="172" y="22"/>
                  </a:lnTo>
                  <a:lnTo>
                    <a:pt x="190" y="30"/>
                  </a:lnTo>
                  <a:lnTo>
                    <a:pt x="208" y="40"/>
                  </a:lnTo>
                  <a:lnTo>
                    <a:pt x="220" y="52"/>
                  </a:lnTo>
                  <a:lnTo>
                    <a:pt x="232" y="64"/>
                  </a:lnTo>
                  <a:lnTo>
                    <a:pt x="238" y="80"/>
                  </a:lnTo>
                  <a:lnTo>
                    <a:pt x="240" y="96"/>
                  </a:lnTo>
                  <a:lnTo>
                    <a:pt x="240" y="96"/>
                  </a:lnTo>
                  <a:lnTo>
                    <a:pt x="238" y="112"/>
                  </a:lnTo>
                  <a:lnTo>
                    <a:pt x="232" y="128"/>
                  </a:lnTo>
                  <a:lnTo>
                    <a:pt x="220" y="140"/>
                  </a:lnTo>
                  <a:lnTo>
                    <a:pt x="208" y="152"/>
                  </a:lnTo>
                  <a:lnTo>
                    <a:pt x="190" y="162"/>
                  </a:lnTo>
                  <a:lnTo>
                    <a:pt x="172" y="170"/>
                  </a:lnTo>
                  <a:lnTo>
                    <a:pt x="150" y="174"/>
                  </a:lnTo>
                  <a:lnTo>
                    <a:pt x="128" y="176"/>
                  </a:lnTo>
                  <a:close/>
                </a:path>
              </a:pathLst>
            </a:custGeom>
            <a:solidFill>
              <a:srgbClr val="A3CB8D"/>
            </a:solidFill>
            <a:ln w="9525">
              <a:noFill/>
              <a:round/>
            </a:ln>
          </p:spPr>
          <p:txBody>
            <a:bodyPr vert="horz" wrap="square" lIns="91440" tIns="45720" rIns="91440" bIns="45720" numCol="1" anchor="t" anchorCtr="0" compatLnSpc="1"/>
            <a:lstStyle/>
            <a:p>
              <a:pPr defTabSz="1219200">
                <a:defRPr/>
              </a:pPr>
              <a:endParaRPr lang="ar-SA" sz="2400" kern="0">
                <a:solidFill>
                  <a:sysClr val="windowText" lastClr="000000"/>
                </a:solidFill>
                <a:cs typeface="+mn-ea"/>
                <a:sym typeface="+mn-lt"/>
              </a:endParaRPr>
            </a:p>
          </p:txBody>
        </p:sp>
        <p:grpSp>
          <p:nvGrpSpPr>
            <p:cNvPr id="76" name="Group 124"/>
            <p:cNvGrpSpPr/>
            <p:nvPr/>
          </p:nvGrpSpPr>
          <p:grpSpPr>
            <a:xfrm>
              <a:off x="5683252" y="2673428"/>
              <a:ext cx="609601" cy="1342941"/>
              <a:chOff x="1182688" y="1800226"/>
              <a:chExt cx="954088" cy="2101850"/>
            </a:xfrm>
            <a:grpFill/>
            <a:effectLst/>
          </p:grpSpPr>
          <p:sp>
            <p:nvSpPr>
              <p:cNvPr id="86" name="Freeform 134"/>
              <p:cNvSpPr/>
              <p:nvPr/>
            </p:nvSpPr>
            <p:spPr bwMode="auto">
              <a:xfrm>
                <a:off x="1503363" y="1800226"/>
                <a:ext cx="325438" cy="325438"/>
              </a:xfrm>
              <a:custGeom>
                <a:avLst/>
                <a:gdLst>
                  <a:gd name="T0" fmla="*/ 324 w 617"/>
                  <a:gd name="T1" fmla="*/ 617 h 617"/>
                  <a:gd name="T2" fmla="*/ 370 w 617"/>
                  <a:gd name="T3" fmla="*/ 611 h 617"/>
                  <a:gd name="T4" fmla="*/ 415 w 617"/>
                  <a:gd name="T5" fmla="*/ 599 h 617"/>
                  <a:gd name="T6" fmla="*/ 456 w 617"/>
                  <a:gd name="T7" fmla="*/ 580 h 617"/>
                  <a:gd name="T8" fmla="*/ 493 w 617"/>
                  <a:gd name="T9" fmla="*/ 556 h 617"/>
                  <a:gd name="T10" fmla="*/ 527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7 w 617"/>
                  <a:gd name="T33" fmla="*/ 91 h 617"/>
                  <a:gd name="T34" fmla="*/ 493 w 617"/>
                  <a:gd name="T35" fmla="*/ 61 h 617"/>
                  <a:gd name="T36" fmla="*/ 456 w 617"/>
                  <a:gd name="T37" fmla="*/ 37 h 617"/>
                  <a:gd name="T38" fmla="*/ 415 w 617"/>
                  <a:gd name="T39" fmla="*/ 18 h 617"/>
                  <a:gd name="T40" fmla="*/ 370 w 617"/>
                  <a:gd name="T41" fmla="*/ 7 h 617"/>
                  <a:gd name="T42" fmla="*/ 324 w 617"/>
                  <a:gd name="T43" fmla="*/ 0 h 617"/>
                  <a:gd name="T44" fmla="*/ 292 w 617"/>
                  <a:gd name="T45" fmla="*/ 0 h 617"/>
                  <a:gd name="T46" fmla="*/ 246 w 617"/>
                  <a:gd name="T47" fmla="*/ 7 h 617"/>
                  <a:gd name="T48" fmla="*/ 203 w 617"/>
                  <a:gd name="T49" fmla="*/ 18 h 617"/>
                  <a:gd name="T50" fmla="*/ 161 w 617"/>
                  <a:gd name="T51" fmla="*/ 37 h 617"/>
                  <a:gd name="T52" fmla="*/ 124 w 617"/>
                  <a:gd name="T53" fmla="*/ 61 h 617"/>
                  <a:gd name="T54" fmla="*/ 91 w 617"/>
                  <a:gd name="T55" fmla="*/ 91 h 617"/>
                  <a:gd name="T56" fmla="*/ 61 w 617"/>
                  <a:gd name="T57" fmla="*/ 124 h 617"/>
                  <a:gd name="T58" fmla="*/ 37 w 617"/>
                  <a:gd name="T59" fmla="*/ 161 h 617"/>
                  <a:gd name="T60" fmla="*/ 18 w 617"/>
                  <a:gd name="T61" fmla="*/ 203 h 617"/>
                  <a:gd name="T62" fmla="*/ 6 w 617"/>
                  <a:gd name="T63" fmla="*/ 247 h 617"/>
                  <a:gd name="T64" fmla="*/ 0 w 617"/>
                  <a:gd name="T65" fmla="*/ 292 h 617"/>
                  <a:gd name="T66" fmla="*/ 0 w 617"/>
                  <a:gd name="T67" fmla="*/ 324 h 617"/>
                  <a:gd name="T68" fmla="*/ 6 w 617"/>
                  <a:gd name="T69" fmla="*/ 370 h 617"/>
                  <a:gd name="T70" fmla="*/ 18 w 617"/>
                  <a:gd name="T71" fmla="*/ 415 h 617"/>
                  <a:gd name="T72" fmla="*/ 37 w 617"/>
                  <a:gd name="T73" fmla="*/ 456 h 617"/>
                  <a:gd name="T74" fmla="*/ 61 w 617"/>
                  <a:gd name="T75" fmla="*/ 493 h 617"/>
                  <a:gd name="T76" fmla="*/ 91 w 617"/>
                  <a:gd name="T77" fmla="*/ 527 h 617"/>
                  <a:gd name="T78" fmla="*/ 124 w 617"/>
                  <a:gd name="T79" fmla="*/ 556 h 617"/>
                  <a:gd name="T80" fmla="*/ 161 w 617"/>
                  <a:gd name="T81" fmla="*/ 580 h 617"/>
                  <a:gd name="T82" fmla="*/ 203 w 617"/>
                  <a:gd name="T83" fmla="*/ 599 h 617"/>
                  <a:gd name="T84" fmla="*/ 246 w 617"/>
                  <a:gd name="T85" fmla="*/ 611 h 617"/>
                  <a:gd name="T86" fmla="*/ 292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8" y="617"/>
                    </a:moveTo>
                    <a:lnTo>
                      <a:pt x="308" y="617"/>
                    </a:lnTo>
                    <a:lnTo>
                      <a:pt x="324" y="617"/>
                    </a:lnTo>
                    <a:lnTo>
                      <a:pt x="340" y="616"/>
                    </a:lnTo>
                    <a:lnTo>
                      <a:pt x="355" y="614"/>
                    </a:lnTo>
                    <a:lnTo>
                      <a:pt x="370" y="611"/>
                    </a:lnTo>
                    <a:lnTo>
                      <a:pt x="385" y="607"/>
                    </a:lnTo>
                    <a:lnTo>
                      <a:pt x="400" y="603"/>
                    </a:lnTo>
                    <a:lnTo>
                      <a:pt x="415" y="599"/>
                    </a:lnTo>
                    <a:lnTo>
                      <a:pt x="429" y="593"/>
                    </a:lnTo>
                    <a:lnTo>
                      <a:pt x="443" y="587"/>
                    </a:lnTo>
                    <a:lnTo>
                      <a:pt x="456" y="580"/>
                    </a:lnTo>
                    <a:lnTo>
                      <a:pt x="468" y="573"/>
                    </a:lnTo>
                    <a:lnTo>
                      <a:pt x="481" y="564"/>
                    </a:lnTo>
                    <a:lnTo>
                      <a:pt x="493" y="556"/>
                    </a:lnTo>
                    <a:lnTo>
                      <a:pt x="505" y="546"/>
                    </a:lnTo>
                    <a:lnTo>
                      <a:pt x="516" y="537"/>
                    </a:lnTo>
                    <a:lnTo>
                      <a:pt x="527" y="527"/>
                    </a:lnTo>
                    <a:lnTo>
                      <a:pt x="537" y="516"/>
                    </a:lnTo>
                    <a:lnTo>
                      <a:pt x="546" y="505"/>
                    </a:lnTo>
                    <a:lnTo>
                      <a:pt x="556" y="493"/>
                    </a:lnTo>
                    <a:lnTo>
                      <a:pt x="564" y="481"/>
                    </a:lnTo>
                    <a:lnTo>
                      <a:pt x="573" y="468"/>
                    </a:lnTo>
                    <a:lnTo>
                      <a:pt x="580" y="456"/>
                    </a:lnTo>
                    <a:lnTo>
                      <a:pt x="587" y="443"/>
                    </a:lnTo>
                    <a:lnTo>
                      <a:pt x="593" y="429"/>
                    </a:lnTo>
                    <a:lnTo>
                      <a:pt x="598" y="415"/>
                    </a:lnTo>
                    <a:lnTo>
                      <a:pt x="603" y="400"/>
                    </a:lnTo>
                    <a:lnTo>
                      <a:pt x="607" y="385"/>
                    </a:lnTo>
                    <a:lnTo>
                      <a:pt x="611" y="370"/>
                    </a:lnTo>
                    <a:lnTo>
                      <a:pt x="613" y="355"/>
                    </a:lnTo>
                    <a:lnTo>
                      <a:pt x="616" y="340"/>
                    </a:lnTo>
                    <a:lnTo>
                      <a:pt x="617" y="324"/>
                    </a:lnTo>
                    <a:lnTo>
                      <a:pt x="617" y="308"/>
                    </a:lnTo>
                    <a:lnTo>
                      <a:pt x="617" y="308"/>
                    </a:lnTo>
                    <a:lnTo>
                      <a:pt x="617" y="292"/>
                    </a:lnTo>
                    <a:lnTo>
                      <a:pt x="616" y="277"/>
                    </a:lnTo>
                    <a:lnTo>
                      <a:pt x="613" y="261"/>
                    </a:lnTo>
                    <a:lnTo>
                      <a:pt x="611" y="247"/>
                    </a:lnTo>
                    <a:lnTo>
                      <a:pt x="607" y="232"/>
                    </a:lnTo>
                    <a:lnTo>
                      <a:pt x="603" y="217"/>
                    </a:lnTo>
                    <a:lnTo>
                      <a:pt x="598" y="203"/>
                    </a:lnTo>
                    <a:lnTo>
                      <a:pt x="593" y="189"/>
                    </a:lnTo>
                    <a:lnTo>
                      <a:pt x="587" y="175"/>
                    </a:lnTo>
                    <a:lnTo>
                      <a:pt x="580" y="161"/>
                    </a:lnTo>
                    <a:lnTo>
                      <a:pt x="573" y="148"/>
                    </a:lnTo>
                    <a:lnTo>
                      <a:pt x="564" y="136"/>
                    </a:lnTo>
                    <a:lnTo>
                      <a:pt x="556" y="124"/>
                    </a:lnTo>
                    <a:lnTo>
                      <a:pt x="546" y="112"/>
                    </a:lnTo>
                    <a:lnTo>
                      <a:pt x="537" y="101"/>
                    </a:lnTo>
                    <a:lnTo>
                      <a:pt x="527" y="91"/>
                    </a:lnTo>
                    <a:lnTo>
                      <a:pt x="516" y="80"/>
                    </a:lnTo>
                    <a:lnTo>
                      <a:pt x="505" y="71"/>
                    </a:lnTo>
                    <a:lnTo>
                      <a:pt x="493" y="61"/>
                    </a:lnTo>
                    <a:lnTo>
                      <a:pt x="481" y="52"/>
                    </a:lnTo>
                    <a:lnTo>
                      <a:pt x="468" y="45"/>
                    </a:lnTo>
                    <a:lnTo>
                      <a:pt x="456" y="37"/>
                    </a:lnTo>
                    <a:lnTo>
                      <a:pt x="443" y="30"/>
                    </a:lnTo>
                    <a:lnTo>
                      <a:pt x="429" y="25"/>
                    </a:lnTo>
                    <a:lnTo>
                      <a:pt x="415" y="18"/>
                    </a:lnTo>
                    <a:lnTo>
                      <a:pt x="400" y="14"/>
                    </a:lnTo>
                    <a:lnTo>
                      <a:pt x="385" y="10"/>
                    </a:lnTo>
                    <a:lnTo>
                      <a:pt x="370" y="7"/>
                    </a:lnTo>
                    <a:lnTo>
                      <a:pt x="355" y="3"/>
                    </a:lnTo>
                    <a:lnTo>
                      <a:pt x="340" y="1"/>
                    </a:lnTo>
                    <a:lnTo>
                      <a:pt x="324" y="0"/>
                    </a:lnTo>
                    <a:lnTo>
                      <a:pt x="308" y="0"/>
                    </a:lnTo>
                    <a:lnTo>
                      <a:pt x="308" y="0"/>
                    </a:lnTo>
                    <a:lnTo>
                      <a:pt x="292" y="0"/>
                    </a:lnTo>
                    <a:lnTo>
                      <a:pt x="277" y="1"/>
                    </a:lnTo>
                    <a:lnTo>
                      <a:pt x="261" y="3"/>
                    </a:lnTo>
                    <a:lnTo>
                      <a:pt x="246" y="7"/>
                    </a:lnTo>
                    <a:lnTo>
                      <a:pt x="232" y="10"/>
                    </a:lnTo>
                    <a:lnTo>
                      <a:pt x="217" y="14"/>
                    </a:lnTo>
                    <a:lnTo>
                      <a:pt x="203" y="18"/>
                    </a:lnTo>
                    <a:lnTo>
                      <a:pt x="188" y="25"/>
                    </a:lnTo>
                    <a:lnTo>
                      <a:pt x="175" y="30"/>
                    </a:lnTo>
                    <a:lnTo>
                      <a:pt x="161" y="37"/>
                    </a:lnTo>
                    <a:lnTo>
                      <a:pt x="148" y="45"/>
                    </a:lnTo>
                    <a:lnTo>
                      <a:pt x="136" y="52"/>
                    </a:lnTo>
                    <a:lnTo>
                      <a:pt x="124" y="61"/>
                    </a:lnTo>
                    <a:lnTo>
                      <a:pt x="112" y="71"/>
                    </a:lnTo>
                    <a:lnTo>
                      <a:pt x="101" y="80"/>
                    </a:lnTo>
                    <a:lnTo>
                      <a:pt x="91" y="91"/>
                    </a:lnTo>
                    <a:lnTo>
                      <a:pt x="80" y="101"/>
                    </a:lnTo>
                    <a:lnTo>
                      <a:pt x="70" y="112"/>
                    </a:lnTo>
                    <a:lnTo>
                      <a:pt x="61" y="124"/>
                    </a:lnTo>
                    <a:lnTo>
                      <a:pt x="52" y="136"/>
                    </a:lnTo>
                    <a:lnTo>
                      <a:pt x="45" y="148"/>
                    </a:lnTo>
                    <a:lnTo>
                      <a:pt x="37" y="161"/>
                    </a:lnTo>
                    <a:lnTo>
                      <a:pt x="30" y="175"/>
                    </a:lnTo>
                    <a:lnTo>
                      <a:pt x="25" y="189"/>
                    </a:lnTo>
                    <a:lnTo>
                      <a:pt x="18" y="203"/>
                    </a:lnTo>
                    <a:lnTo>
                      <a:pt x="14" y="217"/>
                    </a:lnTo>
                    <a:lnTo>
                      <a:pt x="10" y="232"/>
                    </a:lnTo>
                    <a:lnTo>
                      <a:pt x="6" y="247"/>
                    </a:lnTo>
                    <a:lnTo>
                      <a:pt x="3" y="261"/>
                    </a:lnTo>
                    <a:lnTo>
                      <a:pt x="1" y="277"/>
                    </a:lnTo>
                    <a:lnTo>
                      <a:pt x="0" y="292"/>
                    </a:lnTo>
                    <a:lnTo>
                      <a:pt x="0" y="308"/>
                    </a:lnTo>
                    <a:lnTo>
                      <a:pt x="0" y="308"/>
                    </a:lnTo>
                    <a:lnTo>
                      <a:pt x="0" y="324"/>
                    </a:lnTo>
                    <a:lnTo>
                      <a:pt x="1" y="340"/>
                    </a:lnTo>
                    <a:lnTo>
                      <a:pt x="3" y="355"/>
                    </a:lnTo>
                    <a:lnTo>
                      <a:pt x="6" y="370"/>
                    </a:lnTo>
                    <a:lnTo>
                      <a:pt x="10" y="385"/>
                    </a:lnTo>
                    <a:lnTo>
                      <a:pt x="14" y="400"/>
                    </a:lnTo>
                    <a:lnTo>
                      <a:pt x="18" y="415"/>
                    </a:lnTo>
                    <a:lnTo>
                      <a:pt x="25" y="429"/>
                    </a:lnTo>
                    <a:lnTo>
                      <a:pt x="30" y="443"/>
                    </a:lnTo>
                    <a:lnTo>
                      <a:pt x="37" y="456"/>
                    </a:lnTo>
                    <a:lnTo>
                      <a:pt x="45" y="468"/>
                    </a:lnTo>
                    <a:lnTo>
                      <a:pt x="52" y="481"/>
                    </a:lnTo>
                    <a:lnTo>
                      <a:pt x="61" y="493"/>
                    </a:lnTo>
                    <a:lnTo>
                      <a:pt x="70" y="505"/>
                    </a:lnTo>
                    <a:lnTo>
                      <a:pt x="80" y="516"/>
                    </a:lnTo>
                    <a:lnTo>
                      <a:pt x="91" y="527"/>
                    </a:lnTo>
                    <a:lnTo>
                      <a:pt x="101" y="537"/>
                    </a:lnTo>
                    <a:lnTo>
                      <a:pt x="112" y="546"/>
                    </a:lnTo>
                    <a:lnTo>
                      <a:pt x="124" y="556"/>
                    </a:lnTo>
                    <a:lnTo>
                      <a:pt x="136" y="564"/>
                    </a:lnTo>
                    <a:lnTo>
                      <a:pt x="148" y="573"/>
                    </a:lnTo>
                    <a:lnTo>
                      <a:pt x="161" y="580"/>
                    </a:lnTo>
                    <a:lnTo>
                      <a:pt x="175" y="587"/>
                    </a:lnTo>
                    <a:lnTo>
                      <a:pt x="188" y="593"/>
                    </a:lnTo>
                    <a:lnTo>
                      <a:pt x="203" y="599"/>
                    </a:lnTo>
                    <a:lnTo>
                      <a:pt x="217" y="603"/>
                    </a:lnTo>
                    <a:lnTo>
                      <a:pt x="232" y="607"/>
                    </a:lnTo>
                    <a:lnTo>
                      <a:pt x="246" y="611"/>
                    </a:lnTo>
                    <a:lnTo>
                      <a:pt x="261" y="614"/>
                    </a:lnTo>
                    <a:lnTo>
                      <a:pt x="277" y="616"/>
                    </a:lnTo>
                    <a:lnTo>
                      <a:pt x="292" y="617"/>
                    </a:lnTo>
                    <a:lnTo>
                      <a:pt x="308" y="617"/>
                    </a:lnTo>
                    <a:lnTo>
                      <a:pt x="308"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87" name="Freeform 135"/>
              <p:cNvSpPr/>
              <p:nvPr/>
            </p:nvSpPr>
            <p:spPr bwMode="auto">
              <a:xfrm>
                <a:off x="1182688" y="2181226"/>
                <a:ext cx="954088" cy="1720850"/>
              </a:xfrm>
              <a:custGeom>
                <a:avLst/>
                <a:gdLst>
                  <a:gd name="T0" fmla="*/ 1484 w 1805"/>
                  <a:gd name="T1" fmla="*/ 188 h 3254"/>
                  <a:gd name="T2" fmla="*/ 1447 w 1805"/>
                  <a:gd name="T3" fmla="*/ 105 h 3254"/>
                  <a:gd name="T4" fmla="*/ 1396 w 1805"/>
                  <a:gd name="T5" fmla="*/ 46 h 3254"/>
                  <a:gd name="T6" fmla="*/ 1356 w 1805"/>
                  <a:gd name="T7" fmla="*/ 19 h 3254"/>
                  <a:gd name="T8" fmla="*/ 1306 w 1805"/>
                  <a:gd name="T9" fmla="*/ 3 h 3254"/>
                  <a:gd name="T10" fmla="*/ 874 w 1805"/>
                  <a:gd name="T11" fmla="*/ 0 h 3254"/>
                  <a:gd name="T12" fmla="*/ 513 w 1805"/>
                  <a:gd name="T13" fmla="*/ 1 h 3254"/>
                  <a:gd name="T14" fmla="*/ 461 w 1805"/>
                  <a:gd name="T15" fmla="*/ 14 h 3254"/>
                  <a:gd name="T16" fmla="*/ 418 w 1805"/>
                  <a:gd name="T17" fmla="*/ 39 h 3254"/>
                  <a:gd name="T18" fmla="*/ 370 w 1805"/>
                  <a:gd name="T19" fmla="*/ 88 h 3254"/>
                  <a:gd name="T20" fmla="*/ 332 w 1805"/>
                  <a:gd name="T21" fmla="*/ 158 h 3254"/>
                  <a:gd name="T22" fmla="*/ 5 w 1805"/>
                  <a:gd name="T23" fmla="*/ 1212 h 3254"/>
                  <a:gd name="T24" fmla="*/ 1 w 1805"/>
                  <a:gd name="T25" fmla="*/ 1263 h 3254"/>
                  <a:gd name="T26" fmla="*/ 15 w 1805"/>
                  <a:gd name="T27" fmla="*/ 1310 h 3254"/>
                  <a:gd name="T28" fmla="*/ 46 w 1805"/>
                  <a:gd name="T29" fmla="*/ 1349 h 3254"/>
                  <a:gd name="T30" fmla="*/ 91 w 1805"/>
                  <a:gd name="T31" fmla="*/ 1373 h 3254"/>
                  <a:gd name="T32" fmla="*/ 129 w 1805"/>
                  <a:gd name="T33" fmla="*/ 1378 h 3254"/>
                  <a:gd name="T34" fmla="*/ 178 w 1805"/>
                  <a:gd name="T35" fmla="*/ 1369 h 3254"/>
                  <a:gd name="T36" fmla="*/ 219 w 1805"/>
                  <a:gd name="T37" fmla="*/ 1342 h 3254"/>
                  <a:gd name="T38" fmla="*/ 248 w 1805"/>
                  <a:gd name="T39" fmla="*/ 1300 h 3254"/>
                  <a:gd name="T40" fmla="*/ 527 w 1805"/>
                  <a:gd name="T41" fmla="*/ 428 h 3254"/>
                  <a:gd name="T42" fmla="*/ 548 w 1805"/>
                  <a:gd name="T43" fmla="*/ 3102 h 3254"/>
                  <a:gd name="T44" fmla="*/ 555 w 1805"/>
                  <a:gd name="T45" fmla="*/ 3147 h 3254"/>
                  <a:gd name="T46" fmla="*/ 583 w 1805"/>
                  <a:gd name="T47" fmla="*/ 3198 h 3254"/>
                  <a:gd name="T48" fmla="*/ 627 w 1805"/>
                  <a:gd name="T49" fmla="*/ 3236 h 3254"/>
                  <a:gd name="T50" fmla="*/ 684 w 1805"/>
                  <a:gd name="T51" fmla="*/ 3253 h 3254"/>
                  <a:gd name="T52" fmla="*/ 730 w 1805"/>
                  <a:gd name="T53" fmla="*/ 3251 h 3254"/>
                  <a:gd name="T54" fmla="*/ 783 w 1805"/>
                  <a:gd name="T55" fmla="*/ 3227 h 3254"/>
                  <a:gd name="T56" fmla="*/ 825 w 1805"/>
                  <a:gd name="T57" fmla="*/ 3187 h 3254"/>
                  <a:gd name="T58" fmla="*/ 847 w 1805"/>
                  <a:gd name="T59" fmla="*/ 3133 h 3254"/>
                  <a:gd name="T60" fmla="*/ 903 w 1805"/>
                  <a:gd name="T61" fmla="*/ 1923 h 3254"/>
                  <a:gd name="T62" fmla="*/ 956 w 1805"/>
                  <a:gd name="T63" fmla="*/ 3118 h 3254"/>
                  <a:gd name="T64" fmla="*/ 973 w 1805"/>
                  <a:gd name="T65" fmla="*/ 3175 h 3254"/>
                  <a:gd name="T66" fmla="*/ 1010 w 1805"/>
                  <a:gd name="T67" fmla="*/ 3219 h 3254"/>
                  <a:gd name="T68" fmla="*/ 1062 w 1805"/>
                  <a:gd name="T69" fmla="*/ 3246 h 3254"/>
                  <a:gd name="T70" fmla="*/ 1106 w 1805"/>
                  <a:gd name="T71" fmla="*/ 3254 h 3254"/>
                  <a:gd name="T72" fmla="*/ 1165 w 1805"/>
                  <a:gd name="T73" fmla="*/ 3242 h 3254"/>
                  <a:gd name="T74" fmla="*/ 1213 w 1805"/>
                  <a:gd name="T75" fmla="*/ 3209 h 3254"/>
                  <a:gd name="T76" fmla="*/ 1245 w 1805"/>
                  <a:gd name="T77" fmla="*/ 3161 h 3254"/>
                  <a:gd name="T78" fmla="*/ 1257 w 1805"/>
                  <a:gd name="T79" fmla="*/ 3102 h 3254"/>
                  <a:gd name="T80" fmla="*/ 1278 w 1805"/>
                  <a:gd name="T81" fmla="*/ 428 h 3254"/>
                  <a:gd name="T82" fmla="*/ 1553 w 1805"/>
                  <a:gd name="T83" fmla="*/ 1288 h 3254"/>
                  <a:gd name="T84" fmla="*/ 1578 w 1805"/>
                  <a:gd name="T85" fmla="*/ 1333 h 3254"/>
                  <a:gd name="T86" fmla="*/ 1616 w 1805"/>
                  <a:gd name="T87" fmla="*/ 1364 h 3254"/>
                  <a:gd name="T88" fmla="*/ 1663 w 1805"/>
                  <a:gd name="T89" fmla="*/ 1378 h 3254"/>
                  <a:gd name="T90" fmla="*/ 1714 w 1805"/>
                  <a:gd name="T91" fmla="*/ 1373 h 3254"/>
                  <a:gd name="T92" fmla="*/ 1749 w 1805"/>
                  <a:gd name="T93" fmla="*/ 1356 h 3254"/>
                  <a:gd name="T94" fmla="*/ 1784 w 1805"/>
                  <a:gd name="T95" fmla="*/ 1321 h 3254"/>
                  <a:gd name="T96" fmla="*/ 1803 w 1805"/>
                  <a:gd name="T97" fmla="*/ 1276 h 3254"/>
                  <a:gd name="T98" fmla="*/ 1803 w 1805"/>
                  <a:gd name="T99" fmla="*/ 1225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5" h="3254">
                    <a:moveTo>
                      <a:pt x="1800" y="1212"/>
                    </a:moveTo>
                    <a:lnTo>
                      <a:pt x="1493" y="209"/>
                    </a:lnTo>
                    <a:lnTo>
                      <a:pt x="1493" y="209"/>
                    </a:lnTo>
                    <a:lnTo>
                      <a:pt x="1484" y="188"/>
                    </a:lnTo>
                    <a:lnTo>
                      <a:pt x="1473" y="158"/>
                    </a:lnTo>
                    <a:lnTo>
                      <a:pt x="1466" y="141"/>
                    </a:lnTo>
                    <a:lnTo>
                      <a:pt x="1457" y="123"/>
                    </a:lnTo>
                    <a:lnTo>
                      <a:pt x="1447" y="105"/>
                    </a:lnTo>
                    <a:lnTo>
                      <a:pt x="1435" y="88"/>
                    </a:lnTo>
                    <a:lnTo>
                      <a:pt x="1421" y="70"/>
                    </a:lnTo>
                    <a:lnTo>
                      <a:pt x="1405" y="54"/>
                    </a:lnTo>
                    <a:lnTo>
                      <a:pt x="1396" y="46"/>
                    </a:lnTo>
                    <a:lnTo>
                      <a:pt x="1387" y="39"/>
                    </a:lnTo>
                    <a:lnTo>
                      <a:pt x="1377" y="31"/>
                    </a:lnTo>
                    <a:lnTo>
                      <a:pt x="1367" y="25"/>
                    </a:lnTo>
                    <a:lnTo>
                      <a:pt x="1356" y="19"/>
                    </a:lnTo>
                    <a:lnTo>
                      <a:pt x="1344" y="14"/>
                    </a:lnTo>
                    <a:lnTo>
                      <a:pt x="1332" y="10"/>
                    </a:lnTo>
                    <a:lnTo>
                      <a:pt x="1320" y="7"/>
                    </a:lnTo>
                    <a:lnTo>
                      <a:pt x="1306" y="3"/>
                    </a:lnTo>
                    <a:lnTo>
                      <a:pt x="1292" y="1"/>
                    </a:lnTo>
                    <a:lnTo>
                      <a:pt x="1277" y="0"/>
                    </a:lnTo>
                    <a:lnTo>
                      <a:pt x="1261" y="0"/>
                    </a:lnTo>
                    <a:lnTo>
                      <a:pt x="874" y="0"/>
                    </a:lnTo>
                    <a:lnTo>
                      <a:pt x="544" y="0"/>
                    </a:lnTo>
                    <a:lnTo>
                      <a:pt x="544" y="0"/>
                    </a:lnTo>
                    <a:lnTo>
                      <a:pt x="528" y="0"/>
                    </a:lnTo>
                    <a:lnTo>
                      <a:pt x="513" y="1"/>
                    </a:lnTo>
                    <a:lnTo>
                      <a:pt x="499" y="3"/>
                    </a:lnTo>
                    <a:lnTo>
                      <a:pt x="486" y="7"/>
                    </a:lnTo>
                    <a:lnTo>
                      <a:pt x="473" y="10"/>
                    </a:lnTo>
                    <a:lnTo>
                      <a:pt x="461" y="14"/>
                    </a:lnTo>
                    <a:lnTo>
                      <a:pt x="449" y="19"/>
                    </a:lnTo>
                    <a:lnTo>
                      <a:pt x="439" y="25"/>
                    </a:lnTo>
                    <a:lnTo>
                      <a:pt x="428" y="31"/>
                    </a:lnTo>
                    <a:lnTo>
                      <a:pt x="418" y="39"/>
                    </a:lnTo>
                    <a:lnTo>
                      <a:pt x="409" y="46"/>
                    </a:lnTo>
                    <a:lnTo>
                      <a:pt x="400" y="54"/>
                    </a:lnTo>
                    <a:lnTo>
                      <a:pt x="384" y="70"/>
                    </a:lnTo>
                    <a:lnTo>
                      <a:pt x="370" y="88"/>
                    </a:lnTo>
                    <a:lnTo>
                      <a:pt x="359" y="105"/>
                    </a:lnTo>
                    <a:lnTo>
                      <a:pt x="348" y="123"/>
                    </a:lnTo>
                    <a:lnTo>
                      <a:pt x="339" y="141"/>
                    </a:lnTo>
                    <a:lnTo>
                      <a:pt x="332" y="158"/>
                    </a:lnTo>
                    <a:lnTo>
                      <a:pt x="320" y="188"/>
                    </a:lnTo>
                    <a:lnTo>
                      <a:pt x="313" y="209"/>
                    </a:lnTo>
                    <a:lnTo>
                      <a:pt x="5" y="1212"/>
                    </a:lnTo>
                    <a:lnTo>
                      <a:pt x="5" y="1212"/>
                    </a:lnTo>
                    <a:lnTo>
                      <a:pt x="2" y="1225"/>
                    </a:lnTo>
                    <a:lnTo>
                      <a:pt x="1" y="1238"/>
                    </a:lnTo>
                    <a:lnTo>
                      <a:pt x="0" y="1250"/>
                    </a:lnTo>
                    <a:lnTo>
                      <a:pt x="1" y="1263"/>
                    </a:lnTo>
                    <a:lnTo>
                      <a:pt x="2" y="1276"/>
                    </a:lnTo>
                    <a:lnTo>
                      <a:pt x="5" y="1288"/>
                    </a:lnTo>
                    <a:lnTo>
                      <a:pt x="10" y="1300"/>
                    </a:lnTo>
                    <a:lnTo>
                      <a:pt x="15" y="1310"/>
                    </a:lnTo>
                    <a:lnTo>
                      <a:pt x="21" y="1321"/>
                    </a:lnTo>
                    <a:lnTo>
                      <a:pt x="29" y="1330"/>
                    </a:lnTo>
                    <a:lnTo>
                      <a:pt x="37" y="1340"/>
                    </a:lnTo>
                    <a:lnTo>
                      <a:pt x="46" y="1349"/>
                    </a:lnTo>
                    <a:lnTo>
                      <a:pt x="57" y="1356"/>
                    </a:lnTo>
                    <a:lnTo>
                      <a:pt x="67" y="1362"/>
                    </a:lnTo>
                    <a:lnTo>
                      <a:pt x="79" y="1369"/>
                    </a:lnTo>
                    <a:lnTo>
                      <a:pt x="91" y="1373"/>
                    </a:lnTo>
                    <a:lnTo>
                      <a:pt x="91" y="1373"/>
                    </a:lnTo>
                    <a:lnTo>
                      <a:pt x="104" y="1376"/>
                    </a:lnTo>
                    <a:lnTo>
                      <a:pt x="116" y="1378"/>
                    </a:lnTo>
                    <a:lnTo>
                      <a:pt x="129" y="1378"/>
                    </a:lnTo>
                    <a:lnTo>
                      <a:pt x="142" y="1378"/>
                    </a:lnTo>
                    <a:lnTo>
                      <a:pt x="155" y="1376"/>
                    </a:lnTo>
                    <a:lnTo>
                      <a:pt x="167" y="1373"/>
                    </a:lnTo>
                    <a:lnTo>
                      <a:pt x="178" y="1369"/>
                    </a:lnTo>
                    <a:lnTo>
                      <a:pt x="189" y="1364"/>
                    </a:lnTo>
                    <a:lnTo>
                      <a:pt x="200" y="1357"/>
                    </a:lnTo>
                    <a:lnTo>
                      <a:pt x="209" y="1350"/>
                    </a:lnTo>
                    <a:lnTo>
                      <a:pt x="219" y="1342"/>
                    </a:lnTo>
                    <a:lnTo>
                      <a:pt x="227" y="1333"/>
                    </a:lnTo>
                    <a:lnTo>
                      <a:pt x="235" y="1323"/>
                    </a:lnTo>
                    <a:lnTo>
                      <a:pt x="241" y="1311"/>
                    </a:lnTo>
                    <a:lnTo>
                      <a:pt x="248" y="1300"/>
                    </a:lnTo>
                    <a:lnTo>
                      <a:pt x="252" y="1288"/>
                    </a:lnTo>
                    <a:lnTo>
                      <a:pt x="515" y="427"/>
                    </a:lnTo>
                    <a:lnTo>
                      <a:pt x="515" y="427"/>
                    </a:lnTo>
                    <a:lnTo>
                      <a:pt x="527" y="428"/>
                    </a:lnTo>
                    <a:lnTo>
                      <a:pt x="562" y="428"/>
                    </a:lnTo>
                    <a:lnTo>
                      <a:pt x="164" y="1923"/>
                    </a:lnTo>
                    <a:lnTo>
                      <a:pt x="548" y="1923"/>
                    </a:lnTo>
                    <a:lnTo>
                      <a:pt x="548" y="3102"/>
                    </a:lnTo>
                    <a:lnTo>
                      <a:pt x="548" y="3102"/>
                    </a:lnTo>
                    <a:lnTo>
                      <a:pt x="548" y="3118"/>
                    </a:lnTo>
                    <a:lnTo>
                      <a:pt x="551" y="3133"/>
                    </a:lnTo>
                    <a:lnTo>
                      <a:pt x="555" y="3147"/>
                    </a:lnTo>
                    <a:lnTo>
                      <a:pt x="560" y="3161"/>
                    </a:lnTo>
                    <a:lnTo>
                      <a:pt x="567" y="3175"/>
                    </a:lnTo>
                    <a:lnTo>
                      <a:pt x="574" y="3187"/>
                    </a:lnTo>
                    <a:lnTo>
                      <a:pt x="583" y="3198"/>
                    </a:lnTo>
                    <a:lnTo>
                      <a:pt x="592" y="3209"/>
                    </a:lnTo>
                    <a:lnTo>
                      <a:pt x="603" y="3219"/>
                    </a:lnTo>
                    <a:lnTo>
                      <a:pt x="615" y="3227"/>
                    </a:lnTo>
                    <a:lnTo>
                      <a:pt x="627" y="3236"/>
                    </a:lnTo>
                    <a:lnTo>
                      <a:pt x="640" y="3242"/>
                    </a:lnTo>
                    <a:lnTo>
                      <a:pt x="654" y="3246"/>
                    </a:lnTo>
                    <a:lnTo>
                      <a:pt x="669" y="3251"/>
                    </a:lnTo>
                    <a:lnTo>
                      <a:pt x="684" y="3253"/>
                    </a:lnTo>
                    <a:lnTo>
                      <a:pt x="699" y="3254"/>
                    </a:lnTo>
                    <a:lnTo>
                      <a:pt x="699" y="3254"/>
                    </a:lnTo>
                    <a:lnTo>
                      <a:pt x="715" y="3253"/>
                    </a:lnTo>
                    <a:lnTo>
                      <a:pt x="730" y="3251"/>
                    </a:lnTo>
                    <a:lnTo>
                      <a:pt x="744" y="3246"/>
                    </a:lnTo>
                    <a:lnTo>
                      <a:pt x="758" y="3242"/>
                    </a:lnTo>
                    <a:lnTo>
                      <a:pt x="771" y="3236"/>
                    </a:lnTo>
                    <a:lnTo>
                      <a:pt x="783" y="3227"/>
                    </a:lnTo>
                    <a:lnTo>
                      <a:pt x="795" y="3219"/>
                    </a:lnTo>
                    <a:lnTo>
                      <a:pt x="806" y="3209"/>
                    </a:lnTo>
                    <a:lnTo>
                      <a:pt x="815" y="3198"/>
                    </a:lnTo>
                    <a:lnTo>
                      <a:pt x="825" y="3187"/>
                    </a:lnTo>
                    <a:lnTo>
                      <a:pt x="832" y="3175"/>
                    </a:lnTo>
                    <a:lnTo>
                      <a:pt x="839" y="3161"/>
                    </a:lnTo>
                    <a:lnTo>
                      <a:pt x="843" y="3147"/>
                    </a:lnTo>
                    <a:lnTo>
                      <a:pt x="847" y="3133"/>
                    </a:lnTo>
                    <a:lnTo>
                      <a:pt x="849" y="3118"/>
                    </a:lnTo>
                    <a:lnTo>
                      <a:pt x="850" y="3102"/>
                    </a:lnTo>
                    <a:lnTo>
                      <a:pt x="850" y="1923"/>
                    </a:lnTo>
                    <a:lnTo>
                      <a:pt x="903" y="1923"/>
                    </a:lnTo>
                    <a:lnTo>
                      <a:pt x="955" y="1923"/>
                    </a:lnTo>
                    <a:lnTo>
                      <a:pt x="955" y="3102"/>
                    </a:lnTo>
                    <a:lnTo>
                      <a:pt x="955" y="3102"/>
                    </a:lnTo>
                    <a:lnTo>
                      <a:pt x="956" y="3118"/>
                    </a:lnTo>
                    <a:lnTo>
                      <a:pt x="958" y="3133"/>
                    </a:lnTo>
                    <a:lnTo>
                      <a:pt x="962" y="3147"/>
                    </a:lnTo>
                    <a:lnTo>
                      <a:pt x="967" y="3161"/>
                    </a:lnTo>
                    <a:lnTo>
                      <a:pt x="973" y="3175"/>
                    </a:lnTo>
                    <a:lnTo>
                      <a:pt x="980" y="3187"/>
                    </a:lnTo>
                    <a:lnTo>
                      <a:pt x="990" y="3198"/>
                    </a:lnTo>
                    <a:lnTo>
                      <a:pt x="1000" y="3209"/>
                    </a:lnTo>
                    <a:lnTo>
                      <a:pt x="1010" y="3219"/>
                    </a:lnTo>
                    <a:lnTo>
                      <a:pt x="1022" y="3227"/>
                    </a:lnTo>
                    <a:lnTo>
                      <a:pt x="1034" y="3236"/>
                    </a:lnTo>
                    <a:lnTo>
                      <a:pt x="1048" y="3242"/>
                    </a:lnTo>
                    <a:lnTo>
                      <a:pt x="1062" y="3246"/>
                    </a:lnTo>
                    <a:lnTo>
                      <a:pt x="1075" y="3251"/>
                    </a:lnTo>
                    <a:lnTo>
                      <a:pt x="1090" y="3253"/>
                    </a:lnTo>
                    <a:lnTo>
                      <a:pt x="1106" y="3254"/>
                    </a:lnTo>
                    <a:lnTo>
                      <a:pt x="1106" y="3254"/>
                    </a:lnTo>
                    <a:lnTo>
                      <a:pt x="1121" y="3253"/>
                    </a:lnTo>
                    <a:lnTo>
                      <a:pt x="1136" y="3251"/>
                    </a:lnTo>
                    <a:lnTo>
                      <a:pt x="1151" y="3246"/>
                    </a:lnTo>
                    <a:lnTo>
                      <a:pt x="1165" y="3242"/>
                    </a:lnTo>
                    <a:lnTo>
                      <a:pt x="1178" y="3236"/>
                    </a:lnTo>
                    <a:lnTo>
                      <a:pt x="1191" y="3227"/>
                    </a:lnTo>
                    <a:lnTo>
                      <a:pt x="1202" y="3219"/>
                    </a:lnTo>
                    <a:lnTo>
                      <a:pt x="1213" y="3209"/>
                    </a:lnTo>
                    <a:lnTo>
                      <a:pt x="1223" y="3198"/>
                    </a:lnTo>
                    <a:lnTo>
                      <a:pt x="1231" y="3187"/>
                    </a:lnTo>
                    <a:lnTo>
                      <a:pt x="1239" y="3175"/>
                    </a:lnTo>
                    <a:lnTo>
                      <a:pt x="1245" y="3161"/>
                    </a:lnTo>
                    <a:lnTo>
                      <a:pt x="1250" y="3147"/>
                    </a:lnTo>
                    <a:lnTo>
                      <a:pt x="1255" y="3133"/>
                    </a:lnTo>
                    <a:lnTo>
                      <a:pt x="1257" y="3118"/>
                    </a:lnTo>
                    <a:lnTo>
                      <a:pt x="1257" y="3102"/>
                    </a:lnTo>
                    <a:lnTo>
                      <a:pt x="1257" y="1923"/>
                    </a:lnTo>
                    <a:lnTo>
                      <a:pt x="1641" y="1923"/>
                    </a:lnTo>
                    <a:lnTo>
                      <a:pt x="1243" y="428"/>
                    </a:lnTo>
                    <a:lnTo>
                      <a:pt x="1278" y="428"/>
                    </a:lnTo>
                    <a:lnTo>
                      <a:pt x="1278" y="428"/>
                    </a:lnTo>
                    <a:lnTo>
                      <a:pt x="1290" y="427"/>
                    </a:lnTo>
                    <a:lnTo>
                      <a:pt x="1553" y="1288"/>
                    </a:lnTo>
                    <a:lnTo>
                      <a:pt x="1553" y="1288"/>
                    </a:lnTo>
                    <a:lnTo>
                      <a:pt x="1558" y="1300"/>
                    </a:lnTo>
                    <a:lnTo>
                      <a:pt x="1564" y="1311"/>
                    </a:lnTo>
                    <a:lnTo>
                      <a:pt x="1570" y="1323"/>
                    </a:lnTo>
                    <a:lnTo>
                      <a:pt x="1578" y="1333"/>
                    </a:lnTo>
                    <a:lnTo>
                      <a:pt x="1586" y="1342"/>
                    </a:lnTo>
                    <a:lnTo>
                      <a:pt x="1595" y="1350"/>
                    </a:lnTo>
                    <a:lnTo>
                      <a:pt x="1606" y="1357"/>
                    </a:lnTo>
                    <a:lnTo>
                      <a:pt x="1616" y="1364"/>
                    </a:lnTo>
                    <a:lnTo>
                      <a:pt x="1627" y="1369"/>
                    </a:lnTo>
                    <a:lnTo>
                      <a:pt x="1639" y="1373"/>
                    </a:lnTo>
                    <a:lnTo>
                      <a:pt x="1650" y="1376"/>
                    </a:lnTo>
                    <a:lnTo>
                      <a:pt x="1663" y="1378"/>
                    </a:lnTo>
                    <a:lnTo>
                      <a:pt x="1676" y="1378"/>
                    </a:lnTo>
                    <a:lnTo>
                      <a:pt x="1689" y="1378"/>
                    </a:lnTo>
                    <a:lnTo>
                      <a:pt x="1702" y="1376"/>
                    </a:lnTo>
                    <a:lnTo>
                      <a:pt x="1714" y="1373"/>
                    </a:lnTo>
                    <a:lnTo>
                      <a:pt x="1714" y="1373"/>
                    </a:lnTo>
                    <a:lnTo>
                      <a:pt x="1726" y="1369"/>
                    </a:lnTo>
                    <a:lnTo>
                      <a:pt x="1738" y="1362"/>
                    </a:lnTo>
                    <a:lnTo>
                      <a:pt x="1749" y="1356"/>
                    </a:lnTo>
                    <a:lnTo>
                      <a:pt x="1759" y="1349"/>
                    </a:lnTo>
                    <a:lnTo>
                      <a:pt x="1768" y="1340"/>
                    </a:lnTo>
                    <a:lnTo>
                      <a:pt x="1776" y="1330"/>
                    </a:lnTo>
                    <a:lnTo>
                      <a:pt x="1784" y="1321"/>
                    </a:lnTo>
                    <a:lnTo>
                      <a:pt x="1790" y="1310"/>
                    </a:lnTo>
                    <a:lnTo>
                      <a:pt x="1795" y="1300"/>
                    </a:lnTo>
                    <a:lnTo>
                      <a:pt x="1800" y="1288"/>
                    </a:lnTo>
                    <a:lnTo>
                      <a:pt x="1803" y="1276"/>
                    </a:lnTo>
                    <a:lnTo>
                      <a:pt x="1804" y="1263"/>
                    </a:lnTo>
                    <a:lnTo>
                      <a:pt x="1805" y="1250"/>
                    </a:lnTo>
                    <a:lnTo>
                      <a:pt x="1804" y="1238"/>
                    </a:lnTo>
                    <a:lnTo>
                      <a:pt x="1803" y="1225"/>
                    </a:lnTo>
                    <a:lnTo>
                      <a:pt x="1800" y="1212"/>
                    </a:lnTo>
                    <a:lnTo>
                      <a:pt x="1800" y="1212"/>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77" name="Group 125"/>
            <p:cNvGrpSpPr/>
            <p:nvPr/>
          </p:nvGrpSpPr>
          <p:grpSpPr>
            <a:xfrm>
              <a:off x="5194300" y="2917827"/>
              <a:ext cx="498662" cy="1098550"/>
              <a:chOff x="1182688" y="1800226"/>
              <a:chExt cx="954088" cy="2101850"/>
            </a:xfrm>
            <a:grpFill/>
            <a:effectLst/>
          </p:grpSpPr>
          <p:sp>
            <p:nvSpPr>
              <p:cNvPr id="84" name="Freeform 132"/>
              <p:cNvSpPr/>
              <p:nvPr/>
            </p:nvSpPr>
            <p:spPr bwMode="auto">
              <a:xfrm>
                <a:off x="1503363" y="1800226"/>
                <a:ext cx="325438" cy="325438"/>
              </a:xfrm>
              <a:custGeom>
                <a:avLst/>
                <a:gdLst>
                  <a:gd name="T0" fmla="*/ 324 w 617"/>
                  <a:gd name="T1" fmla="*/ 617 h 617"/>
                  <a:gd name="T2" fmla="*/ 370 w 617"/>
                  <a:gd name="T3" fmla="*/ 611 h 617"/>
                  <a:gd name="T4" fmla="*/ 415 w 617"/>
                  <a:gd name="T5" fmla="*/ 599 h 617"/>
                  <a:gd name="T6" fmla="*/ 456 w 617"/>
                  <a:gd name="T7" fmla="*/ 580 h 617"/>
                  <a:gd name="T8" fmla="*/ 493 w 617"/>
                  <a:gd name="T9" fmla="*/ 556 h 617"/>
                  <a:gd name="T10" fmla="*/ 527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7 w 617"/>
                  <a:gd name="T33" fmla="*/ 91 h 617"/>
                  <a:gd name="T34" fmla="*/ 493 w 617"/>
                  <a:gd name="T35" fmla="*/ 61 h 617"/>
                  <a:gd name="T36" fmla="*/ 456 w 617"/>
                  <a:gd name="T37" fmla="*/ 37 h 617"/>
                  <a:gd name="T38" fmla="*/ 415 w 617"/>
                  <a:gd name="T39" fmla="*/ 18 h 617"/>
                  <a:gd name="T40" fmla="*/ 370 w 617"/>
                  <a:gd name="T41" fmla="*/ 7 h 617"/>
                  <a:gd name="T42" fmla="*/ 324 w 617"/>
                  <a:gd name="T43" fmla="*/ 0 h 617"/>
                  <a:gd name="T44" fmla="*/ 292 w 617"/>
                  <a:gd name="T45" fmla="*/ 0 h 617"/>
                  <a:gd name="T46" fmla="*/ 246 w 617"/>
                  <a:gd name="T47" fmla="*/ 7 h 617"/>
                  <a:gd name="T48" fmla="*/ 203 w 617"/>
                  <a:gd name="T49" fmla="*/ 18 h 617"/>
                  <a:gd name="T50" fmla="*/ 161 w 617"/>
                  <a:gd name="T51" fmla="*/ 37 h 617"/>
                  <a:gd name="T52" fmla="*/ 124 w 617"/>
                  <a:gd name="T53" fmla="*/ 61 h 617"/>
                  <a:gd name="T54" fmla="*/ 91 w 617"/>
                  <a:gd name="T55" fmla="*/ 91 h 617"/>
                  <a:gd name="T56" fmla="*/ 61 w 617"/>
                  <a:gd name="T57" fmla="*/ 124 h 617"/>
                  <a:gd name="T58" fmla="*/ 37 w 617"/>
                  <a:gd name="T59" fmla="*/ 161 h 617"/>
                  <a:gd name="T60" fmla="*/ 18 w 617"/>
                  <a:gd name="T61" fmla="*/ 203 h 617"/>
                  <a:gd name="T62" fmla="*/ 6 w 617"/>
                  <a:gd name="T63" fmla="*/ 247 h 617"/>
                  <a:gd name="T64" fmla="*/ 0 w 617"/>
                  <a:gd name="T65" fmla="*/ 292 h 617"/>
                  <a:gd name="T66" fmla="*/ 0 w 617"/>
                  <a:gd name="T67" fmla="*/ 324 h 617"/>
                  <a:gd name="T68" fmla="*/ 6 w 617"/>
                  <a:gd name="T69" fmla="*/ 370 h 617"/>
                  <a:gd name="T70" fmla="*/ 18 w 617"/>
                  <a:gd name="T71" fmla="*/ 415 h 617"/>
                  <a:gd name="T72" fmla="*/ 37 w 617"/>
                  <a:gd name="T73" fmla="*/ 456 h 617"/>
                  <a:gd name="T74" fmla="*/ 61 w 617"/>
                  <a:gd name="T75" fmla="*/ 493 h 617"/>
                  <a:gd name="T76" fmla="*/ 91 w 617"/>
                  <a:gd name="T77" fmla="*/ 527 h 617"/>
                  <a:gd name="T78" fmla="*/ 124 w 617"/>
                  <a:gd name="T79" fmla="*/ 556 h 617"/>
                  <a:gd name="T80" fmla="*/ 161 w 617"/>
                  <a:gd name="T81" fmla="*/ 580 h 617"/>
                  <a:gd name="T82" fmla="*/ 203 w 617"/>
                  <a:gd name="T83" fmla="*/ 599 h 617"/>
                  <a:gd name="T84" fmla="*/ 246 w 617"/>
                  <a:gd name="T85" fmla="*/ 611 h 617"/>
                  <a:gd name="T86" fmla="*/ 292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8" y="617"/>
                    </a:moveTo>
                    <a:lnTo>
                      <a:pt x="308" y="617"/>
                    </a:lnTo>
                    <a:lnTo>
                      <a:pt x="324" y="617"/>
                    </a:lnTo>
                    <a:lnTo>
                      <a:pt x="340" y="616"/>
                    </a:lnTo>
                    <a:lnTo>
                      <a:pt x="355" y="614"/>
                    </a:lnTo>
                    <a:lnTo>
                      <a:pt x="370" y="611"/>
                    </a:lnTo>
                    <a:lnTo>
                      <a:pt x="385" y="607"/>
                    </a:lnTo>
                    <a:lnTo>
                      <a:pt x="400" y="603"/>
                    </a:lnTo>
                    <a:lnTo>
                      <a:pt x="415" y="599"/>
                    </a:lnTo>
                    <a:lnTo>
                      <a:pt x="429" y="593"/>
                    </a:lnTo>
                    <a:lnTo>
                      <a:pt x="443" y="587"/>
                    </a:lnTo>
                    <a:lnTo>
                      <a:pt x="456" y="580"/>
                    </a:lnTo>
                    <a:lnTo>
                      <a:pt x="468" y="573"/>
                    </a:lnTo>
                    <a:lnTo>
                      <a:pt x="481" y="564"/>
                    </a:lnTo>
                    <a:lnTo>
                      <a:pt x="493" y="556"/>
                    </a:lnTo>
                    <a:lnTo>
                      <a:pt x="505" y="546"/>
                    </a:lnTo>
                    <a:lnTo>
                      <a:pt x="516" y="537"/>
                    </a:lnTo>
                    <a:lnTo>
                      <a:pt x="527" y="527"/>
                    </a:lnTo>
                    <a:lnTo>
                      <a:pt x="537" y="516"/>
                    </a:lnTo>
                    <a:lnTo>
                      <a:pt x="546" y="505"/>
                    </a:lnTo>
                    <a:lnTo>
                      <a:pt x="556" y="493"/>
                    </a:lnTo>
                    <a:lnTo>
                      <a:pt x="564" y="481"/>
                    </a:lnTo>
                    <a:lnTo>
                      <a:pt x="573" y="468"/>
                    </a:lnTo>
                    <a:lnTo>
                      <a:pt x="580" y="456"/>
                    </a:lnTo>
                    <a:lnTo>
                      <a:pt x="587" y="443"/>
                    </a:lnTo>
                    <a:lnTo>
                      <a:pt x="593" y="429"/>
                    </a:lnTo>
                    <a:lnTo>
                      <a:pt x="598" y="415"/>
                    </a:lnTo>
                    <a:lnTo>
                      <a:pt x="603" y="400"/>
                    </a:lnTo>
                    <a:lnTo>
                      <a:pt x="607" y="385"/>
                    </a:lnTo>
                    <a:lnTo>
                      <a:pt x="611" y="370"/>
                    </a:lnTo>
                    <a:lnTo>
                      <a:pt x="613" y="355"/>
                    </a:lnTo>
                    <a:lnTo>
                      <a:pt x="616" y="340"/>
                    </a:lnTo>
                    <a:lnTo>
                      <a:pt x="617" y="324"/>
                    </a:lnTo>
                    <a:lnTo>
                      <a:pt x="617" y="308"/>
                    </a:lnTo>
                    <a:lnTo>
                      <a:pt x="617" y="308"/>
                    </a:lnTo>
                    <a:lnTo>
                      <a:pt x="617" y="292"/>
                    </a:lnTo>
                    <a:lnTo>
                      <a:pt x="616" y="277"/>
                    </a:lnTo>
                    <a:lnTo>
                      <a:pt x="613" y="261"/>
                    </a:lnTo>
                    <a:lnTo>
                      <a:pt x="611" y="247"/>
                    </a:lnTo>
                    <a:lnTo>
                      <a:pt x="607" y="232"/>
                    </a:lnTo>
                    <a:lnTo>
                      <a:pt x="603" y="217"/>
                    </a:lnTo>
                    <a:lnTo>
                      <a:pt x="598" y="203"/>
                    </a:lnTo>
                    <a:lnTo>
                      <a:pt x="593" y="189"/>
                    </a:lnTo>
                    <a:lnTo>
                      <a:pt x="587" y="175"/>
                    </a:lnTo>
                    <a:lnTo>
                      <a:pt x="580" y="161"/>
                    </a:lnTo>
                    <a:lnTo>
                      <a:pt x="573" y="148"/>
                    </a:lnTo>
                    <a:lnTo>
                      <a:pt x="564" y="136"/>
                    </a:lnTo>
                    <a:lnTo>
                      <a:pt x="556" y="124"/>
                    </a:lnTo>
                    <a:lnTo>
                      <a:pt x="546" y="112"/>
                    </a:lnTo>
                    <a:lnTo>
                      <a:pt x="537" y="101"/>
                    </a:lnTo>
                    <a:lnTo>
                      <a:pt x="527" y="91"/>
                    </a:lnTo>
                    <a:lnTo>
                      <a:pt x="516" y="80"/>
                    </a:lnTo>
                    <a:lnTo>
                      <a:pt x="505" y="71"/>
                    </a:lnTo>
                    <a:lnTo>
                      <a:pt x="493" y="61"/>
                    </a:lnTo>
                    <a:lnTo>
                      <a:pt x="481" y="52"/>
                    </a:lnTo>
                    <a:lnTo>
                      <a:pt x="468" y="45"/>
                    </a:lnTo>
                    <a:lnTo>
                      <a:pt x="456" y="37"/>
                    </a:lnTo>
                    <a:lnTo>
                      <a:pt x="443" y="30"/>
                    </a:lnTo>
                    <a:lnTo>
                      <a:pt x="429" y="25"/>
                    </a:lnTo>
                    <a:lnTo>
                      <a:pt x="415" y="18"/>
                    </a:lnTo>
                    <a:lnTo>
                      <a:pt x="400" y="14"/>
                    </a:lnTo>
                    <a:lnTo>
                      <a:pt x="385" y="10"/>
                    </a:lnTo>
                    <a:lnTo>
                      <a:pt x="370" y="7"/>
                    </a:lnTo>
                    <a:lnTo>
                      <a:pt x="355" y="3"/>
                    </a:lnTo>
                    <a:lnTo>
                      <a:pt x="340" y="1"/>
                    </a:lnTo>
                    <a:lnTo>
                      <a:pt x="324" y="0"/>
                    </a:lnTo>
                    <a:lnTo>
                      <a:pt x="308" y="0"/>
                    </a:lnTo>
                    <a:lnTo>
                      <a:pt x="308" y="0"/>
                    </a:lnTo>
                    <a:lnTo>
                      <a:pt x="292" y="0"/>
                    </a:lnTo>
                    <a:lnTo>
                      <a:pt x="277" y="1"/>
                    </a:lnTo>
                    <a:lnTo>
                      <a:pt x="261" y="3"/>
                    </a:lnTo>
                    <a:lnTo>
                      <a:pt x="246" y="7"/>
                    </a:lnTo>
                    <a:lnTo>
                      <a:pt x="232" y="10"/>
                    </a:lnTo>
                    <a:lnTo>
                      <a:pt x="217" y="14"/>
                    </a:lnTo>
                    <a:lnTo>
                      <a:pt x="203" y="18"/>
                    </a:lnTo>
                    <a:lnTo>
                      <a:pt x="188" y="25"/>
                    </a:lnTo>
                    <a:lnTo>
                      <a:pt x="175" y="30"/>
                    </a:lnTo>
                    <a:lnTo>
                      <a:pt x="161" y="37"/>
                    </a:lnTo>
                    <a:lnTo>
                      <a:pt x="148" y="45"/>
                    </a:lnTo>
                    <a:lnTo>
                      <a:pt x="136" y="52"/>
                    </a:lnTo>
                    <a:lnTo>
                      <a:pt x="124" y="61"/>
                    </a:lnTo>
                    <a:lnTo>
                      <a:pt x="112" y="71"/>
                    </a:lnTo>
                    <a:lnTo>
                      <a:pt x="101" y="80"/>
                    </a:lnTo>
                    <a:lnTo>
                      <a:pt x="91" y="91"/>
                    </a:lnTo>
                    <a:lnTo>
                      <a:pt x="80" y="101"/>
                    </a:lnTo>
                    <a:lnTo>
                      <a:pt x="70" y="112"/>
                    </a:lnTo>
                    <a:lnTo>
                      <a:pt x="61" y="124"/>
                    </a:lnTo>
                    <a:lnTo>
                      <a:pt x="52" y="136"/>
                    </a:lnTo>
                    <a:lnTo>
                      <a:pt x="45" y="148"/>
                    </a:lnTo>
                    <a:lnTo>
                      <a:pt x="37" y="161"/>
                    </a:lnTo>
                    <a:lnTo>
                      <a:pt x="30" y="175"/>
                    </a:lnTo>
                    <a:lnTo>
                      <a:pt x="25" y="189"/>
                    </a:lnTo>
                    <a:lnTo>
                      <a:pt x="18" y="203"/>
                    </a:lnTo>
                    <a:lnTo>
                      <a:pt x="14" y="217"/>
                    </a:lnTo>
                    <a:lnTo>
                      <a:pt x="10" y="232"/>
                    </a:lnTo>
                    <a:lnTo>
                      <a:pt x="6" y="247"/>
                    </a:lnTo>
                    <a:lnTo>
                      <a:pt x="3" y="261"/>
                    </a:lnTo>
                    <a:lnTo>
                      <a:pt x="1" y="277"/>
                    </a:lnTo>
                    <a:lnTo>
                      <a:pt x="0" y="292"/>
                    </a:lnTo>
                    <a:lnTo>
                      <a:pt x="0" y="308"/>
                    </a:lnTo>
                    <a:lnTo>
                      <a:pt x="0" y="308"/>
                    </a:lnTo>
                    <a:lnTo>
                      <a:pt x="0" y="324"/>
                    </a:lnTo>
                    <a:lnTo>
                      <a:pt x="1" y="340"/>
                    </a:lnTo>
                    <a:lnTo>
                      <a:pt x="3" y="355"/>
                    </a:lnTo>
                    <a:lnTo>
                      <a:pt x="6" y="370"/>
                    </a:lnTo>
                    <a:lnTo>
                      <a:pt x="10" y="385"/>
                    </a:lnTo>
                    <a:lnTo>
                      <a:pt x="14" y="400"/>
                    </a:lnTo>
                    <a:lnTo>
                      <a:pt x="18" y="415"/>
                    </a:lnTo>
                    <a:lnTo>
                      <a:pt x="25" y="429"/>
                    </a:lnTo>
                    <a:lnTo>
                      <a:pt x="30" y="443"/>
                    </a:lnTo>
                    <a:lnTo>
                      <a:pt x="37" y="456"/>
                    </a:lnTo>
                    <a:lnTo>
                      <a:pt x="45" y="468"/>
                    </a:lnTo>
                    <a:lnTo>
                      <a:pt x="52" y="481"/>
                    </a:lnTo>
                    <a:lnTo>
                      <a:pt x="61" y="493"/>
                    </a:lnTo>
                    <a:lnTo>
                      <a:pt x="70" y="505"/>
                    </a:lnTo>
                    <a:lnTo>
                      <a:pt x="80" y="516"/>
                    </a:lnTo>
                    <a:lnTo>
                      <a:pt x="91" y="527"/>
                    </a:lnTo>
                    <a:lnTo>
                      <a:pt x="101" y="537"/>
                    </a:lnTo>
                    <a:lnTo>
                      <a:pt x="112" y="546"/>
                    </a:lnTo>
                    <a:lnTo>
                      <a:pt x="124" y="556"/>
                    </a:lnTo>
                    <a:lnTo>
                      <a:pt x="136" y="564"/>
                    </a:lnTo>
                    <a:lnTo>
                      <a:pt x="148" y="573"/>
                    </a:lnTo>
                    <a:lnTo>
                      <a:pt x="161" y="580"/>
                    </a:lnTo>
                    <a:lnTo>
                      <a:pt x="175" y="587"/>
                    </a:lnTo>
                    <a:lnTo>
                      <a:pt x="188" y="593"/>
                    </a:lnTo>
                    <a:lnTo>
                      <a:pt x="203" y="599"/>
                    </a:lnTo>
                    <a:lnTo>
                      <a:pt x="217" y="603"/>
                    </a:lnTo>
                    <a:lnTo>
                      <a:pt x="232" y="607"/>
                    </a:lnTo>
                    <a:lnTo>
                      <a:pt x="246" y="611"/>
                    </a:lnTo>
                    <a:lnTo>
                      <a:pt x="261" y="614"/>
                    </a:lnTo>
                    <a:lnTo>
                      <a:pt x="277" y="616"/>
                    </a:lnTo>
                    <a:lnTo>
                      <a:pt x="292" y="617"/>
                    </a:lnTo>
                    <a:lnTo>
                      <a:pt x="308" y="617"/>
                    </a:lnTo>
                    <a:lnTo>
                      <a:pt x="308"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85" name="Freeform 133"/>
              <p:cNvSpPr/>
              <p:nvPr/>
            </p:nvSpPr>
            <p:spPr bwMode="auto">
              <a:xfrm>
                <a:off x="1182688" y="2181226"/>
                <a:ext cx="954088" cy="1720850"/>
              </a:xfrm>
              <a:custGeom>
                <a:avLst/>
                <a:gdLst>
                  <a:gd name="T0" fmla="*/ 1484 w 1805"/>
                  <a:gd name="T1" fmla="*/ 188 h 3254"/>
                  <a:gd name="T2" fmla="*/ 1447 w 1805"/>
                  <a:gd name="T3" fmla="*/ 105 h 3254"/>
                  <a:gd name="T4" fmla="*/ 1396 w 1805"/>
                  <a:gd name="T5" fmla="*/ 46 h 3254"/>
                  <a:gd name="T6" fmla="*/ 1356 w 1805"/>
                  <a:gd name="T7" fmla="*/ 19 h 3254"/>
                  <a:gd name="T8" fmla="*/ 1306 w 1805"/>
                  <a:gd name="T9" fmla="*/ 3 h 3254"/>
                  <a:gd name="T10" fmla="*/ 874 w 1805"/>
                  <a:gd name="T11" fmla="*/ 0 h 3254"/>
                  <a:gd name="T12" fmla="*/ 513 w 1805"/>
                  <a:gd name="T13" fmla="*/ 1 h 3254"/>
                  <a:gd name="T14" fmla="*/ 461 w 1805"/>
                  <a:gd name="T15" fmla="*/ 14 h 3254"/>
                  <a:gd name="T16" fmla="*/ 418 w 1805"/>
                  <a:gd name="T17" fmla="*/ 39 h 3254"/>
                  <a:gd name="T18" fmla="*/ 370 w 1805"/>
                  <a:gd name="T19" fmla="*/ 88 h 3254"/>
                  <a:gd name="T20" fmla="*/ 332 w 1805"/>
                  <a:gd name="T21" fmla="*/ 158 h 3254"/>
                  <a:gd name="T22" fmla="*/ 5 w 1805"/>
                  <a:gd name="T23" fmla="*/ 1212 h 3254"/>
                  <a:gd name="T24" fmla="*/ 1 w 1805"/>
                  <a:gd name="T25" fmla="*/ 1263 h 3254"/>
                  <a:gd name="T26" fmla="*/ 15 w 1805"/>
                  <a:gd name="T27" fmla="*/ 1310 h 3254"/>
                  <a:gd name="T28" fmla="*/ 46 w 1805"/>
                  <a:gd name="T29" fmla="*/ 1349 h 3254"/>
                  <a:gd name="T30" fmla="*/ 91 w 1805"/>
                  <a:gd name="T31" fmla="*/ 1373 h 3254"/>
                  <a:gd name="T32" fmla="*/ 129 w 1805"/>
                  <a:gd name="T33" fmla="*/ 1378 h 3254"/>
                  <a:gd name="T34" fmla="*/ 178 w 1805"/>
                  <a:gd name="T35" fmla="*/ 1369 h 3254"/>
                  <a:gd name="T36" fmla="*/ 219 w 1805"/>
                  <a:gd name="T37" fmla="*/ 1342 h 3254"/>
                  <a:gd name="T38" fmla="*/ 248 w 1805"/>
                  <a:gd name="T39" fmla="*/ 1300 h 3254"/>
                  <a:gd name="T40" fmla="*/ 527 w 1805"/>
                  <a:gd name="T41" fmla="*/ 428 h 3254"/>
                  <a:gd name="T42" fmla="*/ 548 w 1805"/>
                  <a:gd name="T43" fmla="*/ 3102 h 3254"/>
                  <a:gd name="T44" fmla="*/ 555 w 1805"/>
                  <a:gd name="T45" fmla="*/ 3147 h 3254"/>
                  <a:gd name="T46" fmla="*/ 583 w 1805"/>
                  <a:gd name="T47" fmla="*/ 3198 h 3254"/>
                  <a:gd name="T48" fmla="*/ 627 w 1805"/>
                  <a:gd name="T49" fmla="*/ 3236 h 3254"/>
                  <a:gd name="T50" fmla="*/ 684 w 1805"/>
                  <a:gd name="T51" fmla="*/ 3253 h 3254"/>
                  <a:gd name="T52" fmla="*/ 730 w 1805"/>
                  <a:gd name="T53" fmla="*/ 3251 h 3254"/>
                  <a:gd name="T54" fmla="*/ 783 w 1805"/>
                  <a:gd name="T55" fmla="*/ 3227 h 3254"/>
                  <a:gd name="T56" fmla="*/ 825 w 1805"/>
                  <a:gd name="T57" fmla="*/ 3187 h 3254"/>
                  <a:gd name="T58" fmla="*/ 847 w 1805"/>
                  <a:gd name="T59" fmla="*/ 3133 h 3254"/>
                  <a:gd name="T60" fmla="*/ 903 w 1805"/>
                  <a:gd name="T61" fmla="*/ 1923 h 3254"/>
                  <a:gd name="T62" fmla="*/ 956 w 1805"/>
                  <a:gd name="T63" fmla="*/ 3118 h 3254"/>
                  <a:gd name="T64" fmla="*/ 973 w 1805"/>
                  <a:gd name="T65" fmla="*/ 3175 h 3254"/>
                  <a:gd name="T66" fmla="*/ 1010 w 1805"/>
                  <a:gd name="T67" fmla="*/ 3219 h 3254"/>
                  <a:gd name="T68" fmla="*/ 1062 w 1805"/>
                  <a:gd name="T69" fmla="*/ 3246 h 3254"/>
                  <a:gd name="T70" fmla="*/ 1106 w 1805"/>
                  <a:gd name="T71" fmla="*/ 3254 h 3254"/>
                  <a:gd name="T72" fmla="*/ 1165 w 1805"/>
                  <a:gd name="T73" fmla="*/ 3242 h 3254"/>
                  <a:gd name="T74" fmla="*/ 1213 w 1805"/>
                  <a:gd name="T75" fmla="*/ 3209 h 3254"/>
                  <a:gd name="T76" fmla="*/ 1245 w 1805"/>
                  <a:gd name="T77" fmla="*/ 3161 h 3254"/>
                  <a:gd name="T78" fmla="*/ 1257 w 1805"/>
                  <a:gd name="T79" fmla="*/ 3102 h 3254"/>
                  <a:gd name="T80" fmla="*/ 1278 w 1805"/>
                  <a:gd name="T81" fmla="*/ 428 h 3254"/>
                  <a:gd name="T82" fmla="*/ 1553 w 1805"/>
                  <a:gd name="T83" fmla="*/ 1288 h 3254"/>
                  <a:gd name="T84" fmla="*/ 1578 w 1805"/>
                  <a:gd name="T85" fmla="*/ 1333 h 3254"/>
                  <a:gd name="T86" fmla="*/ 1616 w 1805"/>
                  <a:gd name="T87" fmla="*/ 1364 h 3254"/>
                  <a:gd name="T88" fmla="*/ 1663 w 1805"/>
                  <a:gd name="T89" fmla="*/ 1378 h 3254"/>
                  <a:gd name="T90" fmla="*/ 1714 w 1805"/>
                  <a:gd name="T91" fmla="*/ 1373 h 3254"/>
                  <a:gd name="T92" fmla="*/ 1749 w 1805"/>
                  <a:gd name="T93" fmla="*/ 1356 h 3254"/>
                  <a:gd name="T94" fmla="*/ 1784 w 1805"/>
                  <a:gd name="T95" fmla="*/ 1321 h 3254"/>
                  <a:gd name="T96" fmla="*/ 1803 w 1805"/>
                  <a:gd name="T97" fmla="*/ 1276 h 3254"/>
                  <a:gd name="T98" fmla="*/ 1803 w 1805"/>
                  <a:gd name="T99" fmla="*/ 1225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5" h="3254">
                    <a:moveTo>
                      <a:pt x="1800" y="1212"/>
                    </a:moveTo>
                    <a:lnTo>
                      <a:pt x="1493" y="209"/>
                    </a:lnTo>
                    <a:lnTo>
                      <a:pt x="1493" y="209"/>
                    </a:lnTo>
                    <a:lnTo>
                      <a:pt x="1484" y="188"/>
                    </a:lnTo>
                    <a:lnTo>
                      <a:pt x="1473" y="158"/>
                    </a:lnTo>
                    <a:lnTo>
                      <a:pt x="1466" y="141"/>
                    </a:lnTo>
                    <a:lnTo>
                      <a:pt x="1457" y="123"/>
                    </a:lnTo>
                    <a:lnTo>
                      <a:pt x="1447" y="105"/>
                    </a:lnTo>
                    <a:lnTo>
                      <a:pt x="1435" y="88"/>
                    </a:lnTo>
                    <a:lnTo>
                      <a:pt x="1421" y="70"/>
                    </a:lnTo>
                    <a:lnTo>
                      <a:pt x="1405" y="54"/>
                    </a:lnTo>
                    <a:lnTo>
                      <a:pt x="1396" y="46"/>
                    </a:lnTo>
                    <a:lnTo>
                      <a:pt x="1387" y="39"/>
                    </a:lnTo>
                    <a:lnTo>
                      <a:pt x="1377" y="31"/>
                    </a:lnTo>
                    <a:lnTo>
                      <a:pt x="1367" y="25"/>
                    </a:lnTo>
                    <a:lnTo>
                      <a:pt x="1356" y="19"/>
                    </a:lnTo>
                    <a:lnTo>
                      <a:pt x="1344" y="14"/>
                    </a:lnTo>
                    <a:lnTo>
                      <a:pt x="1332" y="10"/>
                    </a:lnTo>
                    <a:lnTo>
                      <a:pt x="1320" y="7"/>
                    </a:lnTo>
                    <a:lnTo>
                      <a:pt x="1306" y="3"/>
                    </a:lnTo>
                    <a:lnTo>
                      <a:pt x="1292" y="1"/>
                    </a:lnTo>
                    <a:lnTo>
                      <a:pt x="1277" y="0"/>
                    </a:lnTo>
                    <a:lnTo>
                      <a:pt x="1261" y="0"/>
                    </a:lnTo>
                    <a:lnTo>
                      <a:pt x="874" y="0"/>
                    </a:lnTo>
                    <a:lnTo>
                      <a:pt x="544" y="0"/>
                    </a:lnTo>
                    <a:lnTo>
                      <a:pt x="544" y="0"/>
                    </a:lnTo>
                    <a:lnTo>
                      <a:pt x="528" y="0"/>
                    </a:lnTo>
                    <a:lnTo>
                      <a:pt x="513" y="1"/>
                    </a:lnTo>
                    <a:lnTo>
                      <a:pt x="499" y="3"/>
                    </a:lnTo>
                    <a:lnTo>
                      <a:pt x="486" y="7"/>
                    </a:lnTo>
                    <a:lnTo>
                      <a:pt x="473" y="10"/>
                    </a:lnTo>
                    <a:lnTo>
                      <a:pt x="461" y="14"/>
                    </a:lnTo>
                    <a:lnTo>
                      <a:pt x="449" y="19"/>
                    </a:lnTo>
                    <a:lnTo>
                      <a:pt x="439" y="25"/>
                    </a:lnTo>
                    <a:lnTo>
                      <a:pt x="428" y="31"/>
                    </a:lnTo>
                    <a:lnTo>
                      <a:pt x="418" y="39"/>
                    </a:lnTo>
                    <a:lnTo>
                      <a:pt x="409" y="46"/>
                    </a:lnTo>
                    <a:lnTo>
                      <a:pt x="400" y="54"/>
                    </a:lnTo>
                    <a:lnTo>
                      <a:pt x="384" y="70"/>
                    </a:lnTo>
                    <a:lnTo>
                      <a:pt x="370" y="88"/>
                    </a:lnTo>
                    <a:lnTo>
                      <a:pt x="359" y="105"/>
                    </a:lnTo>
                    <a:lnTo>
                      <a:pt x="348" y="123"/>
                    </a:lnTo>
                    <a:lnTo>
                      <a:pt x="339" y="141"/>
                    </a:lnTo>
                    <a:lnTo>
                      <a:pt x="332" y="158"/>
                    </a:lnTo>
                    <a:lnTo>
                      <a:pt x="320" y="188"/>
                    </a:lnTo>
                    <a:lnTo>
                      <a:pt x="313" y="209"/>
                    </a:lnTo>
                    <a:lnTo>
                      <a:pt x="5" y="1212"/>
                    </a:lnTo>
                    <a:lnTo>
                      <a:pt x="5" y="1212"/>
                    </a:lnTo>
                    <a:lnTo>
                      <a:pt x="2" y="1225"/>
                    </a:lnTo>
                    <a:lnTo>
                      <a:pt x="1" y="1238"/>
                    </a:lnTo>
                    <a:lnTo>
                      <a:pt x="0" y="1250"/>
                    </a:lnTo>
                    <a:lnTo>
                      <a:pt x="1" y="1263"/>
                    </a:lnTo>
                    <a:lnTo>
                      <a:pt x="2" y="1276"/>
                    </a:lnTo>
                    <a:lnTo>
                      <a:pt x="5" y="1288"/>
                    </a:lnTo>
                    <a:lnTo>
                      <a:pt x="10" y="1300"/>
                    </a:lnTo>
                    <a:lnTo>
                      <a:pt x="15" y="1310"/>
                    </a:lnTo>
                    <a:lnTo>
                      <a:pt x="21" y="1321"/>
                    </a:lnTo>
                    <a:lnTo>
                      <a:pt x="29" y="1330"/>
                    </a:lnTo>
                    <a:lnTo>
                      <a:pt x="37" y="1340"/>
                    </a:lnTo>
                    <a:lnTo>
                      <a:pt x="46" y="1349"/>
                    </a:lnTo>
                    <a:lnTo>
                      <a:pt x="57" y="1356"/>
                    </a:lnTo>
                    <a:lnTo>
                      <a:pt x="67" y="1362"/>
                    </a:lnTo>
                    <a:lnTo>
                      <a:pt x="79" y="1369"/>
                    </a:lnTo>
                    <a:lnTo>
                      <a:pt x="91" y="1373"/>
                    </a:lnTo>
                    <a:lnTo>
                      <a:pt x="91" y="1373"/>
                    </a:lnTo>
                    <a:lnTo>
                      <a:pt x="104" y="1376"/>
                    </a:lnTo>
                    <a:lnTo>
                      <a:pt x="116" y="1378"/>
                    </a:lnTo>
                    <a:lnTo>
                      <a:pt x="129" y="1378"/>
                    </a:lnTo>
                    <a:lnTo>
                      <a:pt x="142" y="1378"/>
                    </a:lnTo>
                    <a:lnTo>
                      <a:pt x="155" y="1376"/>
                    </a:lnTo>
                    <a:lnTo>
                      <a:pt x="167" y="1373"/>
                    </a:lnTo>
                    <a:lnTo>
                      <a:pt x="178" y="1369"/>
                    </a:lnTo>
                    <a:lnTo>
                      <a:pt x="189" y="1364"/>
                    </a:lnTo>
                    <a:lnTo>
                      <a:pt x="200" y="1357"/>
                    </a:lnTo>
                    <a:lnTo>
                      <a:pt x="209" y="1350"/>
                    </a:lnTo>
                    <a:lnTo>
                      <a:pt x="219" y="1342"/>
                    </a:lnTo>
                    <a:lnTo>
                      <a:pt x="227" y="1333"/>
                    </a:lnTo>
                    <a:lnTo>
                      <a:pt x="235" y="1323"/>
                    </a:lnTo>
                    <a:lnTo>
                      <a:pt x="241" y="1311"/>
                    </a:lnTo>
                    <a:lnTo>
                      <a:pt x="248" y="1300"/>
                    </a:lnTo>
                    <a:lnTo>
                      <a:pt x="252" y="1288"/>
                    </a:lnTo>
                    <a:lnTo>
                      <a:pt x="515" y="427"/>
                    </a:lnTo>
                    <a:lnTo>
                      <a:pt x="515" y="427"/>
                    </a:lnTo>
                    <a:lnTo>
                      <a:pt x="527" y="428"/>
                    </a:lnTo>
                    <a:lnTo>
                      <a:pt x="562" y="428"/>
                    </a:lnTo>
                    <a:lnTo>
                      <a:pt x="164" y="1923"/>
                    </a:lnTo>
                    <a:lnTo>
                      <a:pt x="548" y="1923"/>
                    </a:lnTo>
                    <a:lnTo>
                      <a:pt x="548" y="3102"/>
                    </a:lnTo>
                    <a:lnTo>
                      <a:pt x="548" y="3102"/>
                    </a:lnTo>
                    <a:lnTo>
                      <a:pt x="548" y="3118"/>
                    </a:lnTo>
                    <a:lnTo>
                      <a:pt x="551" y="3133"/>
                    </a:lnTo>
                    <a:lnTo>
                      <a:pt x="555" y="3147"/>
                    </a:lnTo>
                    <a:lnTo>
                      <a:pt x="560" y="3161"/>
                    </a:lnTo>
                    <a:lnTo>
                      <a:pt x="567" y="3175"/>
                    </a:lnTo>
                    <a:lnTo>
                      <a:pt x="574" y="3187"/>
                    </a:lnTo>
                    <a:lnTo>
                      <a:pt x="583" y="3198"/>
                    </a:lnTo>
                    <a:lnTo>
                      <a:pt x="592" y="3209"/>
                    </a:lnTo>
                    <a:lnTo>
                      <a:pt x="603" y="3219"/>
                    </a:lnTo>
                    <a:lnTo>
                      <a:pt x="615" y="3227"/>
                    </a:lnTo>
                    <a:lnTo>
                      <a:pt x="627" y="3236"/>
                    </a:lnTo>
                    <a:lnTo>
                      <a:pt x="640" y="3242"/>
                    </a:lnTo>
                    <a:lnTo>
                      <a:pt x="654" y="3246"/>
                    </a:lnTo>
                    <a:lnTo>
                      <a:pt x="669" y="3251"/>
                    </a:lnTo>
                    <a:lnTo>
                      <a:pt x="684" y="3253"/>
                    </a:lnTo>
                    <a:lnTo>
                      <a:pt x="699" y="3254"/>
                    </a:lnTo>
                    <a:lnTo>
                      <a:pt x="699" y="3254"/>
                    </a:lnTo>
                    <a:lnTo>
                      <a:pt x="715" y="3253"/>
                    </a:lnTo>
                    <a:lnTo>
                      <a:pt x="730" y="3251"/>
                    </a:lnTo>
                    <a:lnTo>
                      <a:pt x="744" y="3246"/>
                    </a:lnTo>
                    <a:lnTo>
                      <a:pt x="758" y="3242"/>
                    </a:lnTo>
                    <a:lnTo>
                      <a:pt x="771" y="3236"/>
                    </a:lnTo>
                    <a:lnTo>
                      <a:pt x="783" y="3227"/>
                    </a:lnTo>
                    <a:lnTo>
                      <a:pt x="795" y="3219"/>
                    </a:lnTo>
                    <a:lnTo>
                      <a:pt x="806" y="3209"/>
                    </a:lnTo>
                    <a:lnTo>
                      <a:pt x="815" y="3198"/>
                    </a:lnTo>
                    <a:lnTo>
                      <a:pt x="825" y="3187"/>
                    </a:lnTo>
                    <a:lnTo>
                      <a:pt x="832" y="3175"/>
                    </a:lnTo>
                    <a:lnTo>
                      <a:pt x="839" y="3161"/>
                    </a:lnTo>
                    <a:lnTo>
                      <a:pt x="843" y="3147"/>
                    </a:lnTo>
                    <a:lnTo>
                      <a:pt x="847" y="3133"/>
                    </a:lnTo>
                    <a:lnTo>
                      <a:pt x="849" y="3118"/>
                    </a:lnTo>
                    <a:lnTo>
                      <a:pt x="850" y="3102"/>
                    </a:lnTo>
                    <a:lnTo>
                      <a:pt x="850" y="1923"/>
                    </a:lnTo>
                    <a:lnTo>
                      <a:pt x="903" y="1923"/>
                    </a:lnTo>
                    <a:lnTo>
                      <a:pt x="955" y="1923"/>
                    </a:lnTo>
                    <a:lnTo>
                      <a:pt x="955" y="3102"/>
                    </a:lnTo>
                    <a:lnTo>
                      <a:pt x="955" y="3102"/>
                    </a:lnTo>
                    <a:lnTo>
                      <a:pt x="956" y="3118"/>
                    </a:lnTo>
                    <a:lnTo>
                      <a:pt x="958" y="3133"/>
                    </a:lnTo>
                    <a:lnTo>
                      <a:pt x="962" y="3147"/>
                    </a:lnTo>
                    <a:lnTo>
                      <a:pt x="967" y="3161"/>
                    </a:lnTo>
                    <a:lnTo>
                      <a:pt x="973" y="3175"/>
                    </a:lnTo>
                    <a:lnTo>
                      <a:pt x="980" y="3187"/>
                    </a:lnTo>
                    <a:lnTo>
                      <a:pt x="990" y="3198"/>
                    </a:lnTo>
                    <a:lnTo>
                      <a:pt x="1000" y="3209"/>
                    </a:lnTo>
                    <a:lnTo>
                      <a:pt x="1010" y="3219"/>
                    </a:lnTo>
                    <a:lnTo>
                      <a:pt x="1022" y="3227"/>
                    </a:lnTo>
                    <a:lnTo>
                      <a:pt x="1034" y="3236"/>
                    </a:lnTo>
                    <a:lnTo>
                      <a:pt x="1048" y="3242"/>
                    </a:lnTo>
                    <a:lnTo>
                      <a:pt x="1062" y="3246"/>
                    </a:lnTo>
                    <a:lnTo>
                      <a:pt x="1075" y="3251"/>
                    </a:lnTo>
                    <a:lnTo>
                      <a:pt x="1090" y="3253"/>
                    </a:lnTo>
                    <a:lnTo>
                      <a:pt x="1106" y="3254"/>
                    </a:lnTo>
                    <a:lnTo>
                      <a:pt x="1106" y="3254"/>
                    </a:lnTo>
                    <a:lnTo>
                      <a:pt x="1121" y="3253"/>
                    </a:lnTo>
                    <a:lnTo>
                      <a:pt x="1136" y="3251"/>
                    </a:lnTo>
                    <a:lnTo>
                      <a:pt x="1151" y="3246"/>
                    </a:lnTo>
                    <a:lnTo>
                      <a:pt x="1165" y="3242"/>
                    </a:lnTo>
                    <a:lnTo>
                      <a:pt x="1178" y="3236"/>
                    </a:lnTo>
                    <a:lnTo>
                      <a:pt x="1191" y="3227"/>
                    </a:lnTo>
                    <a:lnTo>
                      <a:pt x="1202" y="3219"/>
                    </a:lnTo>
                    <a:lnTo>
                      <a:pt x="1213" y="3209"/>
                    </a:lnTo>
                    <a:lnTo>
                      <a:pt x="1223" y="3198"/>
                    </a:lnTo>
                    <a:lnTo>
                      <a:pt x="1231" y="3187"/>
                    </a:lnTo>
                    <a:lnTo>
                      <a:pt x="1239" y="3175"/>
                    </a:lnTo>
                    <a:lnTo>
                      <a:pt x="1245" y="3161"/>
                    </a:lnTo>
                    <a:lnTo>
                      <a:pt x="1250" y="3147"/>
                    </a:lnTo>
                    <a:lnTo>
                      <a:pt x="1255" y="3133"/>
                    </a:lnTo>
                    <a:lnTo>
                      <a:pt x="1257" y="3118"/>
                    </a:lnTo>
                    <a:lnTo>
                      <a:pt x="1257" y="3102"/>
                    </a:lnTo>
                    <a:lnTo>
                      <a:pt x="1257" y="1923"/>
                    </a:lnTo>
                    <a:lnTo>
                      <a:pt x="1641" y="1923"/>
                    </a:lnTo>
                    <a:lnTo>
                      <a:pt x="1243" y="428"/>
                    </a:lnTo>
                    <a:lnTo>
                      <a:pt x="1278" y="428"/>
                    </a:lnTo>
                    <a:lnTo>
                      <a:pt x="1278" y="428"/>
                    </a:lnTo>
                    <a:lnTo>
                      <a:pt x="1290" y="427"/>
                    </a:lnTo>
                    <a:lnTo>
                      <a:pt x="1553" y="1288"/>
                    </a:lnTo>
                    <a:lnTo>
                      <a:pt x="1553" y="1288"/>
                    </a:lnTo>
                    <a:lnTo>
                      <a:pt x="1558" y="1300"/>
                    </a:lnTo>
                    <a:lnTo>
                      <a:pt x="1564" y="1311"/>
                    </a:lnTo>
                    <a:lnTo>
                      <a:pt x="1570" y="1323"/>
                    </a:lnTo>
                    <a:lnTo>
                      <a:pt x="1578" y="1333"/>
                    </a:lnTo>
                    <a:lnTo>
                      <a:pt x="1586" y="1342"/>
                    </a:lnTo>
                    <a:lnTo>
                      <a:pt x="1595" y="1350"/>
                    </a:lnTo>
                    <a:lnTo>
                      <a:pt x="1606" y="1357"/>
                    </a:lnTo>
                    <a:lnTo>
                      <a:pt x="1616" y="1364"/>
                    </a:lnTo>
                    <a:lnTo>
                      <a:pt x="1627" y="1369"/>
                    </a:lnTo>
                    <a:lnTo>
                      <a:pt x="1639" y="1373"/>
                    </a:lnTo>
                    <a:lnTo>
                      <a:pt x="1650" y="1376"/>
                    </a:lnTo>
                    <a:lnTo>
                      <a:pt x="1663" y="1378"/>
                    </a:lnTo>
                    <a:lnTo>
                      <a:pt x="1676" y="1378"/>
                    </a:lnTo>
                    <a:lnTo>
                      <a:pt x="1689" y="1378"/>
                    </a:lnTo>
                    <a:lnTo>
                      <a:pt x="1702" y="1376"/>
                    </a:lnTo>
                    <a:lnTo>
                      <a:pt x="1714" y="1373"/>
                    </a:lnTo>
                    <a:lnTo>
                      <a:pt x="1714" y="1373"/>
                    </a:lnTo>
                    <a:lnTo>
                      <a:pt x="1726" y="1369"/>
                    </a:lnTo>
                    <a:lnTo>
                      <a:pt x="1738" y="1362"/>
                    </a:lnTo>
                    <a:lnTo>
                      <a:pt x="1749" y="1356"/>
                    </a:lnTo>
                    <a:lnTo>
                      <a:pt x="1759" y="1349"/>
                    </a:lnTo>
                    <a:lnTo>
                      <a:pt x="1768" y="1340"/>
                    </a:lnTo>
                    <a:lnTo>
                      <a:pt x="1776" y="1330"/>
                    </a:lnTo>
                    <a:lnTo>
                      <a:pt x="1784" y="1321"/>
                    </a:lnTo>
                    <a:lnTo>
                      <a:pt x="1790" y="1310"/>
                    </a:lnTo>
                    <a:lnTo>
                      <a:pt x="1795" y="1300"/>
                    </a:lnTo>
                    <a:lnTo>
                      <a:pt x="1800" y="1288"/>
                    </a:lnTo>
                    <a:lnTo>
                      <a:pt x="1803" y="1276"/>
                    </a:lnTo>
                    <a:lnTo>
                      <a:pt x="1804" y="1263"/>
                    </a:lnTo>
                    <a:lnTo>
                      <a:pt x="1805" y="1250"/>
                    </a:lnTo>
                    <a:lnTo>
                      <a:pt x="1804" y="1238"/>
                    </a:lnTo>
                    <a:lnTo>
                      <a:pt x="1803" y="1225"/>
                    </a:lnTo>
                    <a:lnTo>
                      <a:pt x="1800" y="1212"/>
                    </a:lnTo>
                    <a:lnTo>
                      <a:pt x="1800" y="1212"/>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78" name="Group 126"/>
            <p:cNvGrpSpPr/>
            <p:nvPr/>
          </p:nvGrpSpPr>
          <p:grpSpPr>
            <a:xfrm>
              <a:off x="7670800" y="2917827"/>
              <a:ext cx="498662" cy="1098550"/>
              <a:chOff x="1182688" y="1800226"/>
              <a:chExt cx="954088" cy="2101850"/>
            </a:xfrm>
            <a:grpFill/>
            <a:effectLst/>
          </p:grpSpPr>
          <p:sp>
            <p:nvSpPr>
              <p:cNvPr id="82" name="Freeform 130"/>
              <p:cNvSpPr/>
              <p:nvPr/>
            </p:nvSpPr>
            <p:spPr bwMode="auto">
              <a:xfrm>
                <a:off x="1503363" y="1800226"/>
                <a:ext cx="325438" cy="325438"/>
              </a:xfrm>
              <a:custGeom>
                <a:avLst/>
                <a:gdLst>
                  <a:gd name="T0" fmla="*/ 324 w 617"/>
                  <a:gd name="T1" fmla="*/ 617 h 617"/>
                  <a:gd name="T2" fmla="*/ 370 w 617"/>
                  <a:gd name="T3" fmla="*/ 611 h 617"/>
                  <a:gd name="T4" fmla="*/ 415 w 617"/>
                  <a:gd name="T5" fmla="*/ 599 h 617"/>
                  <a:gd name="T6" fmla="*/ 456 w 617"/>
                  <a:gd name="T7" fmla="*/ 580 h 617"/>
                  <a:gd name="T8" fmla="*/ 493 w 617"/>
                  <a:gd name="T9" fmla="*/ 556 h 617"/>
                  <a:gd name="T10" fmla="*/ 527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7 w 617"/>
                  <a:gd name="T33" fmla="*/ 91 h 617"/>
                  <a:gd name="T34" fmla="*/ 493 w 617"/>
                  <a:gd name="T35" fmla="*/ 61 h 617"/>
                  <a:gd name="T36" fmla="*/ 456 w 617"/>
                  <a:gd name="T37" fmla="*/ 37 h 617"/>
                  <a:gd name="T38" fmla="*/ 415 w 617"/>
                  <a:gd name="T39" fmla="*/ 18 h 617"/>
                  <a:gd name="T40" fmla="*/ 370 w 617"/>
                  <a:gd name="T41" fmla="*/ 7 h 617"/>
                  <a:gd name="T42" fmla="*/ 324 w 617"/>
                  <a:gd name="T43" fmla="*/ 0 h 617"/>
                  <a:gd name="T44" fmla="*/ 292 w 617"/>
                  <a:gd name="T45" fmla="*/ 0 h 617"/>
                  <a:gd name="T46" fmla="*/ 246 w 617"/>
                  <a:gd name="T47" fmla="*/ 7 h 617"/>
                  <a:gd name="T48" fmla="*/ 203 w 617"/>
                  <a:gd name="T49" fmla="*/ 18 h 617"/>
                  <a:gd name="T50" fmla="*/ 161 w 617"/>
                  <a:gd name="T51" fmla="*/ 37 h 617"/>
                  <a:gd name="T52" fmla="*/ 124 w 617"/>
                  <a:gd name="T53" fmla="*/ 61 h 617"/>
                  <a:gd name="T54" fmla="*/ 91 w 617"/>
                  <a:gd name="T55" fmla="*/ 91 h 617"/>
                  <a:gd name="T56" fmla="*/ 61 w 617"/>
                  <a:gd name="T57" fmla="*/ 124 h 617"/>
                  <a:gd name="T58" fmla="*/ 37 w 617"/>
                  <a:gd name="T59" fmla="*/ 161 h 617"/>
                  <a:gd name="T60" fmla="*/ 18 w 617"/>
                  <a:gd name="T61" fmla="*/ 203 h 617"/>
                  <a:gd name="T62" fmla="*/ 6 w 617"/>
                  <a:gd name="T63" fmla="*/ 247 h 617"/>
                  <a:gd name="T64" fmla="*/ 0 w 617"/>
                  <a:gd name="T65" fmla="*/ 292 h 617"/>
                  <a:gd name="T66" fmla="*/ 0 w 617"/>
                  <a:gd name="T67" fmla="*/ 324 h 617"/>
                  <a:gd name="T68" fmla="*/ 6 w 617"/>
                  <a:gd name="T69" fmla="*/ 370 h 617"/>
                  <a:gd name="T70" fmla="*/ 18 w 617"/>
                  <a:gd name="T71" fmla="*/ 415 h 617"/>
                  <a:gd name="T72" fmla="*/ 37 w 617"/>
                  <a:gd name="T73" fmla="*/ 456 h 617"/>
                  <a:gd name="T74" fmla="*/ 61 w 617"/>
                  <a:gd name="T75" fmla="*/ 493 h 617"/>
                  <a:gd name="T76" fmla="*/ 91 w 617"/>
                  <a:gd name="T77" fmla="*/ 527 h 617"/>
                  <a:gd name="T78" fmla="*/ 124 w 617"/>
                  <a:gd name="T79" fmla="*/ 556 h 617"/>
                  <a:gd name="T80" fmla="*/ 161 w 617"/>
                  <a:gd name="T81" fmla="*/ 580 h 617"/>
                  <a:gd name="T82" fmla="*/ 203 w 617"/>
                  <a:gd name="T83" fmla="*/ 599 h 617"/>
                  <a:gd name="T84" fmla="*/ 246 w 617"/>
                  <a:gd name="T85" fmla="*/ 611 h 617"/>
                  <a:gd name="T86" fmla="*/ 292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8" y="617"/>
                    </a:moveTo>
                    <a:lnTo>
                      <a:pt x="308" y="617"/>
                    </a:lnTo>
                    <a:lnTo>
                      <a:pt x="324" y="617"/>
                    </a:lnTo>
                    <a:lnTo>
                      <a:pt x="340" y="616"/>
                    </a:lnTo>
                    <a:lnTo>
                      <a:pt x="355" y="614"/>
                    </a:lnTo>
                    <a:lnTo>
                      <a:pt x="370" y="611"/>
                    </a:lnTo>
                    <a:lnTo>
                      <a:pt x="385" y="607"/>
                    </a:lnTo>
                    <a:lnTo>
                      <a:pt x="400" y="603"/>
                    </a:lnTo>
                    <a:lnTo>
                      <a:pt x="415" y="599"/>
                    </a:lnTo>
                    <a:lnTo>
                      <a:pt x="429" y="593"/>
                    </a:lnTo>
                    <a:lnTo>
                      <a:pt x="443" y="587"/>
                    </a:lnTo>
                    <a:lnTo>
                      <a:pt x="456" y="580"/>
                    </a:lnTo>
                    <a:lnTo>
                      <a:pt x="468" y="573"/>
                    </a:lnTo>
                    <a:lnTo>
                      <a:pt x="481" y="564"/>
                    </a:lnTo>
                    <a:lnTo>
                      <a:pt x="493" y="556"/>
                    </a:lnTo>
                    <a:lnTo>
                      <a:pt x="505" y="546"/>
                    </a:lnTo>
                    <a:lnTo>
                      <a:pt x="516" y="537"/>
                    </a:lnTo>
                    <a:lnTo>
                      <a:pt x="527" y="527"/>
                    </a:lnTo>
                    <a:lnTo>
                      <a:pt x="537" y="516"/>
                    </a:lnTo>
                    <a:lnTo>
                      <a:pt x="546" y="505"/>
                    </a:lnTo>
                    <a:lnTo>
                      <a:pt x="556" y="493"/>
                    </a:lnTo>
                    <a:lnTo>
                      <a:pt x="564" y="481"/>
                    </a:lnTo>
                    <a:lnTo>
                      <a:pt x="573" y="468"/>
                    </a:lnTo>
                    <a:lnTo>
                      <a:pt x="580" y="456"/>
                    </a:lnTo>
                    <a:lnTo>
                      <a:pt x="587" y="443"/>
                    </a:lnTo>
                    <a:lnTo>
                      <a:pt x="593" y="429"/>
                    </a:lnTo>
                    <a:lnTo>
                      <a:pt x="598" y="415"/>
                    </a:lnTo>
                    <a:lnTo>
                      <a:pt x="603" y="400"/>
                    </a:lnTo>
                    <a:lnTo>
                      <a:pt x="607" y="385"/>
                    </a:lnTo>
                    <a:lnTo>
                      <a:pt x="611" y="370"/>
                    </a:lnTo>
                    <a:lnTo>
                      <a:pt x="613" y="355"/>
                    </a:lnTo>
                    <a:lnTo>
                      <a:pt x="616" y="340"/>
                    </a:lnTo>
                    <a:lnTo>
                      <a:pt x="617" y="324"/>
                    </a:lnTo>
                    <a:lnTo>
                      <a:pt x="617" y="308"/>
                    </a:lnTo>
                    <a:lnTo>
                      <a:pt x="617" y="308"/>
                    </a:lnTo>
                    <a:lnTo>
                      <a:pt x="617" y="292"/>
                    </a:lnTo>
                    <a:lnTo>
                      <a:pt x="616" y="277"/>
                    </a:lnTo>
                    <a:lnTo>
                      <a:pt x="613" y="261"/>
                    </a:lnTo>
                    <a:lnTo>
                      <a:pt x="611" y="247"/>
                    </a:lnTo>
                    <a:lnTo>
                      <a:pt x="607" y="232"/>
                    </a:lnTo>
                    <a:lnTo>
                      <a:pt x="603" y="217"/>
                    </a:lnTo>
                    <a:lnTo>
                      <a:pt x="598" y="203"/>
                    </a:lnTo>
                    <a:lnTo>
                      <a:pt x="593" y="189"/>
                    </a:lnTo>
                    <a:lnTo>
                      <a:pt x="587" y="175"/>
                    </a:lnTo>
                    <a:lnTo>
                      <a:pt x="580" y="161"/>
                    </a:lnTo>
                    <a:lnTo>
                      <a:pt x="573" y="148"/>
                    </a:lnTo>
                    <a:lnTo>
                      <a:pt x="564" y="136"/>
                    </a:lnTo>
                    <a:lnTo>
                      <a:pt x="556" y="124"/>
                    </a:lnTo>
                    <a:lnTo>
                      <a:pt x="546" y="112"/>
                    </a:lnTo>
                    <a:lnTo>
                      <a:pt x="537" y="101"/>
                    </a:lnTo>
                    <a:lnTo>
                      <a:pt x="527" y="91"/>
                    </a:lnTo>
                    <a:lnTo>
                      <a:pt x="516" y="80"/>
                    </a:lnTo>
                    <a:lnTo>
                      <a:pt x="505" y="71"/>
                    </a:lnTo>
                    <a:lnTo>
                      <a:pt x="493" y="61"/>
                    </a:lnTo>
                    <a:lnTo>
                      <a:pt x="481" y="52"/>
                    </a:lnTo>
                    <a:lnTo>
                      <a:pt x="468" y="45"/>
                    </a:lnTo>
                    <a:lnTo>
                      <a:pt x="456" y="37"/>
                    </a:lnTo>
                    <a:lnTo>
                      <a:pt x="443" y="30"/>
                    </a:lnTo>
                    <a:lnTo>
                      <a:pt x="429" y="25"/>
                    </a:lnTo>
                    <a:lnTo>
                      <a:pt x="415" y="18"/>
                    </a:lnTo>
                    <a:lnTo>
                      <a:pt x="400" y="14"/>
                    </a:lnTo>
                    <a:lnTo>
                      <a:pt x="385" y="10"/>
                    </a:lnTo>
                    <a:lnTo>
                      <a:pt x="370" y="7"/>
                    </a:lnTo>
                    <a:lnTo>
                      <a:pt x="355" y="3"/>
                    </a:lnTo>
                    <a:lnTo>
                      <a:pt x="340" y="1"/>
                    </a:lnTo>
                    <a:lnTo>
                      <a:pt x="324" y="0"/>
                    </a:lnTo>
                    <a:lnTo>
                      <a:pt x="308" y="0"/>
                    </a:lnTo>
                    <a:lnTo>
                      <a:pt x="308" y="0"/>
                    </a:lnTo>
                    <a:lnTo>
                      <a:pt x="292" y="0"/>
                    </a:lnTo>
                    <a:lnTo>
                      <a:pt x="277" y="1"/>
                    </a:lnTo>
                    <a:lnTo>
                      <a:pt x="261" y="3"/>
                    </a:lnTo>
                    <a:lnTo>
                      <a:pt x="246" y="7"/>
                    </a:lnTo>
                    <a:lnTo>
                      <a:pt x="232" y="10"/>
                    </a:lnTo>
                    <a:lnTo>
                      <a:pt x="217" y="14"/>
                    </a:lnTo>
                    <a:lnTo>
                      <a:pt x="203" y="18"/>
                    </a:lnTo>
                    <a:lnTo>
                      <a:pt x="188" y="25"/>
                    </a:lnTo>
                    <a:lnTo>
                      <a:pt x="175" y="30"/>
                    </a:lnTo>
                    <a:lnTo>
                      <a:pt x="161" y="37"/>
                    </a:lnTo>
                    <a:lnTo>
                      <a:pt x="148" y="45"/>
                    </a:lnTo>
                    <a:lnTo>
                      <a:pt x="136" y="52"/>
                    </a:lnTo>
                    <a:lnTo>
                      <a:pt x="124" y="61"/>
                    </a:lnTo>
                    <a:lnTo>
                      <a:pt x="112" y="71"/>
                    </a:lnTo>
                    <a:lnTo>
                      <a:pt x="101" y="80"/>
                    </a:lnTo>
                    <a:lnTo>
                      <a:pt x="91" y="91"/>
                    </a:lnTo>
                    <a:lnTo>
                      <a:pt x="80" y="101"/>
                    </a:lnTo>
                    <a:lnTo>
                      <a:pt x="70" y="112"/>
                    </a:lnTo>
                    <a:lnTo>
                      <a:pt x="61" y="124"/>
                    </a:lnTo>
                    <a:lnTo>
                      <a:pt x="52" y="136"/>
                    </a:lnTo>
                    <a:lnTo>
                      <a:pt x="45" y="148"/>
                    </a:lnTo>
                    <a:lnTo>
                      <a:pt x="37" y="161"/>
                    </a:lnTo>
                    <a:lnTo>
                      <a:pt x="30" y="175"/>
                    </a:lnTo>
                    <a:lnTo>
                      <a:pt x="25" y="189"/>
                    </a:lnTo>
                    <a:lnTo>
                      <a:pt x="18" y="203"/>
                    </a:lnTo>
                    <a:lnTo>
                      <a:pt x="14" y="217"/>
                    </a:lnTo>
                    <a:lnTo>
                      <a:pt x="10" y="232"/>
                    </a:lnTo>
                    <a:lnTo>
                      <a:pt x="6" y="247"/>
                    </a:lnTo>
                    <a:lnTo>
                      <a:pt x="3" y="261"/>
                    </a:lnTo>
                    <a:lnTo>
                      <a:pt x="1" y="277"/>
                    </a:lnTo>
                    <a:lnTo>
                      <a:pt x="0" y="292"/>
                    </a:lnTo>
                    <a:lnTo>
                      <a:pt x="0" y="308"/>
                    </a:lnTo>
                    <a:lnTo>
                      <a:pt x="0" y="308"/>
                    </a:lnTo>
                    <a:lnTo>
                      <a:pt x="0" y="324"/>
                    </a:lnTo>
                    <a:lnTo>
                      <a:pt x="1" y="340"/>
                    </a:lnTo>
                    <a:lnTo>
                      <a:pt x="3" y="355"/>
                    </a:lnTo>
                    <a:lnTo>
                      <a:pt x="6" y="370"/>
                    </a:lnTo>
                    <a:lnTo>
                      <a:pt x="10" y="385"/>
                    </a:lnTo>
                    <a:lnTo>
                      <a:pt x="14" y="400"/>
                    </a:lnTo>
                    <a:lnTo>
                      <a:pt x="18" y="415"/>
                    </a:lnTo>
                    <a:lnTo>
                      <a:pt x="25" y="429"/>
                    </a:lnTo>
                    <a:lnTo>
                      <a:pt x="30" y="443"/>
                    </a:lnTo>
                    <a:lnTo>
                      <a:pt x="37" y="456"/>
                    </a:lnTo>
                    <a:lnTo>
                      <a:pt x="45" y="468"/>
                    </a:lnTo>
                    <a:lnTo>
                      <a:pt x="52" y="481"/>
                    </a:lnTo>
                    <a:lnTo>
                      <a:pt x="61" y="493"/>
                    </a:lnTo>
                    <a:lnTo>
                      <a:pt x="70" y="505"/>
                    </a:lnTo>
                    <a:lnTo>
                      <a:pt x="80" y="516"/>
                    </a:lnTo>
                    <a:lnTo>
                      <a:pt x="91" y="527"/>
                    </a:lnTo>
                    <a:lnTo>
                      <a:pt x="101" y="537"/>
                    </a:lnTo>
                    <a:lnTo>
                      <a:pt x="112" y="546"/>
                    </a:lnTo>
                    <a:lnTo>
                      <a:pt x="124" y="556"/>
                    </a:lnTo>
                    <a:lnTo>
                      <a:pt x="136" y="564"/>
                    </a:lnTo>
                    <a:lnTo>
                      <a:pt x="148" y="573"/>
                    </a:lnTo>
                    <a:lnTo>
                      <a:pt x="161" y="580"/>
                    </a:lnTo>
                    <a:lnTo>
                      <a:pt x="175" y="587"/>
                    </a:lnTo>
                    <a:lnTo>
                      <a:pt x="188" y="593"/>
                    </a:lnTo>
                    <a:lnTo>
                      <a:pt x="203" y="599"/>
                    </a:lnTo>
                    <a:lnTo>
                      <a:pt x="217" y="603"/>
                    </a:lnTo>
                    <a:lnTo>
                      <a:pt x="232" y="607"/>
                    </a:lnTo>
                    <a:lnTo>
                      <a:pt x="246" y="611"/>
                    </a:lnTo>
                    <a:lnTo>
                      <a:pt x="261" y="614"/>
                    </a:lnTo>
                    <a:lnTo>
                      <a:pt x="277" y="616"/>
                    </a:lnTo>
                    <a:lnTo>
                      <a:pt x="292" y="617"/>
                    </a:lnTo>
                    <a:lnTo>
                      <a:pt x="308" y="617"/>
                    </a:lnTo>
                    <a:lnTo>
                      <a:pt x="308"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83" name="Freeform 131"/>
              <p:cNvSpPr/>
              <p:nvPr/>
            </p:nvSpPr>
            <p:spPr bwMode="auto">
              <a:xfrm>
                <a:off x="1182688" y="2181226"/>
                <a:ext cx="954088" cy="1720850"/>
              </a:xfrm>
              <a:custGeom>
                <a:avLst/>
                <a:gdLst>
                  <a:gd name="T0" fmla="*/ 1484 w 1805"/>
                  <a:gd name="T1" fmla="*/ 188 h 3254"/>
                  <a:gd name="T2" fmla="*/ 1447 w 1805"/>
                  <a:gd name="T3" fmla="*/ 105 h 3254"/>
                  <a:gd name="T4" fmla="*/ 1396 w 1805"/>
                  <a:gd name="T5" fmla="*/ 46 h 3254"/>
                  <a:gd name="T6" fmla="*/ 1356 w 1805"/>
                  <a:gd name="T7" fmla="*/ 19 h 3254"/>
                  <a:gd name="T8" fmla="*/ 1306 w 1805"/>
                  <a:gd name="T9" fmla="*/ 3 h 3254"/>
                  <a:gd name="T10" fmla="*/ 874 w 1805"/>
                  <a:gd name="T11" fmla="*/ 0 h 3254"/>
                  <a:gd name="T12" fmla="*/ 513 w 1805"/>
                  <a:gd name="T13" fmla="*/ 1 h 3254"/>
                  <a:gd name="T14" fmla="*/ 461 w 1805"/>
                  <a:gd name="T15" fmla="*/ 14 h 3254"/>
                  <a:gd name="T16" fmla="*/ 418 w 1805"/>
                  <a:gd name="T17" fmla="*/ 39 h 3254"/>
                  <a:gd name="T18" fmla="*/ 370 w 1805"/>
                  <a:gd name="T19" fmla="*/ 88 h 3254"/>
                  <a:gd name="T20" fmla="*/ 332 w 1805"/>
                  <a:gd name="T21" fmla="*/ 158 h 3254"/>
                  <a:gd name="T22" fmla="*/ 5 w 1805"/>
                  <a:gd name="T23" fmla="*/ 1212 h 3254"/>
                  <a:gd name="T24" fmla="*/ 1 w 1805"/>
                  <a:gd name="T25" fmla="*/ 1263 h 3254"/>
                  <a:gd name="T26" fmla="*/ 15 w 1805"/>
                  <a:gd name="T27" fmla="*/ 1310 h 3254"/>
                  <a:gd name="T28" fmla="*/ 46 w 1805"/>
                  <a:gd name="T29" fmla="*/ 1349 h 3254"/>
                  <a:gd name="T30" fmla="*/ 91 w 1805"/>
                  <a:gd name="T31" fmla="*/ 1373 h 3254"/>
                  <a:gd name="T32" fmla="*/ 129 w 1805"/>
                  <a:gd name="T33" fmla="*/ 1378 h 3254"/>
                  <a:gd name="T34" fmla="*/ 178 w 1805"/>
                  <a:gd name="T35" fmla="*/ 1369 h 3254"/>
                  <a:gd name="T36" fmla="*/ 219 w 1805"/>
                  <a:gd name="T37" fmla="*/ 1342 h 3254"/>
                  <a:gd name="T38" fmla="*/ 248 w 1805"/>
                  <a:gd name="T39" fmla="*/ 1300 h 3254"/>
                  <a:gd name="T40" fmla="*/ 527 w 1805"/>
                  <a:gd name="T41" fmla="*/ 428 h 3254"/>
                  <a:gd name="T42" fmla="*/ 548 w 1805"/>
                  <a:gd name="T43" fmla="*/ 3102 h 3254"/>
                  <a:gd name="T44" fmla="*/ 555 w 1805"/>
                  <a:gd name="T45" fmla="*/ 3147 h 3254"/>
                  <a:gd name="T46" fmla="*/ 583 w 1805"/>
                  <a:gd name="T47" fmla="*/ 3198 h 3254"/>
                  <a:gd name="T48" fmla="*/ 627 w 1805"/>
                  <a:gd name="T49" fmla="*/ 3236 h 3254"/>
                  <a:gd name="T50" fmla="*/ 684 w 1805"/>
                  <a:gd name="T51" fmla="*/ 3253 h 3254"/>
                  <a:gd name="T52" fmla="*/ 730 w 1805"/>
                  <a:gd name="T53" fmla="*/ 3251 h 3254"/>
                  <a:gd name="T54" fmla="*/ 783 w 1805"/>
                  <a:gd name="T55" fmla="*/ 3227 h 3254"/>
                  <a:gd name="T56" fmla="*/ 825 w 1805"/>
                  <a:gd name="T57" fmla="*/ 3187 h 3254"/>
                  <a:gd name="T58" fmla="*/ 847 w 1805"/>
                  <a:gd name="T59" fmla="*/ 3133 h 3254"/>
                  <a:gd name="T60" fmla="*/ 903 w 1805"/>
                  <a:gd name="T61" fmla="*/ 1923 h 3254"/>
                  <a:gd name="T62" fmla="*/ 956 w 1805"/>
                  <a:gd name="T63" fmla="*/ 3118 h 3254"/>
                  <a:gd name="T64" fmla="*/ 973 w 1805"/>
                  <a:gd name="T65" fmla="*/ 3175 h 3254"/>
                  <a:gd name="T66" fmla="*/ 1010 w 1805"/>
                  <a:gd name="T67" fmla="*/ 3219 h 3254"/>
                  <a:gd name="T68" fmla="*/ 1062 w 1805"/>
                  <a:gd name="T69" fmla="*/ 3246 h 3254"/>
                  <a:gd name="T70" fmla="*/ 1106 w 1805"/>
                  <a:gd name="T71" fmla="*/ 3254 h 3254"/>
                  <a:gd name="T72" fmla="*/ 1165 w 1805"/>
                  <a:gd name="T73" fmla="*/ 3242 h 3254"/>
                  <a:gd name="T74" fmla="*/ 1213 w 1805"/>
                  <a:gd name="T75" fmla="*/ 3209 h 3254"/>
                  <a:gd name="T76" fmla="*/ 1245 w 1805"/>
                  <a:gd name="T77" fmla="*/ 3161 h 3254"/>
                  <a:gd name="T78" fmla="*/ 1257 w 1805"/>
                  <a:gd name="T79" fmla="*/ 3102 h 3254"/>
                  <a:gd name="T80" fmla="*/ 1278 w 1805"/>
                  <a:gd name="T81" fmla="*/ 428 h 3254"/>
                  <a:gd name="T82" fmla="*/ 1553 w 1805"/>
                  <a:gd name="T83" fmla="*/ 1288 h 3254"/>
                  <a:gd name="T84" fmla="*/ 1578 w 1805"/>
                  <a:gd name="T85" fmla="*/ 1333 h 3254"/>
                  <a:gd name="T86" fmla="*/ 1616 w 1805"/>
                  <a:gd name="T87" fmla="*/ 1364 h 3254"/>
                  <a:gd name="T88" fmla="*/ 1663 w 1805"/>
                  <a:gd name="T89" fmla="*/ 1378 h 3254"/>
                  <a:gd name="T90" fmla="*/ 1714 w 1805"/>
                  <a:gd name="T91" fmla="*/ 1373 h 3254"/>
                  <a:gd name="T92" fmla="*/ 1749 w 1805"/>
                  <a:gd name="T93" fmla="*/ 1356 h 3254"/>
                  <a:gd name="T94" fmla="*/ 1784 w 1805"/>
                  <a:gd name="T95" fmla="*/ 1321 h 3254"/>
                  <a:gd name="T96" fmla="*/ 1803 w 1805"/>
                  <a:gd name="T97" fmla="*/ 1276 h 3254"/>
                  <a:gd name="T98" fmla="*/ 1803 w 1805"/>
                  <a:gd name="T99" fmla="*/ 1225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5" h="3254">
                    <a:moveTo>
                      <a:pt x="1800" y="1212"/>
                    </a:moveTo>
                    <a:lnTo>
                      <a:pt x="1493" y="209"/>
                    </a:lnTo>
                    <a:lnTo>
                      <a:pt x="1493" y="209"/>
                    </a:lnTo>
                    <a:lnTo>
                      <a:pt x="1484" y="188"/>
                    </a:lnTo>
                    <a:lnTo>
                      <a:pt x="1473" y="158"/>
                    </a:lnTo>
                    <a:lnTo>
                      <a:pt x="1466" y="141"/>
                    </a:lnTo>
                    <a:lnTo>
                      <a:pt x="1457" y="123"/>
                    </a:lnTo>
                    <a:lnTo>
                      <a:pt x="1447" y="105"/>
                    </a:lnTo>
                    <a:lnTo>
                      <a:pt x="1435" y="88"/>
                    </a:lnTo>
                    <a:lnTo>
                      <a:pt x="1421" y="70"/>
                    </a:lnTo>
                    <a:lnTo>
                      <a:pt x="1405" y="54"/>
                    </a:lnTo>
                    <a:lnTo>
                      <a:pt x="1396" y="46"/>
                    </a:lnTo>
                    <a:lnTo>
                      <a:pt x="1387" y="39"/>
                    </a:lnTo>
                    <a:lnTo>
                      <a:pt x="1377" y="31"/>
                    </a:lnTo>
                    <a:lnTo>
                      <a:pt x="1367" y="25"/>
                    </a:lnTo>
                    <a:lnTo>
                      <a:pt x="1356" y="19"/>
                    </a:lnTo>
                    <a:lnTo>
                      <a:pt x="1344" y="14"/>
                    </a:lnTo>
                    <a:lnTo>
                      <a:pt x="1332" y="10"/>
                    </a:lnTo>
                    <a:lnTo>
                      <a:pt x="1320" y="7"/>
                    </a:lnTo>
                    <a:lnTo>
                      <a:pt x="1306" y="3"/>
                    </a:lnTo>
                    <a:lnTo>
                      <a:pt x="1292" y="1"/>
                    </a:lnTo>
                    <a:lnTo>
                      <a:pt x="1277" y="0"/>
                    </a:lnTo>
                    <a:lnTo>
                      <a:pt x="1261" y="0"/>
                    </a:lnTo>
                    <a:lnTo>
                      <a:pt x="874" y="0"/>
                    </a:lnTo>
                    <a:lnTo>
                      <a:pt x="544" y="0"/>
                    </a:lnTo>
                    <a:lnTo>
                      <a:pt x="544" y="0"/>
                    </a:lnTo>
                    <a:lnTo>
                      <a:pt x="528" y="0"/>
                    </a:lnTo>
                    <a:lnTo>
                      <a:pt x="513" y="1"/>
                    </a:lnTo>
                    <a:lnTo>
                      <a:pt x="499" y="3"/>
                    </a:lnTo>
                    <a:lnTo>
                      <a:pt x="486" y="7"/>
                    </a:lnTo>
                    <a:lnTo>
                      <a:pt x="473" y="10"/>
                    </a:lnTo>
                    <a:lnTo>
                      <a:pt x="461" y="14"/>
                    </a:lnTo>
                    <a:lnTo>
                      <a:pt x="449" y="19"/>
                    </a:lnTo>
                    <a:lnTo>
                      <a:pt x="439" y="25"/>
                    </a:lnTo>
                    <a:lnTo>
                      <a:pt x="428" y="31"/>
                    </a:lnTo>
                    <a:lnTo>
                      <a:pt x="418" y="39"/>
                    </a:lnTo>
                    <a:lnTo>
                      <a:pt x="409" y="46"/>
                    </a:lnTo>
                    <a:lnTo>
                      <a:pt x="400" y="54"/>
                    </a:lnTo>
                    <a:lnTo>
                      <a:pt x="384" y="70"/>
                    </a:lnTo>
                    <a:lnTo>
                      <a:pt x="370" y="88"/>
                    </a:lnTo>
                    <a:lnTo>
                      <a:pt x="359" y="105"/>
                    </a:lnTo>
                    <a:lnTo>
                      <a:pt x="348" y="123"/>
                    </a:lnTo>
                    <a:lnTo>
                      <a:pt x="339" y="141"/>
                    </a:lnTo>
                    <a:lnTo>
                      <a:pt x="332" y="158"/>
                    </a:lnTo>
                    <a:lnTo>
                      <a:pt x="320" y="188"/>
                    </a:lnTo>
                    <a:lnTo>
                      <a:pt x="313" y="209"/>
                    </a:lnTo>
                    <a:lnTo>
                      <a:pt x="5" y="1212"/>
                    </a:lnTo>
                    <a:lnTo>
                      <a:pt x="5" y="1212"/>
                    </a:lnTo>
                    <a:lnTo>
                      <a:pt x="2" y="1225"/>
                    </a:lnTo>
                    <a:lnTo>
                      <a:pt x="1" y="1238"/>
                    </a:lnTo>
                    <a:lnTo>
                      <a:pt x="0" y="1250"/>
                    </a:lnTo>
                    <a:lnTo>
                      <a:pt x="1" y="1263"/>
                    </a:lnTo>
                    <a:lnTo>
                      <a:pt x="2" y="1276"/>
                    </a:lnTo>
                    <a:lnTo>
                      <a:pt x="5" y="1288"/>
                    </a:lnTo>
                    <a:lnTo>
                      <a:pt x="10" y="1300"/>
                    </a:lnTo>
                    <a:lnTo>
                      <a:pt x="15" y="1310"/>
                    </a:lnTo>
                    <a:lnTo>
                      <a:pt x="21" y="1321"/>
                    </a:lnTo>
                    <a:lnTo>
                      <a:pt x="29" y="1330"/>
                    </a:lnTo>
                    <a:lnTo>
                      <a:pt x="37" y="1340"/>
                    </a:lnTo>
                    <a:lnTo>
                      <a:pt x="46" y="1349"/>
                    </a:lnTo>
                    <a:lnTo>
                      <a:pt x="57" y="1356"/>
                    </a:lnTo>
                    <a:lnTo>
                      <a:pt x="67" y="1362"/>
                    </a:lnTo>
                    <a:lnTo>
                      <a:pt x="79" y="1369"/>
                    </a:lnTo>
                    <a:lnTo>
                      <a:pt x="91" y="1373"/>
                    </a:lnTo>
                    <a:lnTo>
                      <a:pt x="91" y="1373"/>
                    </a:lnTo>
                    <a:lnTo>
                      <a:pt x="104" y="1376"/>
                    </a:lnTo>
                    <a:lnTo>
                      <a:pt x="116" y="1378"/>
                    </a:lnTo>
                    <a:lnTo>
                      <a:pt x="129" y="1378"/>
                    </a:lnTo>
                    <a:lnTo>
                      <a:pt x="142" y="1378"/>
                    </a:lnTo>
                    <a:lnTo>
                      <a:pt x="155" y="1376"/>
                    </a:lnTo>
                    <a:lnTo>
                      <a:pt x="167" y="1373"/>
                    </a:lnTo>
                    <a:lnTo>
                      <a:pt x="178" y="1369"/>
                    </a:lnTo>
                    <a:lnTo>
                      <a:pt x="189" y="1364"/>
                    </a:lnTo>
                    <a:lnTo>
                      <a:pt x="200" y="1357"/>
                    </a:lnTo>
                    <a:lnTo>
                      <a:pt x="209" y="1350"/>
                    </a:lnTo>
                    <a:lnTo>
                      <a:pt x="219" y="1342"/>
                    </a:lnTo>
                    <a:lnTo>
                      <a:pt x="227" y="1333"/>
                    </a:lnTo>
                    <a:lnTo>
                      <a:pt x="235" y="1323"/>
                    </a:lnTo>
                    <a:lnTo>
                      <a:pt x="241" y="1311"/>
                    </a:lnTo>
                    <a:lnTo>
                      <a:pt x="248" y="1300"/>
                    </a:lnTo>
                    <a:lnTo>
                      <a:pt x="252" y="1288"/>
                    </a:lnTo>
                    <a:lnTo>
                      <a:pt x="515" y="427"/>
                    </a:lnTo>
                    <a:lnTo>
                      <a:pt x="515" y="427"/>
                    </a:lnTo>
                    <a:lnTo>
                      <a:pt x="527" y="428"/>
                    </a:lnTo>
                    <a:lnTo>
                      <a:pt x="562" y="428"/>
                    </a:lnTo>
                    <a:lnTo>
                      <a:pt x="164" y="1923"/>
                    </a:lnTo>
                    <a:lnTo>
                      <a:pt x="548" y="1923"/>
                    </a:lnTo>
                    <a:lnTo>
                      <a:pt x="548" y="3102"/>
                    </a:lnTo>
                    <a:lnTo>
                      <a:pt x="548" y="3102"/>
                    </a:lnTo>
                    <a:lnTo>
                      <a:pt x="548" y="3118"/>
                    </a:lnTo>
                    <a:lnTo>
                      <a:pt x="551" y="3133"/>
                    </a:lnTo>
                    <a:lnTo>
                      <a:pt x="555" y="3147"/>
                    </a:lnTo>
                    <a:lnTo>
                      <a:pt x="560" y="3161"/>
                    </a:lnTo>
                    <a:lnTo>
                      <a:pt x="567" y="3175"/>
                    </a:lnTo>
                    <a:lnTo>
                      <a:pt x="574" y="3187"/>
                    </a:lnTo>
                    <a:lnTo>
                      <a:pt x="583" y="3198"/>
                    </a:lnTo>
                    <a:lnTo>
                      <a:pt x="592" y="3209"/>
                    </a:lnTo>
                    <a:lnTo>
                      <a:pt x="603" y="3219"/>
                    </a:lnTo>
                    <a:lnTo>
                      <a:pt x="615" y="3227"/>
                    </a:lnTo>
                    <a:lnTo>
                      <a:pt x="627" y="3236"/>
                    </a:lnTo>
                    <a:lnTo>
                      <a:pt x="640" y="3242"/>
                    </a:lnTo>
                    <a:lnTo>
                      <a:pt x="654" y="3246"/>
                    </a:lnTo>
                    <a:lnTo>
                      <a:pt x="669" y="3251"/>
                    </a:lnTo>
                    <a:lnTo>
                      <a:pt x="684" y="3253"/>
                    </a:lnTo>
                    <a:lnTo>
                      <a:pt x="699" y="3254"/>
                    </a:lnTo>
                    <a:lnTo>
                      <a:pt x="699" y="3254"/>
                    </a:lnTo>
                    <a:lnTo>
                      <a:pt x="715" y="3253"/>
                    </a:lnTo>
                    <a:lnTo>
                      <a:pt x="730" y="3251"/>
                    </a:lnTo>
                    <a:lnTo>
                      <a:pt x="744" y="3246"/>
                    </a:lnTo>
                    <a:lnTo>
                      <a:pt x="758" y="3242"/>
                    </a:lnTo>
                    <a:lnTo>
                      <a:pt x="771" y="3236"/>
                    </a:lnTo>
                    <a:lnTo>
                      <a:pt x="783" y="3227"/>
                    </a:lnTo>
                    <a:lnTo>
                      <a:pt x="795" y="3219"/>
                    </a:lnTo>
                    <a:lnTo>
                      <a:pt x="806" y="3209"/>
                    </a:lnTo>
                    <a:lnTo>
                      <a:pt x="815" y="3198"/>
                    </a:lnTo>
                    <a:lnTo>
                      <a:pt x="825" y="3187"/>
                    </a:lnTo>
                    <a:lnTo>
                      <a:pt x="832" y="3175"/>
                    </a:lnTo>
                    <a:lnTo>
                      <a:pt x="839" y="3161"/>
                    </a:lnTo>
                    <a:lnTo>
                      <a:pt x="843" y="3147"/>
                    </a:lnTo>
                    <a:lnTo>
                      <a:pt x="847" y="3133"/>
                    </a:lnTo>
                    <a:lnTo>
                      <a:pt x="849" y="3118"/>
                    </a:lnTo>
                    <a:lnTo>
                      <a:pt x="850" y="3102"/>
                    </a:lnTo>
                    <a:lnTo>
                      <a:pt x="850" y="1923"/>
                    </a:lnTo>
                    <a:lnTo>
                      <a:pt x="903" y="1923"/>
                    </a:lnTo>
                    <a:lnTo>
                      <a:pt x="955" y="1923"/>
                    </a:lnTo>
                    <a:lnTo>
                      <a:pt x="955" y="3102"/>
                    </a:lnTo>
                    <a:lnTo>
                      <a:pt x="955" y="3102"/>
                    </a:lnTo>
                    <a:lnTo>
                      <a:pt x="956" y="3118"/>
                    </a:lnTo>
                    <a:lnTo>
                      <a:pt x="958" y="3133"/>
                    </a:lnTo>
                    <a:lnTo>
                      <a:pt x="962" y="3147"/>
                    </a:lnTo>
                    <a:lnTo>
                      <a:pt x="967" y="3161"/>
                    </a:lnTo>
                    <a:lnTo>
                      <a:pt x="973" y="3175"/>
                    </a:lnTo>
                    <a:lnTo>
                      <a:pt x="980" y="3187"/>
                    </a:lnTo>
                    <a:lnTo>
                      <a:pt x="990" y="3198"/>
                    </a:lnTo>
                    <a:lnTo>
                      <a:pt x="1000" y="3209"/>
                    </a:lnTo>
                    <a:lnTo>
                      <a:pt x="1010" y="3219"/>
                    </a:lnTo>
                    <a:lnTo>
                      <a:pt x="1022" y="3227"/>
                    </a:lnTo>
                    <a:lnTo>
                      <a:pt x="1034" y="3236"/>
                    </a:lnTo>
                    <a:lnTo>
                      <a:pt x="1048" y="3242"/>
                    </a:lnTo>
                    <a:lnTo>
                      <a:pt x="1062" y="3246"/>
                    </a:lnTo>
                    <a:lnTo>
                      <a:pt x="1075" y="3251"/>
                    </a:lnTo>
                    <a:lnTo>
                      <a:pt x="1090" y="3253"/>
                    </a:lnTo>
                    <a:lnTo>
                      <a:pt x="1106" y="3254"/>
                    </a:lnTo>
                    <a:lnTo>
                      <a:pt x="1106" y="3254"/>
                    </a:lnTo>
                    <a:lnTo>
                      <a:pt x="1121" y="3253"/>
                    </a:lnTo>
                    <a:lnTo>
                      <a:pt x="1136" y="3251"/>
                    </a:lnTo>
                    <a:lnTo>
                      <a:pt x="1151" y="3246"/>
                    </a:lnTo>
                    <a:lnTo>
                      <a:pt x="1165" y="3242"/>
                    </a:lnTo>
                    <a:lnTo>
                      <a:pt x="1178" y="3236"/>
                    </a:lnTo>
                    <a:lnTo>
                      <a:pt x="1191" y="3227"/>
                    </a:lnTo>
                    <a:lnTo>
                      <a:pt x="1202" y="3219"/>
                    </a:lnTo>
                    <a:lnTo>
                      <a:pt x="1213" y="3209"/>
                    </a:lnTo>
                    <a:lnTo>
                      <a:pt x="1223" y="3198"/>
                    </a:lnTo>
                    <a:lnTo>
                      <a:pt x="1231" y="3187"/>
                    </a:lnTo>
                    <a:lnTo>
                      <a:pt x="1239" y="3175"/>
                    </a:lnTo>
                    <a:lnTo>
                      <a:pt x="1245" y="3161"/>
                    </a:lnTo>
                    <a:lnTo>
                      <a:pt x="1250" y="3147"/>
                    </a:lnTo>
                    <a:lnTo>
                      <a:pt x="1255" y="3133"/>
                    </a:lnTo>
                    <a:lnTo>
                      <a:pt x="1257" y="3118"/>
                    </a:lnTo>
                    <a:lnTo>
                      <a:pt x="1257" y="3102"/>
                    </a:lnTo>
                    <a:lnTo>
                      <a:pt x="1257" y="1923"/>
                    </a:lnTo>
                    <a:lnTo>
                      <a:pt x="1641" y="1923"/>
                    </a:lnTo>
                    <a:lnTo>
                      <a:pt x="1243" y="428"/>
                    </a:lnTo>
                    <a:lnTo>
                      <a:pt x="1278" y="428"/>
                    </a:lnTo>
                    <a:lnTo>
                      <a:pt x="1278" y="428"/>
                    </a:lnTo>
                    <a:lnTo>
                      <a:pt x="1290" y="427"/>
                    </a:lnTo>
                    <a:lnTo>
                      <a:pt x="1553" y="1288"/>
                    </a:lnTo>
                    <a:lnTo>
                      <a:pt x="1553" y="1288"/>
                    </a:lnTo>
                    <a:lnTo>
                      <a:pt x="1558" y="1300"/>
                    </a:lnTo>
                    <a:lnTo>
                      <a:pt x="1564" y="1311"/>
                    </a:lnTo>
                    <a:lnTo>
                      <a:pt x="1570" y="1323"/>
                    </a:lnTo>
                    <a:lnTo>
                      <a:pt x="1578" y="1333"/>
                    </a:lnTo>
                    <a:lnTo>
                      <a:pt x="1586" y="1342"/>
                    </a:lnTo>
                    <a:lnTo>
                      <a:pt x="1595" y="1350"/>
                    </a:lnTo>
                    <a:lnTo>
                      <a:pt x="1606" y="1357"/>
                    </a:lnTo>
                    <a:lnTo>
                      <a:pt x="1616" y="1364"/>
                    </a:lnTo>
                    <a:lnTo>
                      <a:pt x="1627" y="1369"/>
                    </a:lnTo>
                    <a:lnTo>
                      <a:pt x="1639" y="1373"/>
                    </a:lnTo>
                    <a:lnTo>
                      <a:pt x="1650" y="1376"/>
                    </a:lnTo>
                    <a:lnTo>
                      <a:pt x="1663" y="1378"/>
                    </a:lnTo>
                    <a:lnTo>
                      <a:pt x="1676" y="1378"/>
                    </a:lnTo>
                    <a:lnTo>
                      <a:pt x="1689" y="1378"/>
                    </a:lnTo>
                    <a:lnTo>
                      <a:pt x="1702" y="1376"/>
                    </a:lnTo>
                    <a:lnTo>
                      <a:pt x="1714" y="1373"/>
                    </a:lnTo>
                    <a:lnTo>
                      <a:pt x="1714" y="1373"/>
                    </a:lnTo>
                    <a:lnTo>
                      <a:pt x="1726" y="1369"/>
                    </a:lnTo>
                    <a:lnTo>
                      <a:pt x="1738" y="1362"/>
                    </a:lnTo>
                    <a:lnTo>
                      <a:pt x="1749" y="1356"/>
                    </a:lnTo>
                    <a:lnTo>
                      <a:pt x="1759" y="1349"/>
                    </a:lnTo>
                    <a:lnTo>
                      <a:pt x="1768" y="1340"/>
                    </a:lnTo>
                    <a:lnTo>
                      <a:pt x="1776" y="1330"/>
                    </a:lnTo>
                    <a:lnTo>
                      <a:pt x="1784" y="1321"/>
                    </a:lnTo>
                    <a:lnTo>
                      <a:pt x="1790" y="1310"/>
                    </a:lnTo>
                    <a:lnTo>
                      <a:pt x="1795" y="1300"/>
                    </a:lnTo>
                    <a:lnTo>
                      <a:pt x="1800" y="1288"/>
                    </a:lnTo>
                    <a:lnTo>
                      <a:pt x="1803" y="1276"/>
                    </a:lnTo>
                    <a:lnTo>
                      <a:pt x="1804" y="1263"/>
                    </a:lnTo>
                    <a:lnTo>
                      <a:pt x="1805" y="1250"/>
                    </a:lnTo>
                    <a:lnTo>
                      <a:pt x="1804" y="1238"/>
                    </a:lnTo>
                    <a:lnTo>
                      <a:pt x="1803" y="1225"/>
                    </a:lnTo>
                    <a:lnTo>
                      <a:pt x="1800" y="1212"/>
                    </a:lnTo>
                    <a:lnTo>
                      <a:pt x="1800" y="1212"/>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nvGrpSpPr>
            <p:cNvPr id="79" name="Group 127"/>
            <p:cNvGrpSpPr/>
            <p:nvPr/>
          </p:nvGrpSpPr>
          <p:grpSpPr>
            <a:xfrm>
              <a:off x="7023101" y="2673428"/>
              <a:ext cx="609601" cy="1342941"/>
              <a:chOff x="1182688" y="1800226"/>
              <a:chExt cx="954088" cy="2101850"/>
            </a:xfrm>
            <a:grpFill/>
            <a:effectLst/>
          </p:grpSpPr>
          <p:sp>
            <p:nvSpPr>
              <p:cNvPr id="80" name="Freeform 128"/>
              <p:cNvSpPr/>
              <p:nvPr/>
            </p:nvSpPr>
            <p:spPr bwMode="auto">
              <a:xfrm>
                <a:off x="1503363" y="1800226"/>
                <a:ext cx="325438" cy="325438"/>
              </a:xfrm>
              <a:custGeom>
                <a:avLst/>
                <a:gdLst>
                  <a:gd name="T0" fmla="*/ 324 w 617"/>
                  <a:gd name="T1" fmla="*/ 617 h 617"/>
                  <a:gd name="T2" fmla="*/ 370 w 617"/>
                  <a:gd name="T3" fmla="*/ 611 h 617"/>
                  <a:gd name="T4" fmla="*/ 415 w 617"/>
                  <a:gd name="T5" fmla="*/ 599 h 617"/>
                  <a:gd name="T6" fmla="*/ 456 w 617"/>
                  <a:gd name="T7" fmla="*/ 580 h 617"/>
                  <a:gd name="T8" fmla="*/ 493 w 617"/>
                  <a:gd name="T9" fmla="*/ 556 h 617"/>
                  <a:gd name="T10" fmla="*/ 527 w 617"/>
                  <a:gd name="T11" fmla="*/ 527 h 617"/>
                  <a:gd name="T12" fmla="*/ 556 w 617"/>
                  <a:gd name="T13" fmla="*/ 493 h 617"/>
                  <a:gd name="T14" fmla="*/ 580 w 617"/>
                  <a:gd name="T15" fmla="*/ 456 h 617"/>
                  <a:gd name="T16" fmla="*/ 598 w 617"/>
                  <a:gd name="T17" fmla="*/ 415 h 617"/>
                  <a:gd name="T18" fmla="*/ 611 w 617"/>
                  <a:gd name="T19" fmla="*/ 370 h 617"/>
                  <a:gd name="T20" fmla="*/ 617 w 617"/>
                  <a:gd name="T21" fmla="*/ 324 h 617"/>
                  <a:gd name="T22" fmla="*/ 617 w 617"/>
                  <a:gd name="T23" fmla="*/ 292 h 617"/>
                  <a:gd name="T24" fmla="*/ 611 w 617"/>
                  <a:gd name="T25" fmla="*/ 247 h 617"/>
                  <a:gd name="T26" fmla="*/ 598 w 617"/>
                  <a:gd name="T27" fmla="*/ 203 h 617"/>
                  <a:gd name="T28" fmla="*/ 580 w 617"/>
                  <a:gd name="T29" fmla="*/ 161 h 617"/>
                  <a:gd name="T30" fmla="*/ 556 w 617"/>
                  <a:gd name="T31" fmla="*/ 124 h 617"/>
                  <a:gd name="T32" fmla="*/ 527 w 617"/>
                  <a:gd name="T33" fmla="*/ 91 h 617"/>
                  <a:gd name="T34" fmla="*/ 493 w 617"/>
                  <a:gd name="T35" fmla="*/ 61 h 617"/>
                  <a:gd name="T36" fmla="*/ 456 w 617"/>
                  <a:gd name="T37" fmla="*/ 37 h 617"/>
                  <a:gd name="T38" fmla="*/ 415 w 617"/>
                  <a:gd name="T39" fmla="*/ 18 h 617"/>
                  <a:gd name="T40" fmla="*/ 370 w 617"/>
                  <a:gd name="T41" fmla="*/ 7 h 617"/>
                  <a:gd name="T42" fmla="*/ 324 w 617"/>
                  <a:gd name="T43" fmla="*/ 0 h 617"/>
                  <a:gd name="T44" fmla="*/ 292 w 617"/>
                  <a:gd name="T45" fmla="*/ 0 h 617"/>
                  <a:gd name="T46" fmla="*/ 246 w 617"/>
                  <a:gd name="T47" fmla="*/ 7 h 617"/>
                  <a:gd name="T48" fmla="*/ 203 w 617"/>
                  <a:gd name="T49" fmla="*/ 18 h 617"/>
                  <a:gd name="T50" fmla="*/ 161 w 617"/>
                  <a:gd name="T51" fmla="*/ 37 h 617"/>
                  <a:gd name="T52" fmla="*/ 124 w 617"/>
                  <a:gd name="T53" fmla="*/ 61 h 617"/>
                  <a:gd name="T54" fmla="*/ 91 w 617"/>
                  <a:gd name="T55" fmla="*/ 91 h 617"/>
                  <a:gd name="T56" fmla="*/ 61 w 617"/>
                  <a:gd name="T57" fmla="*/ 124 h 617"/>
                  <a:gd name="T58" fmla="*/ 37 w 617"/>
                  <a:gd name="T59" fmla="*/ 161 h 617"/>
                  <a:gd name="T60" fmla="*/ 18 w 617"/>
                  <a:gd name="T61" fmla="*/ 203 h 617"/>
                  <a:gd name="T62" fmla="*/ 6 w 617"/>
                  <a:gd name="T63" fmla="*/ 247 h 617"/>
                  <a:gd name="T64" fmla="*/ 0 w 617"/>
                  <a:gd name="T65" fmla="*/ 292 h 617"/>
                  <a:gd name="T66" fmla="*/ 0 w 617"/>
                  <a:gd name="T67" fmla="*/ 324 h 617"/>
                  <a:gd name="T68" fmla="*/ 6 w 617"/>
                  <a:gd name="T69" fmla="*/ 370 h 617"/>
                  <a:gd name="T70" fmla="*/ 18 w 617"/>
                  <a:gd name="T71" fmla="*/ 415 h 617"/>
                  <a:gd name="T72" fmla="*/ 37 w 617"/>
                  <a:gd name="T73" fmla="*/ 456 h 617"/>
                  <a:gd name="T74" fmla="*/ 61 w 617"/>
                  <a:gd name="T75" fmla="*/ 493 h 617"/>
                  <a:gd name="T76" fmla="*/ 91 w 617"/>
                  <a:gd name="T77" fmla="*/ 527 h 617"/>
                  <a:gd name="T78" fmla="*/ 124 w 617"/>
                  <a:gd name="T79" fmla="*/ 556 h 617"/>
                  <a:gd name="T80" fmla="*/ 161 w 617"/>
                  <a:gd name="T81" fmla="*/ 580 h 617"/>
                  <a:gd name="T82" fmla="*/ 203 w 617"/>
                  <a:gd name="T83" fmla="*/ 599 h 617"/>
                  <a:gd name="T84" fmla="*/ 246 w 617"/>
                  <a:gd name="T85" fmla="*/ 611 h 617"/>
                  <a:gd name="T86" fmla="*/ 292 w 617"/>
                  <a:gd name="T8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7" h="617">
                    <a:moveTo>
                      <a:pt x="308" y="617"/>
                    </a:moveTo>
                    <a:lnTo>
                      <a:pt x="308" y="617"/>
                    </a:lnTo>
                    <a:lnTo>
                      <a:pt x="324" y="617"/>
                    </a:lnTo>
                    <a:lnTo>
                      <a:pt x="340" y="616"/>
                    </a:lnTo>
                    <a:lnTo>
                      <a:pt x="355" y="614"/>
                    </a:lnTo>
                    <a:lnTo>
                      <a:pt x="370" y="611"/>
                    </a:lnTo>
                    <a:lnTo>
                      <a:pt x="385" y="607"/>
                    </a:lnTo>
                    <a:lnTo>
                      <a:pt x="400" y="603"/>
                    </a:lnTo>
                    <a:lnTo>
                      <a:pt x="415" y="599"/>
                    </a:lnTo>
                    <a:lnTo>
                      <a:pt x="429" y="593"/>
                    </a:lnTo>
                    <a:lnTo>
                      <a:pt x="443" y="587"/>
                    </a:lnTo>
                    <a:lnTo>
                      <a:pt x="456" y="580"/>
                    </a:lnTo>
                    <a:lnTo>
                      <a:pt x="468" y="573"/>
                    </a:lnTo>
                    <a:lnTo>
                      <a:pt x="481" y="564"/>
                    </a:lnTo>
                    <a:lnTo>
                      <a:pt x="493" y="556"/>
                    </a:lnTo>
                    <a:lnTo>
                      <a:pt x="505" y="546"/>
                    </a:lnTo>
                    <a:lnTo>
                      <a:pt x="516" y="537"/>
                    </a:lnTo>
                    <a:lnTo>
                      <a:pt x="527" y="527"/>
                    </a:lnTo>
                    <a:lnTo>
                      <a:pt x="537" y="516"/>
                    </a:lnTo>
                    <a:lnTo>
                      <a:pt x="546" y="505"/>
                    </a:lnTo>
                    <a:lnTo>
                      <a:pt x="556" y="493"/>
                    </a:lnTo>
                    <a:lnTo>
                      <a:pt x="564" y="481"/>
                    </a:lnTo>
                    <a:lnTo>
                      <a:pt x="573" y="468"/>
                    </a:lnTo>
                    <a:lnTo>
                      <a:pt x="580" y="456"/>
                    </a:lnTo>
                    <a:lnTo>
                      <a:pt x="587" y="443"/>
                    </a:lnTo>
                    <a:lnTo>
                      <a:pt x="593" y="429"/>
                    </a:lnTo>
                    <a:lnTo>
                      <a:pt x="598" y="415"/>
                    </a:lnTo>
                    <a:lnTo>
                      <a:pt x="603" y="400"/>
                    </a:lnTo>
                    <a:lnTo>
                      <a:pt x="607" y="385"/>
                    </a:lnTo>
                    <a:lnTo>
                      <a:pt x="611" y="370"/>
                    </a:lnTo>
                    <a:lnTo>
                      <a:pt x="613" y="355"/>
                    </a:lnTo>
                    <a:lnTo>
                      <a:pt x="616" y="340"/>
                    </a:lnTo>
                    <a:lnTo>
                      <a:pt x="617" y="324"/>
                    </a:lnTo>
                    <a:lnTo>
                      <a:pt x="617" y="308"/>
                    </a:lnTo>
                    <a:lnTo>
                      <a:pt x="617" y="308"/>
                    </a:lnTo>
                    <a:lnTo>
                      <a:pt x="617" y="292"/>
                    </a:lnTo>
                    <a:lnTo>
                      <a:pt x="616" y="277"/>
                    </a:lnTo>
                    <a:lnTo>
                      <a:pt x="613" y="261"/>
                    </a:lnTo>
                    <a:lnTo>
                      <a:pt x="611" y="247"/>
                    </a:lnTo>
                    <a:lnTo>
                      <a:pt x="607" y="232"/>
                    </a:lnTo>
                    <a:lnTo>
                      <a:pt x="603" y="217"/>
                    </a:lnTo>
                    <a:lnTo>
                      <a:pt x="598" y="203"/>
                    </a:lnTo>
                    <a:lnTo>
                      <a:pt x="593" y="189"/>
                    </a:lnTo>
                    <a:lnTo>
                      <a:pt x="587" y="175"/>
                    </a:lnTo>
                    <a:lnTo>
                      <a:pt x="580" y="161"/>
                    </a:lnTo>
                    <a:lnTo>
                      <a:pt x="573" y="148"/>
                    </a:lnTo>
                    <a:lnTo>
                      <a:pt x="564" y="136"/>
                    </a:lnTo>
                    <a:lnTo>
                      <a:pt x="556" y="124"/>
                    </a:lnTo>
                    <a:lnTo>
                      <a:pt x="546" y="112"/>
                    </a:lnTo>
                    <a:lnTo>
                      <a:pt x="537" y="101"/>
                    </a:lnTo>
                    <a:lnTo>
                      <a:pt x="527" y="91"/>
                    </a:lnTo>
                    <a:lnTo>
                      <a:pt x="516" y="80"/>
                    </a:lnTo>
                    <a:lnTo>
                      <a:pt x="505" y="71"/>
                    </a:lnTo>
                    <a:lnTo>
                      <a:pt x="493" y="61"/>
                    </a:lnTo>
                    <a:lnTo>
                      <a:pt x="481" y="52"/>
                    </a:lnTo>
                    <a:lnTo>
                      <a:pt x="468" y="45"/>
                    </a:lnTo>
                    <a:lnTo>
                      <a:pt x="456" y="37"/>
                    </a:lnTo>
                    <a:lnTo>
                      <a:pt x="443" y="30"/>
                    </a:lnTo>
                    <a:lnTo>
                      <a:pt x="429" y="25"/>
                    </a:lnTo>
                    <a:lnTo>
                      <a:pt x="415" y="18"/>
                    </a:lnTo>
                    <a:lnTo>
                      <a:pt x="400" y="14"/>
                    </a:lnTo>
                    <a:lnTo>
                      <a:pt x="385" y="10"/>
                    </a:lnTo>
                    <a:lnTo>
                      <a:pt x="370" y="7"/>
                    </a:lnTo>
                    <a:lnTo>
                      <a:pt x="355" y="3"/>
                    </a:lnTo>
                    <a:lnTo>
                      <a:pt x="340" y="1"/>
                    </a:lnTo>
                    <a:lnTo>
                      <a:pt x="324" y="0"/>
                    </a:lnTo>
                    <a:lnTo>
                      <a:pt x="308" y="0"/>
                    </a:lnTo>
                    <a:lnTo>
                      <a:pt x="308" y="0"/>
                    </a:lnTo>
                    <a:lnTo>
                      <a:pt x="292" y="0"/>
                    </a:lnTo>
                    <a:lnTo>
                      <a:pt x="277" y="1"/>
                    </a:lnTo>
                    <a:lnTo>
                      <a:pt x="261" y="3"/>
                    </a:lnTo>
                    <a:lnTo>
                      <a:pt x="246" y="7"/>
                    </a:lnTo>
                    <a:lnTo>
                      <a:pt x="232" y="10"/>
                    </a:lnTo>
                    <a:lnTo>
                      <a:pt x="217" y="14"/>
                    </a:lnTo>
                    <a:lnTo>
                      <a:pt x="203" y="18"/>
                    </a:lnTo>
                    <a:lnTo>
                      <a:pt x="188" y="25"/>
                    </a:lnTo>
                    <a:lnTo>
                      <a:pt x="175" y="30"/>
                    </a:lnTo>
                    <a:lnTo>
                      <a:pt x="161" y="37"/>
                    </a:lnTo>
                    <a:lnTo>
                      <a:pt x="148" y="45"/>
                    </a:lnTo>
                    <a:lnTo>
                      <a:pt x="136" y="52"/>
                    </a:lnTo>
                    <a:lnTo>
                      <a:pt x="124" y="61"/>
                    </a:lnTo>
                    <a:lnTo>
                      <a:pt x="112" y="71"/>
                    </a:lnTo>
                    <a:lnTo>
                      <a:pt x="101" y="80"/>
                    </a:lnTo>
                    <a:lnTo>
                      <a:pt x="91" y="91"/>
                    </a:lnTo>
                    <a:lnTo>
                      <a:pt x="80" y="101"/>
                    </a:lnTo>
                    <a:lnTo>
                      <a:pt x="70" y="112"/>
                    </a:lnTo>
                    <a:lnTo>
                      <a:pt x="61" y="124"/>
                    </a:lnTo>
                    <a:lnTo>
                      <a:pt x="52" y="136"/>
                    </a:lnTo>
                    <a:lnTo>
                      <a:pt x="45" y="148"/>
                    </a:lnTo>
                    <a:lnTo>
                      <a:pt x="37" y="161"/>
                    </a:lnTo>
                    <a:lnTo>
                      <a:pt x="30" y="175"/>
                    </a:lnTo>
                    <a:lnTo>
                      <a:pt x="25" y="189"/>
                    </a:lnTo>
                    <a:lnTo>
                      <a:pt x="18" y="203"/>
                    </a:lnTo>
                    <a:lnTo>
                      <a:pt x="14" y="217"/>
                    </a:lnTo>
                    <a:lnTo>
                      <a:pt x="10" y="232"/>
                    </a:lnTo>
                    <a:lnTo>
                      <a:pt x="6" y="247"/>
                    </a:lnTo>
                    <a:lnTo>
                      <a:pt x="3" y="261"/>
                    </a:lnTo>
                    <a:lnTo>
                      <a:pt x="1" y="277"/>
                    </a:lnTo>
                    <a:lnTo>
                      <a:pt x="0" y="292"/>
                    </a:lnTo>
                    <a:lnTo>
                      <a:pt x="0" y="308"/>
                    </a:lnTo>
                    <a:lnTo>
                      <a:pt x="0" y="308"/>
                    </a:lnTo>
                    <a:lnTo>
                      <a:pt x="0" y="324"/>
                    </a:lnTo>
                    <a:lnTo>
                      <a:pt x="1" y="340"/>
                    </a:lnTo>
                    <a:lnTo>
                      <a:pt x="3" y="355"/>
                    </a:lnTo>
                    <a:lnTo>
                      <a:pt x="6" y="370"/>
                    </a:lnTo>
                    <a:lnTo>
                      <a:pt x="10" y="385"/>
                    </a:lnTo>
                    <a:lnTo>
                      <a:pt x="14" y="400"/>
                    </a:lnTo>
                    <a:lnTo>
                      <a:pt x="18" y="415"/>
                    </a:lnTo>
                    <a:lnTo>
                      <a:pt x="25" y="429"/>
                    </a:lnTo>
                    <a:lnTo>
                      <a:pt x="30" y="443"/>
                    </a:lnTo>
                    <a:lnTo>
                      <a:pt x="37" y="456"/>
                    </a:lnTo>
                    <a:lnTo>
                      <a:pt x="45" y="468"/>
                    </a:lnTo>
                    <a:lnTo>
                      <a:pt x="52" y="481"/>
                    </a:lnTo>
                    <a:lnTo>
                      <a:pt x="61" y="493"/>
                    </a:lnTo>
                    <a:lnTo>
                      <a:pt x="70" y="505"/>
                    </a:lnTo>
                    <a:lnTo>
                      <a:pt x="80" y="516"/>
                    </a:lnTo>
                    <a:lnTo>
                      <a:pt x="91" y="527"/>
                    </a:lnTo>
                    <a:lnTo>
                      <a:pt x="101" y="537"/>
                    </a:lnTo>
                    <a:lnTo>
                      <a:pt x="112" y="546"/>
                    </a:lnTo>
                    <a:lnTo>
                      <a:pt x="124" y="556"/>
                    </a:lnTo>
                    <a:lnTo>
                      <a:pt x="136" y="564"/>
                    </a:lnTo>
                    <a:lnTo>
                      <a:pt x="148" y="573"/>
                    </a:lnTo>
                    <a:lnTo>
                      <a:pt x="161" y="580"/>
                    </a:lnTo>
                    <a:lnTo>
                      <a:pt x="175" y="587"/>
                    </a:lnTo>
                    <a:lnTo>
                      <a:pt x="188" y="593"/>
                    </a:lnTo>
                    <a:lnTo>
                      <a:pt x="203" y="599"/>
                    </a:lnTo>
                    <a:lnTo>
                      <a:pt x="217" y="603"/>
                    </a:lnTo>
                    <a:lnTo>
                      <a:pt x="232" y="607"/>
                    </a:lnTo>
                    <a:lnTo>
                      <a:pt x="246" y="611"/>
                    </a:lnTo>
                    <a:lnTo>
                      <a:pt x="261" y="614"/>
                    </a:lnTo>
                    <a:lnTo>
                      <a:pt x="277" y="616"/>
                    </a:lnTo>
                    <a:lnTo>
                      <a:pt x="292" y="617"/>
                    </a:lnTo>
                    <a:lnTo>
                      <a:pt x="308" y="617"/>
                    </a:lnTo>
                    <a:lnTo>
                      <a:pt x="308" y="617"/>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sp>
            <p:nvSpPr>
              <p:cNvPr id="81" name="Freeform 129"/>
              <p:cNvSpPr/>
              <p:nvPr/>
            </p:nvSpPr>
            <p:spPr bwMode="auto">
              <a:xfrm>
                <a:off x="1182688" y="2181226"/>
                <a:ext cx="954088" cy="1720850"/>
              </a:xfrm>
              <a:custGeom>
                <a:avLst/>
                <a:gdLst>
                  <a:gd name="T0" fmla="*/ 1484 w 1805"/>
                  <a:gd name="T1" fmla="*/ 188 h 3254"/>
                  <a:gd name="T2" fmla="*/ 1447 w 1805"/>
                  <a:gd name="T3" fmla="*/ 105 h 3254"/>
                  <a:gd name="T4" fmla="*/ 1396 w 1805"/>
                  <a:gd name="T5" fmla="*/ 46 h 3254"/>
                  <a:gd name="T6" fmla="*/ 1356 w 1805"/>
                  <a:gd name="T7" fmla="*/ 19 h 3254"/>
                  <a:gd name="T8" fmla="*/ 1306 w 1805"/>
                  <a:gd name="T9" fmla="*/ 3 h 3254"/>
                  <a:gd name="T10" fmla="*/ 874 w 1805"/>
                  <a:gd name="T11" fmla="*/ 0 h 3254"/>
                  <a:gd name="T12" fmla="*/ 513 w 1805"/>
                  <a:gd name="T13" fmla="*/ 1 h 3254"/>
                  <a:gd name="T14" fmla="*/ 461 w 1805"/>
                  <a:gd name="T15" fmla="*/ 14 h 3254"/>
                  <a:gd name="T16" fmla="*/ 418 w 1805"/>
                  <a:gd name="T17" fmla="*/ 39 h 3254"/>
                  <a:gd name="T18" fmla="*/ 370 w 1805"/>
                  <a:gd name="T19" fmla="*/ 88 h 3254"/>
                  <a:gd name="T20" fmla="*/ 332 w 1805"/>
                  <a:gd name="T21" fmla="*/ 158 h 3254"/>
                  <a:gd name="T22" fmla="*/ 5 w 1805"/>
                  <a:gd name="T23" fmla="*/ 1212 h 3254"/>
                  <a:gd name="T24" fmla="*/ 1 w 1805"/>
                  <a:gd name="T25" fmla="*/ 1263 h 3254"/>
                  <a:gd name="T26" fmla="*/ 15 w 1805"/>
                  <a:gd name="T27" fmla="*/ 1310 h 3254"/>
                  <a:gd name="T28" fmla="*/ 46 w 1805"/>
                  <a:gd name="T29" fmla="*/ 1349 h 3254"/>
                  <a:gd name="T30" fmla="*/ 91 w 1805"/>
                  <a:gd name="T31" fmla="*/ 1373 h 3254"/>
                  <a:gd name="T32" fmla="*/ 129 w 1805"/>
                  <a:gd name="T33" fmla="*/ 1378 h 3254"/>
                  <a:gd name="T34" fmla="*/ 178 w 1805"/>
                  <a:gd name="T35" fmla="*/ 1369 h 3254"/>
                  <a:gd name="T36" fmla="*/ 219 w 1805"/>
                  <a:gd name="T37" fmla="*/ 1342 h 3254"/>
                  <a:gd name="T38" fmla="*/ 248 w 1805"/>
                  <a:gd name="T39" fmla="*/ 1300 h 3254"/>
                  <a:gd name="T40" fmla="*/ 527 w 1805"/>
                  <a:gd name="T41" fmla="*/ 428 h 3254"/>
                  <a:gd name="T42" fmla="*/ 548 w 1805"/>
                  <a:gd name="T43" fmla="*/ 3102 h 3254"/>
                  <a:gd name="T44" fmla="*/ 555 w 1805"/>
                  <a:gd name="T45" fmla="*/ 3147 h 3254"/>
                  <a:gd name="T46" fmla="*/ 583 w 1805"/>
                  <a:gd name="T47" fmla="*/ 3198 h 3254"/>
                  <a:gd name="T48" fmla="*/ 627 w 1805"/>
                  <a:gd name="T49" fmla="*/ 3236 h 3254"/>
                  <a:gd name="T50" fmla="*/ 684 w 1805"/>
                  <a:gd name="T51" fmla="*/ 3253 h 3254"/>
                  <a:gd name="T52" fmla="*/ 730 w 1805"/>
                  <a:gd name="T53" fmla="*/ 3251 h 3254"/>
                  <a:gd name="T54" fmla="*/ 783 w 1805"/>
                  <a:gd name="T55" fmla="*/ 3227 h 3254"/>
                  <a:gd name="T56" fmla="*/ 825 w 1805"/>
                  <a:gd name="T57" fmla="*/ 3187 h 3254"/>
                  <a:gd name="T58" fmla="*/ 847 w 1805"/>
                  <a:gd name="T59" fmla="*/ 3133 h 3254"/>
                  <a:gd name="T60" fmla="*/ 903 w 1805"/>
                  <a:gd name="T61" fmla="*/ 1923 h 3254"/>
                  <a:gd name="T62" fmla="*/ 956 w 1805"/>
                  <a:gd name="T63" fmla="*/ 3118 h 3254"/>
                  <a:gd name="T64" fmla="*/ 973 w 1805"/>
                  <a:gd name="T65" fmla="*/ 3175 h 3254"/>
                  <a:gd name="T66" fmla="*/ 1010 w 1805"/>
                  <a:gd name="T67" fmla="*/ 3219 h 3254"/>
                  <a:gd name="T68" fmla="*/ 1062 w 1805"/>
                  <a:gd name="T69" fmla="*/ 3246 h 3254"/>
                  <a:gd name="T70" fmla="*/ 1106 w 1805"/>
                  <a:gd name="T71" fmla="*/ 3254 h 3254"/>
                  <a:gd name="T72" fmla="*/ 1165 w 1805"/>
                  <a:gd name="T73" fmla="*/ 3242 h 3254"/>
                  <a:gd name="T74" fmla="*/ 1213 w 1805"/>
                  <a:gd name="T75" fmla="*/ 3209 h 3254"/>
                  <a:gd name="T76" fmla="*/ 1245 w 1805"/>
                  <a:gd name="T77" fmla="*/ 3161 h 3254"/>
                  <a:gd name="T78" fmla="*/ 1257 w 1805"/>
                  <a:gd name="T79" fmla="*/ 3102 h 3254"/>
                  <a:gd name="T80" fmla="*/ 1278 w 1805"/>
                  <a:gd name="T81" fmla="*/ 428 h 3254"/>
                  <a:gd name="T82" fmla="*/ 1553 w 1805"/>
                  <a:gd name="T83" fmla="*/ 1288 h 3254"/>
                  <a:gd name="T84" fmla="*/ 1578 w 1805"/>
                  <a:gd name="T85" fmla="*/ 1333 h 3254"/>
                  <a:gd name="T86" fmla="*/ 1616 w 1805"/>
                  <a:gd name="T87" fmla="*/ 1364 h 3254"/>
                  <a:gd name="T88" fmla="*/ 1663 w 1805"/>
                  <a:gd name="T89" fmla="*/ 1378 h 3254"/>
                  <a:gd name="T90" fmla="*/ 1714 w 1805"/>
                  <a:gd name="T91" fmla="*/ 1373 h 3254"/>
                  <a:gd name="T92" fmla="*/ 1749 w 1805"/>
                  <a:gd name="T93" fmla="*/ 1356 h 3254"/>
                  <a:gd name="T94" fmla="*/ 1784 w 1805"/>
                  <a:gd name="T95" fmla="*/ 1321 h 3254"/>
                  <a:gd name="T96" fmla="*/ 1803 w 1805"/>
                  <a:gd name="T97" fmla="*/ 1276 h 3254"/>
                  <a:gd name="T98" fmla="*/ 1803 w 1805"/>
                  <a:gd name="T99" fmla="*/ 1225 h 3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5" h="3254">
                    <a:moveTo>
                      <a:pt x="1800" y="1212"/>
                    </a:moveTo>
                    <a:lnTo>
                      <a:pt x="1493" y="209"/>
                    </a:lnTo>
                    <a:lnTo>
                      <a:pt x="1493" y="209"/>
                    </a:lnTo>
                    <a:lnTo>
                      <a:pt x="1484" y="188"/>
                    </a:lnTo>
                    <a:lnTo>
                      <a:pt x="1473" y="158"/>
                    </a:lnTo>
                    <a:lnTo>
                      <a:pt x="1466" y="141"/>
                    </a:lnTo>
                    <a:lnTo>
                      <a:pt x="1457" y="123"/>
                    </a:lnTo>
                    <a:lnTo>
                      <a:pt x="1447" y="105"/>
                    </a:lnTo>
                    <a:lnTo>
                      <a:pt x="1435" y="88"/>
                    </a:lnTo>
                    <a:lnTo>
                      <a:pt x="1421" y="70"/>
                    </a:lnTo>
                    <a:lnTo>
                      <a:pt x="1405" y="54"/>
                    </a:lnTo>
                    <a:lnTo>
                      <a:pt x="1396" y="46"/>
                    </a:lnTo>
                    <a:lnTo>
                      <a:pt x="1387" y="39"/>
                    </a:lnTo>
                    <a:lnTo>
                      <a:pt x="1377" y="31"/>
                    </a:lnTo>
                    <a:lnTo>
                      <a:pt x="1367" y="25"/>
                    </a:lnTo>
                    <a:lnTo>
                      <a:pt x="1356" y="19"/>
                    </a:lnTo>
                    <a:lnTo>
                      <a:pt x="1344" y="14"/>
                    </a:lnTo>
                    <a:lnTo>
                      <a:pt x="1332" y="10"/>
                    </a:lnTo>
                    <a:lnTo>
                      <a:pt x="1320" y="7"/>
                    </a:lnTo>
                    <a:lnTo>
                      <a:pt x="1306" y="3"/>
                    </a:lnTo>
                    <a:lnTo>
                      <a:pt x="1292" y="1"/>
                    </a:lnTo>
                    <a:lnTo>
                      <a:pt x="1277" y="0"/>
                    </a:lnTo>
                    <a:lnTo>
                      <a:pt x="1261" y="0"/>
                    </a:lnTo>
                    <a:lnTo>
                      <a:pt x="874" y="0"/>
                    </a:lnTo>
                    <a:lnTo>
                      <a:pt x="544" y="0"/>
                    </a:lnTo>
                    <a:lnTo>
                      <a:pt x="544" y="0"/>
                    </a:lnTo>
                    <a:lnTo>
                      <a:pt x="528" y="0"/>
                    </a:lnTo>
                    <a:lnTo>
                      <a:pt x="513" y="1"/>
                    </a:lnTo>
                    <a:lnTo>
                      <a:pt x="499" y="3"/>
                    </a:lnTo>
                    <a:lnTo>
                      <a:pt x="486" y="7"/>
                    </a:lnTo>
                    <a:lnTo>
                      <a:pt x="473" y="10"/>
                    </a:lnTo>
                    <a:lnTo>
                      <a:pt x="461" y="14"/>
                    </a:lnTo>
                    <a:lnTo>
                      <a:pt x="449" y="19"/>
                    </a:lnTo>
                    <a:lnTo>
                      <a:pt x="439" y="25"/>
                    </a:lnTo>
                    <a:lnTo>
                      <a:pt x="428" y="31"/>
                    </a:lnTo>
                    <a:lnTo>
                      <a:pt x="418" y="39"/>
                    </a:lnTo>
                    <a:lnTo>
                      <a:pt x="409" y="46"/>
                    </a:lnTo>
                    <a:lnTo>
                      <a:pt x="400" y="54"/>
                    </a:lnTo>
                    <a:lnTo>
                      <a:pt x="384" y="70"/>
                    </a:lnTo>
                    <a:lnTo>
                      <a:pt x="370" y="88"/>
                    </a:lnTo>
                    <a:lnTo>
                      <a:pt x="359" y="105"/>
                    </a:lnTo>
                    <a:lnTo>
                      <a:pt x="348" y="123"/>
                    </a:lnTo>
                    <a:lnTo>
                      <a:pt x="339" y="141"/>
                    </a:lnTo>
                    <a:lnTo>
                      <a:pt x="332" y="158"/>
                    </a:lnTo>
                    <a:lnTo>
                      <a:pt x="320" y="188"/>
                    </a:lnTo>
                    <a:lnTo>
                      <a:pt x="313" y="209"/>
                    </a:lnTo>
                    <a:lnTo>
                      <a:pt x="5" y="1212"/>
                    </a:lnTo>
                    <a:lnTo>
                      <a:pt x="5" y="1212"/>
                    </a:lnTo>
                    <a:lnTo>
                      <a:pt x="2" y="1225"/>
                    </a:lnTo>
                    <a:lnTo>
                      <a:pt x="1" y="1238"/>
                    </a:lnTo>
                    <a:lnTo>
                      <a:pt x="0" y="1250"/>
                    </a:lnTo>
                    <a:lnTo>
                      <a:pt x="1" y="1263"/>
                    </a:lnTo>
                    <a:lnTo>
                      <a:pt x="2" y="1276"/>
                    </a:lnTo>
                    <a:lnTo>
                      <a:pt x="5" y="1288"/>
                    </a:lnTo>
                    <a:lnTo>
                      <a:pt x="10" y="1300"/>
                    </a:lnTo>
                    <a:lnTo>
                      <a:pt x="15" y="1310"/>
                    </a:lnTo>
                    <a:lnTo>
                      <a:pt x="21" y="1321"/>
                    </a:lnTo>
                    <a:lnTo>
                      <a:pt x="29" y="1330"/>
                    </a:lnTo>
                    <a:lnTo>
                      <a:pt x="37" y="1340"/>
                    </a:lnTo>
                    <a:lnTo>
                      <a:pt x="46" y="1349"/>
                    </a:lnTo>
                    <a:lnTo>
                      <a:pt x="57" y="1356"/>
                    </a:lnTo>
                    <a:lnTo>
                      <a:pt x="67" y="1362"/>
                    </a:lnTo>
                    <a:lnTo>
                      <a:pt x="79" y="1369"/>
                    </a:lnTo>
                    <a:lnTo>
                      <a:pt x="91" y="1373"/>
                    </a:lnTo>
                    <a:lnTo>
                      <a:pt x="91" y="1373"/>
                    </a:lnTo>
                    <a:lnTo>
                      <a:pt x="104" y="1376"/>
                    </a:lnTo>
                    <a:lnTo>
                      <a:pt x="116" y="1378"/>
                    </a:lnTo>
                    <a:lnTo>
                      <a:pt x="129" y="1378"/>
                    </a:lnTo>
                    <a:lnTo>
                      <a:pt x="142" y="1378"/>
                    </a:lnTo>
                    <a:lnTo>
                      <a:pt x="155" y="1376"/>
                    </a:lnTo>
                    <a:lnTo>
                      <a:pt x="167" y="1373"/>
                    </a:lnTo>
                    <a:lnTo>
                      <a:pt x="178" y="1369"/>
                    </a:lnTo>
                    <a:lnTo>
                      <a:pt x="189" y="1364"/>
                    </a:lnTo>
                    <a:lnTo>
                      <a:pt x="200" y="1357"/>
                    </a:lnTo>
                    <a:lnTo>
                      <a:pt x="209" y="1350"/>
                    </a:lnTo>
                    <a:lnTo>
                      <a:pt x="219" y="1342"/>
                    </a:lnTo>
                    <a:lnTo>
                      <a:pt x="227" y="1333"/>
                    </a:lnTo>
                    <a:lnTo>
                      <a:pt x="235" y="1323"/>
                    </a:lnTo>
                    <a:lnTo>
                      <a:pt x="241" y="1311"/>
                    </a:lnTo>
                    <a:lnTo>
                      <a:pt x="248" y="1300"/>
                    </a:lnTo>
                    <a:lnTo>
                      <a:pt x="252" y="1288"/>
                    </a:lnTo>
                    <a:lnTo>
                      <a:pt x="515" y="427"/>
                    </a:lnTo>
                    <a:lnTo>
                      <a:pt x="515" y="427"/>
                    </a:lnTo>
                    <a:lnTo>
                      <a:pt x="527" y="428"/>
                    </a:lnTo>
                    <a:lnTo>
                      <a:pt x="562" y="428"/>
                    </a:lnTo>
                    <a:lnTo>
                      <a:pt x="164" y="1923"/>
                    </a:lnTo>
                    <a:lnTo>
                      <a:pt x="548" y="1923"/>
                    </a:lnTo>
                    <a:lnTo>
                      <a:pt x="548" y="3102"/>
                    </a:lnTo>
                    <a:lnTo>
                      <a:pt x="548" y="3102"/>
                    </a:lnTo>
                    <a:lnTo>
                      <a:pt x="548" y="3118"/>
                    </a:lnTo>
                    <a:lnTo>
                      <a:pt x="551" y="3133"/>
                    </a:lnTo>
                    <a:lnTo>
                      <a:pt x="555" y="3147"/>
                    </a:lnTo>
                    <a:lnTo>
                      <a:pt x="560" y="3161"/>
                    </a:lnTo>
                    <a:lnTo>
                      <a:pt x="567" y="3175"/>
                    </a:lnTo>
                    <a:lnTo>
                      <a:pt x="574" y="3187"/>
                    </a:lnTo>
                    <a:lnTo>
                      <a:pt x="583" y="3198"/>
                    </a:lnTo>
                    <a:lnTo>
                      <a:pt x="592" y="3209"/>
                    </a:lnTo>
                    <a:lnTo>
                      <a:pt x="603" y="3219"/>
                    </a:lnTo>
                    <a:lnTo>
                      <a:pt x="615" y="3227"/>
                    </a:lnTo>
                    <a:lnTo>
                      <a:pt x="627" y="3236"/>
                    </a:lnTo>
                    <a:lnTo>
                      <a:pt x="640" y="3242"/>
                    </a:lnTo>
                    <a:lnTo>
                      <a:pt x="654" y="3246"/>
                    </a:lnTo>
                    <a:lnTo>
                      <a:pt x="669" y="3251"/>
                    </a:lnTo>
                    <a:lnTo>
                      <a:pt x="684" y="3253"/>
                    </a:lnTo>
                    <a:lnTo>
                      <a:pt x="699" y="3254"/>
                    </a:lnTo>
                    <a:lnTo>
                      <a:pt x="699" y="3254"/>
                    </a:lnTo>
                    <a:lnTo>
                      <a:pt x="715" y="3253"/>
                    </a:lnTo>
                    <a:lnTo>
                      <a:pt x="730" y="3251"/>
                    </a:lnTo>
                    <a:lnTo>
                      <a:pt x="744" y="3246"/>
                    </a:lnTo>
                    <a:lnTo>
                      <a:pt x="758" y="3242"/>
                    </a:lnTo>
                    <a:lnTo>
                      <a:pt x="771" y="3236"/>
                    </a:lnTo>
                    <a:lnTo>
                      <a:pt x="783" y="3227"/>
                    </a:lnTo>
                    <a:lnTo>
                      <a:pt x="795" y="3219"/>
                    </a:lnTo>
                    <a:lnTo>
                      <a:pt x="806" y="3209"/>
                    </a:lnTo>
                    <a:lnTo>
                      <a:pt x="815" y="3198"/>
                    </a:lnTo>
                    <a:lnTo>
                      <a:pt x="825" y="3187"/>
                    </a:lnTo>
                    <a:lnTo>
                      <a:pt x="832" y="3175"/>
                    </a:lnTo>
                    <a:lnTo>
                      <a:pt x="839" y="3161"/>
                    </a:lnTo>
                    <a:lnTo>
                      <a:pt x="843" y="3147"/>
                    </a:lnTo>
                    <a:lnTo>
                      <a:pt x="847" y="3133"/>
                    </a:lnTo>
                    <a:lnTo>
                      <a:pt x="849" y="3118"/>
                    </a:lnTo>
                    <a:lnTo>
                      <a:pt x="850" y="3102"/>
                    </a:lnTo>
                    <a:lnTo>
                      <a:pt x="850" y="1923"/>
                    </a:lnTo>
                    <a:lnTo>
                      <a:pt x="903" y="1923"/>
                    </a:lnTo>
                    <a:lnTo>
                      <a:pt x="955" y="1923"/>
                    </a:lnTo>
                    <a:lnTo>
                      <a:pt x="955" y="3102"/>
                    </a:lnTo>
                    <a:lnTo>
                      <a:pt x="955" y="3102"/>
                    </a:lnTo>
                    <a:lnTo>
                      <a:pt x="956" y="3118"/>
                    </a:lnTo>
                    <a:lnTo>
                      <a:pt x="958" y="3133"/>
                    </a:lnTo>
                    <a:lnTo>
                      <a:pt x="962" y="3147"/>
                    </a:lnTo>
                    <a:lnTo>
                      <a:pt x="967" y="3161"/>
                    </a:lnTo>
                    <a:lnTo>
                      <a:pt x="973" y="3175"/>
                    </a:lnTo>
                    <a:lnTo>
                      <a:pt x="980" y="3187"/>
                    </a:lnTo>
                    <a:lnTo>
                      <a:pt x="990" y="3198"/>
                    </a:lnTo>
                    <a:lnTo>
                      <a:pt x="1000" y="3209"/>
                    </a:lnTo>
                    <a:lnTo>
                      <a:pt x="1010" y="3219"/>
                    </a:lnTo>
                    <a:lnTo>
                      <a:pt x="1022" y="3227"/>
                    </a:lnTo>
                    <a:lnTo>
                      <a:pt x="1034" y="3236"/>
                    </a:lnTo>
                    <a:lnTo>
                      <a:pt x="1048" y="3242"/>
                    </a:lnTo>
                    <a:lnTo>
                      <a:pt x="1062" y="3246"/>
                    </a:lnTo>
                    <a:lnTo>
                      <a:pt x="1075" y="3251"/>
                    </a:lnTo>
                    <a:lnTo>
                      <a:pt x="1090" y="3253"/>
                    </a:lnTo>
                    <a:lnTo>
                      <a:pt x="1106" y="3254"/>
                    </a:lnTo>
                    <a:lnTo>
                      <a:pt x="1106" y="3254"/>
                    </a:lnTo>
                    <a:lnTo>
                      <a:pt x="1121" y="3253"/>
                    </a:lnTo>
                    <a:lnTo>
                      <a:pt x="1136" y="3251"/>
                    </a:lnTo>
                    <a:lnTo>
                      <a:pt x="1151" y="3246"/>
                    </a:lnTo>
                    <a:lnTo>
                      <a:pt x="1165" y="3242"/>
                    </a:lnTo>
                    <a:lnTo>
                      <a:pt x="1178" y="3236"/>
                    </a:lnTo>
                    <a:lnTo>
                      <a:pt x="1191" y="3227"/>
                    </a:lnTo>
                    <a:lnTo>
                      <a:pt x="1202" y="3219"/>
                    </a:lnTo>
                    <a:lnTo>
                      <a:pt x="1213" y="3209"/>
                    </a:lnTo>
                    <a:lnTo>
                      <a:pt x="1223" y="3198"/>
                    </a:lnTo>
                    <a:lnTo>
                      <a:pt x="1231" y="3187"/>
                    </a:lnTo>
                    <a:lnTo>
                      <a:pt x="1239" y="3175"/>
                    </a:lnTo>
                    <a:lnTo>
                      <a:pt x="1245" y="3161"/>
                    </a:lnTo>
                    <a:lnTo>
                      <a:pt x="1250" y="3147"/>
                    </a:lnTo>
                    <a:lnTo>
                      <a:pt x="1255" y="3133"/>
                    </a:lnTo>
                    <a:lnTo>
                      <a:pt x="1257" y="3118"/>
                    </a:lnTo>
                    <a:lnTo>
                      <a:pt x="1257" y="3102"/>
                    </a:lnTo>
                    <a:lnTo>
                      <a:pt x="1257" y="1923"/>
                    </a:lnTo>
                    <a:lnTo>
                      <a:pt x="1641" y="1923"/>
                    </a:lnTo>
                    <a:lnTo>
                      <a:pt x="1243" y="428"/>
                    </a:lnTo>
                    <a:lnTo>
                      <a:pt x="1278" y="428"/>
                    </a:lnTo>
                    <a:lnTo>
                      <a:pt x="1278" y="428"/>
                    </a:lnTo>
                    <a:lnTo>
                      <a:pt x="1290" y="427"/>
                    </a:lnTo>
                    <a:lnTo>
                      <a:pt x="1553" y="1288"/>
                    </a:lnTo>
                    <a:lnTo>
                      <a:pt x="1553" y="1288"/>
                    </a:lnTo>
                    <a:lnTo>
                      <a:pt x="1558" y="1300"/>
                    </a:lnTo>
                    <a:lnTo>
                      <a:pt x="1564" y="1311"/>
                    </a:lnTo>
                    <a:lnTo>
                      <a:pt x="1570" y="1323"/>
                    </a:lnTo>
                    <a:lnTo>
                      <a:pt x="1578" y="1333"/>
                    </a:lnTo>
                    <a:lnTo>
                      <a:pt x="1586" y="1342"/>
                    </a:lnTo>
                    <a:lnTo>
                      <a:pt x="1595" y="1350"/>
                    </a:lnTo>
                    <a:lnTo>
                      <a:pt x="1606" y="1357"/>
                    </a:lnTo>
                    <a:lnTo>
                      <a:pt x="1616" y="1364"/>
                    </a:lnTo>
                    <a:lnTo>
                      <a:pt x="1627" y="1369"/>
                    </a:lnTo>
                    <a:lnTo>
                      <a:pt x="1639" y="1373"/>
                    </a:lnTo>
                    <a:lnTo>
                      <a:pt x="1650" y="1376"/>
                    </a:lnTo>
                    <a:lnTo>
                      <a:pt x="1663" y="1378"/>
                    </a:lnTo>
                    <a:lnTo>
                      <a:pt x="1676" y="1378"/>
                    </a:lnTo>
                    <a:lnTo>
                      <a:pt x="1689" y="1378"/>
                    </a:lnTo>
                    <a:lnTo>
                      <a:pt x="1702" y="1376"/>
                    </a:lnTo>
                    <a:lnTo>
                      <a:pt x="1714" y="1373"/>
                    </a:lnTo>
                    <a:lnTo>
                      <a:pt x="1714" y="1373"/>
                    </a:lnTo>
                    <a:lnTo>
                      <a:pt x="1726" y="1369"/>
                    </a:lnTo>
                    <a:lnTo>
                      <a:pt x="1738" y="1362"/>
                    </a:lnTo>
                    <a:lnTo>
                      <a:pt x="1749" y="1356"/>
                    </a:lnTo>
                    <a:lnTo>
                      <a:pt x="1759" y="1349"/>
                    </a:lnTo>
                    <a:lnTo>
                      <a:pt x="1768" y="1340"/>
                    </a:lnTo>
                    <a:lnTo>
                      <a:pt x="1776" y="1330"/>
                    </a:lnTo>
                    <a:lnTo>
                      <a:pt x="1784" y="1321"/>
                    </a:lnTo>
                    <a:lnTo>
                      <a:pt x="1790" y="1310"/>
                    </a:lnTo>
                    <a:lnTo>
                      <a:pt x="1795" y="1300"/>
                    </a:lnTo>
                    <a:lnTo>
                      <a:pt x="1800" y="1288"/>
                    </a:lnTo>
                    <a:lnTo>
                      <a:pt x="1803" y="1276"/>
                    </a:lnTo>
                    <a:lnTo>
                      <a:pt x="1804" y="1263"/>
                    </a:lnTo>
                    <a:lnTo>
                      <a:pt x="1805" y="1250"/>
                    </a:lnTo>
                    <a:lnTo>
                      <a:pt x="1804" y="1238"/>
                    </a:lnTo>
                    <a:lnTo>
                      <a:pt x="1803" y="1225"/>
                    </a:lnTo>
                    <a:lnTo>
                      <a:pt x="1800" y="1212"/>
                    </a:lnTo>
                    <a:lnTo>
                      <a:pt x="1800" y="1212"/>
                    </a:lnTo>
                    <a:close/>
                  </a:path>
                </a:pathLst>
              </a:custGeom>
              <a:solidFill>
                <a:srgbClr val="A3CB8D"/>
              </a:solidFill>
              <a:ln w="1588">
                <a:noFill/>
                <a:prstDash val="solid"/>
                <a:round/>
              </a:ln>
              <a:effectLst/>
            </p:spPr>
            <p:txBody>
              <a:bodyPr vert="horz" wrap="square" lIns="91440" tIns="45720" rIns="91440" bIns="45720" numCol="1" anchor="t" anchorCtr="0" compatLnSpc="1"/>
              <a:lstStyle/>
              <a:p>
                <a:pPr defTabSz="1219200">
                  <a:defRPr/>
                </a:pPr>
                <a:endParaRPr lang="en-US" sz="2400" kern="0">
                  <a:solidFill>
                    <a:sysClr val="windowText" lastClr="000000"/>
                  </a:solidFill>
                  <a:cs typeface="+mn-ea"/>
                  <a:sym typeface="+mn-lt"/>
                </a:endParaRPr>
              </a:p>
            </p:txBody>
          </p:sp>
        </p:grpSp>
      </p:grpSp>
      <p:grpSp>
        <p:nvGrpSpPr>
          <p:cNvPr id="90" name="Group 5"/>
          <p:cNvGrpSpPr/>
          <p:nvPr/>
        </p:nvGrpSpPr>
        <p:grpSpPr>
          <a:xfrm>
            <a:off x="5047598" y="3288632"/>
            <a:ext cx="1084600" cy="1084741"/>
            <a:chOff x="4236720" y="2596405"/>
            <a:chExt cx="670560" cy="670560"/>
          </a:xfrm>
        </p:grpSpPr>
        <p:sp>
          <p:nvSpPr>
            <p:cNvPr id="91" name="Oval 140"/>
            <p:cNvSpPr/>
            <p:nvPr/>
          </p:nvSpPr>
          <p:spPr>
            <a:xfrm>
              <a:off x="4236720" y="2596405"/>
              <a:ext cx="670560" cy="670560"/>
            </a:xfrm>
            <a:prstGeom prst="ellipse">
              <a:avLst/>
            </a:prstGeom>
            <a:solidFill>
              <a:schemeClr val="tx1">
                <a:lumMod val="65000"/>
                <a:lumOff val="35000"/>
              </a:schemeClr>
            </a:solidFill>
            <a:ln w="12700" cap="flat" cmpd="sng" algn="ctr">
              <a:solidFill>
                <a:schemeClr val="tx1">
                  <a:lumMod val="50000"/>
                  <a:lumOff val="50000"/>
                </a:schemeClr>
              </a:solidFill>
              <a:prstDash val="solid"/>
            </a:ln>
            <a:effectLst/>
          </p:spPr>
          <p:txBody>
            <a:bodyPr rtlCol="1" anchor="ctr"/>
            <a:lstStyle/>
            <a:p>
              <a:pPr algn="ctr" defTabSz="1219200">
                <a:defRPr/>
              </a:pPr>
              <a:endParaRPr lang="ar-SA" sz="2400" kern="0">
                <a:solidFill>
                  <a:srgbClr val="FFFFFF"/>
                </a:solidFill>
                <a:cs typeface="+mn-ea"/>
                <a:sym typeface="+mn-lt"/>
              </a:endParaRPr>
            </a:p>
          </p:txBody>
        </p:sp>
        <p:sp>
          <p:nvSpPr>
            <p:cNvPr id="92" name="TextBox 51"/>
            <p:cNvSpPr txBox="1"/>
            <p:nvPr/>
          </p:nvSpPr>
          <p:spPr>
            <a:xfrm>
              <a:off x="4253113" y="2764453"/>
              <a:ext cx="637774" cy="266700"/>
            </a:xfrm>
            <a:prstGeom prst="rect">
              <a:avLst/>
            </a:prstGeom>
            <a:noFill/>
          </p:spPr>
          <p:txBody>
            <a:bodyPr wrap="square" lIns="0" tIns="0" rIns="0" bIns="0" rtlCol="1" anchor="t" anchorCtr="0">
              <a:noAutofit/>
            </a:bodyPr>
            <a:lstStyle/>
            <a:p>
              <a:pPr algn="ctr" defTabSz="1219200">
                <a:defRPr/>
              </a:pPr>
              <a:r>
                <a:rPr lang="en-US" sz="3700" kern="0" dirty="0">
                  <a:solidFill>
                    <a:srgbClr val="FFFFFF"/>
                  </a:solidFill>
                  <a:cs typeface="+mn-ea"/>
                  <a:sym typeface="+mn-lt"/>
                </a:rPr>
                <a:t>VS</a:t>
              </a:r>
              <a:endParaRPr lang="ar-SA" sz="3700" kern="0" dirty="0">
                <a:solidFill>
                  <a:srgbClr val="FFFFFF"/>
                </a:solidFill>
                <a:cs typeface="+mn-ea"/>
                <a:sym typeface="+mn-lt"/>
              </a:endParaRPr>
            </a:p>
          </p:txBody>
        </p:sp>
      </p:grpSp>
      <p:grpSp>
        <p:nvGrpSpPr>
          <p:cNvPr id="93" name="Group 54"/>
          <p:cNvGrpSpPr/>
          <p:nvPr/>
        </p:nvGrpSpPr>
        <p:grpSpPr>
          <a:xfrm>
            <a:off x="4364791" y="3800876"/>
            <a:ext cx="547234" cy="103544"/>
            <a:chOff x="2656464" y="2476500"/>
            <a:chExt cx="338330" cy="64008"/>
          </a:xfrm>
        </p:grpSpPr>
        <p:cxnSp>
          <p:nvCxnSpPr>
            <p:cNvPr id="94" name="Straight Connector 55"/>
            <p:cNvCxnSpPr>
              <a:endCxn id="95" idx="2"/>
            </p:cNvCxnSpPr>
            <p:nvPr/>
          </p:nvCxnSpPr>
          <p:spPr>
            <a:xfrm rot="10800000">
              <a:off x="2720473" y="2508505"/>
              <a:ext cx="274321" cy="1283"/>
            </a:xfrm>
            <a:prstGeom prst="line">
              <a:avLst/>
            </a:prstGeom>
            <a:noFill/>
            <a:ln w="12700" cap="flat" cmpd="sng" algn="ctr">
              <a:solidFill>
                <a:schemeClr val="tx1"/>
              </a:solidFill>
              <a:prstDash val="solid"/>
            </a:ln>
            <a:effectLst/>
          </p:spPr>
        </p:cxnSp>
        <p:sp>
          <p:nvSpPr>
            <p:cNvPr id="95" name="Oval 56"/>
            <p:cNvSpPr/>
            <p:nvPr/>
          </p:nvSpPr>
          <p:spPr>
            <a:xfrm rot="10800000">
              <a:off x="2656464" y="2476500"/>
              <a:ext cx="64008" cy="64008"/>
            </a:xfrm>
            <a:prstGeom prst="ellipse">
              <a:avLst/>
            </a:prstGeom>
            <a:solidFill>
              <a:srgbClr val="FFFFFF"/>
            </a:solidFill>
            <a:ln w="12700" cap="flat" cmpd="sng" algn="ctr">
              <a:solidFill>
                <a:schemeClr val="tx1"/>
              </a:solidFill>
              <a:prstDash val="solid"/>
            </a:ln>
            <a:effectLst/>
          </p:spPr>
          <p:txBody>
            <a:bodyPr rtlCol="1" anchor="ctr"/>
            <a:lstStyle/>
            <a:p>
              <a:pPr algn="ctr" defTabSz="1219200">
                <a:defRPr/>
              </a:pPr>
              <a:endParaRPr lang="ar-SA" sz="2400" kern="0">
                <a:solidFill>
                  <a:srgbClr val="FFFFFF"/>
                </a:solidFill>
                <a:cs typeface="+mn-ea"/>
                <a:sym typeface="+mn-lt"/>
              </a:endParaRPr>
            </a:p>
          </p:txBody>
        </p:sp>
      </p:grpSp>
      <p:grpSp>
        <p:nvGrpSpPr>
          <p:cNvPr id="96" name="Group 63"/>
          <p:cNvGrpSpPr/>
          <p:nvPr/>
        </p:nvGrpSpPr>
        <p:grpSpPr>
          <a:xfrm rot="10800000">
            <a:off x="6231326" y="3800876"/>
            <a:ext cx="547234" cy="103544"/>
            <a:chOff x="2656464" y="2476500"/>
            <a:chExt cx="338330" cy="64008"/>
          </a:xfrm>
        </p:grpSpPr>
        <p:cxnSp>
          <p:nvCxnSpPr>
            <p:cNvPr id="97" name="Straight Connector 64"/>
            <p:cNvCxnSpPr>
              <a:endCxn id="98" idx="2"/>
            </p:cNvCxnSpPr>
            <p:nvPr/>
          </p:nvCxnSpPr>
          <p:spPr>
            <a:xfrm rot="10800000">
              <a:off x="2720473" y="2508505"/>
              <a:ext cx="274321" cy="1283"/>
            </a:xfrm>
            <a:prstGeom prst="line">
              <a:avLst/>
            </a:prstGeom>
            <a:noFill/>
            <a:ln w="12700" cap="flat" cmpd="sng" algn="ctr">
              <a:solidFill>
                <a:schemeClr val="tx1"/>
              </a:solidFill>
              <a:prstDash val="solid"/>
            </a:ln>
            <a:effectLst/>
          </p:spPr>
        </p:cxnSp>
        <p:sp>
          <p:nvSpPr>
            <p:cNvPr id="98" name="Oval 66"/>
            <p:cNvSpPr/>
            <p:nvPr/>
          </p:nvSpPr>
          <p:spPr>
            <a:xfrm rot="10800000">
              <a:off x="2656464" y="2476500"/>
              <a:ext cx="64008" cy="64008"/>
            </a:xfrm>
            <a:prstGeom prst="ellipse">
              <a:avLst/>
            </a:prstGeom>
            <a:solidFill>
              <a:srgbClr val="FFFFFF"/>
            </a:solidFill>
            <a:ln w="12700" cap="flat" cmpd="sng" algn="ctr">
              <a:solidFill>
                <a:schemeClr val="tx1"/>
              </a:solidFill>
              <a:prstDash val="solid"/>
            </a:ln>
            <a:effectLst/>
          </p:spPr>
          <p:txBody>
            <a:bodyPr rtlCol="1" anchor="ctr"/>
            <a:lstStyle/>
            <a:p>
              <a:pPr algn="ctr" defTabSz="1219200">
                <a:defRPr/>
              </a:pPr>
              <a:endParaRPr lang="ar-SA" sz="2400" kern="0">
                <a:solidFill>
                  <a:srgbClr val="FFFFFF"/>
                </a:solidFill>
                <a:cs typeface="+mn-ea"/>
                <a:sym typeface="+mn-lt"/>
              </a:endParaRPr>
            </a:p>
          </p:txBody>
        </p:sp>
      </p:grpSp>
      <p:sp>
        <p:nvSpPr>
          <p:cNvPr id="99" name="矩形 1"/>
          <p:cNvSpPr>
            <a:spLocks noChangeArrowheads="1"/>
          </p:cNvSpPr>
          <p:nvPr/>
        </p:nvSpPr>
        <p:spPr bwMode="auto">
          <a:xfrm>
            <a:off x="798517" y="4902160"/>
            <a:ext cx="3270333" cy="984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8" tIns="60954" rIns="121908" bIns="60954">
            <a:spAutoFit/>
          </a:bodyPr>
          <a:lstStyle/>
          <a:p>
            <a:pPr algn="just">
              <a:defRPr/>
            </a:pPr>
            <a:r>
              <a:rPr lang="zh-CN" altLang="en-US" sz="1400" dirty="0">
                <a:solidFill>
                  <a:schemeClr val="tx1">
                    <a:lumMod val="50000"/>
                    <a:lumOff val="50000"/>
                  </a:schemeClr>
                </a:solidFill>
                <a:cs typeface="+mn-ea"/>
                <a:sym typeface="+mn-lt"/>
              </a:rPr>
              <a:t>请在此处输入您的文本，或者复制您的文本粘贴到此处请在此处请在此处输入您的文本，或者复制您的文本粘贴请在此处输入您的文本，</a:t>
            </a:r>
            <a:endParaRPr lang="zh-CN" altLang="en-US" sz="1400" kern="0" dirty="0">
              <a:solidFill>
                <a:schemeClr val="tx1">
                  <a:lumMod val="50000"/>
                  <a:lumOff val="50000"/>
                </a:schemeClr>
              </a:solidFill>
              <a:cs typeface="+mn-ea"/>
              <a:sym typeface="+mn-lt"/>
            </a:endParaRPr>
          </a:p>
        </p:txBody>
      </p:sp>
      <p:sp>
        <p:nvSpPr>
          <p:cNvPr id="100" name="矩形 1"/>
          <p:cNvSpPr>
            <a:spLocks noChangeArrowheads="1"/>
          </p:cNvSpPr>
          <p:nvPr/>
        </p:nvSpPr>
        <p:spPr bwMode="auto">
          <a:xfrm>
            <a:off x="7126601" y="4902160"/>
            <a:ext cx="3270333" cy="984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8" tIns="60954" rIns="121908" bIns="60954">
            <a:spAutoFit/>
          </a:bodyPr>
          <a:lstStyle/>
          <a:p>
            <a:pPr algn="just">
              <a:defRPr/>
            </a:pPr>
            <a:r>
              <a:rPr lang="zh-CN" altLang="en-US" sz="1400" dirty="0">
                <a:solidFill>
                  <a:schemeClr val="tx1">
                    <a:lumMod val="50000"/>
                    <a:lumOff val="50000"/>
                  </a:schemeClr>
                </a:solidFill>
                <a:cs typeface="+mn-ea"/>
                <a:sym typeface="+mn-lt"/>
              </a:rPr>
              <a:t>请在此处输入您的文本，或者复制您的文本粘贴到此处请在此处请在此处输入您的文本，或者复制您的文本粘贴请在此处输入您的文本，</a:t>
            </a:r>
            <a:endParaRPr lang="zh-CN" altLang="en-US" sz="1400" kern="0" dirty="0">
              <a:solidFill>
                <a:schemeClr val="tx1">
                  <a:lumMod val="50000"/>
                  <a:lumOff val="50000"/>
                </a:schemeClr>
              </a:solidFill>
              <a:cs typeface="+mn-ea"/>
              <a:sym typeface="+mn-lt"/>
            </a:endParaRPr>
          </a:p>
        </p:txBody>
      </p:sp>
    </p:spTree>
  </p:cSld>
  <p:clrMapOvr>
    <a:masterClrMapping/>
  </p:clrMapOvr>
  <p:transition spd="slow" advClick="0" advTm="3000">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p:cTn id="7" dur="200" fill="hold"/>
                                            <p:tgtEl>
                                              <p:spTgt spid="90"/>
                                            </p:tgtEl>
                                            <p:attrNameLst>
                                              <p:attrName>ppt_w</p:attrName>
                                            </p:attrNameLst>
                                          </p:cBhvr>
                                          <p:tavLst>
                                            <p:tav tm="0">
                                              <p:val>
                                                <p:fltVal val="0"/>
                                              </p:val>
                                            </p:tav>
                                            <p:tav tm="100000">
                                              <p:val>
                                                <p:strVal val="#ppt_w"/>
                                              </p:val>
                                            </p:tav>
                                          </p:tavLst>
                                        </p:anim>
                                        <p:anim calcmode="lin" valueType="num">
                                          <p:cBhvr>
                                            <p:cTn id="8" dur="200" fill="hold"/>
                                            <p:tgtEl>
                                              <p:spTgt spid="90"/>
                                            </p:tgtEl>
                                            <p:attrNameLst>
                                              <p:attrName>ppt_h</p:attrName>
                                            </p:attrNameLst>
                                          </p:cBhvr>
                                          <p:tavLst>
                                            <p:tav tm="0">
                                              <p:val>
                                                <p:fltVal val="0"/>
                                              </p:val>
                                            </p:tav>
                                            <p:tav tm="100000">
                                              <p:val>
                                                <p:strVal val="#ppt_h"/>
                                              </p:val>
                                            </p:tav>
                                          </p:tavLst>
                                        </p:anim>
                                        <p:animEffect transition="in" filter="fade">
                                          <p:cBhvr>
                                            <p:cTn id="9" dur="200"/>
                                            <p:tgtEl>
                                              <p:spTgt spid="90"/>
                                            </p:tgtEl>
                                          </p:cBhvr>
                                        </p:animEffect>
                                      </p:childTnLst>
                                    </p:cTn>
                                  </p:par>
                                  <p:par>
                                    <p:cTn id="10" presetID="6" presetClass="emph" presetSubtype="0" autoRev="1" fill="hold" nodeType="withEffect">
                                      <p:stCondLst>
                                        <p:cond delay="150"/>
                                      </p:stCondLst>
                                      <p:childTnLst>
                                        <p:animScale>
                                          <p:cBhvr>
                                            <p:cTn id="11" dur="100" fill="hold"/>
                                            <p:tgtEl>
                                              <p:spTgt spid="90"/>
                                            </p:tgtEl>
                                          </p:cBhvr>
                                          <p:by x="130000" y="130000"/>
                                        </p:animScale>
                                      </p:childTnLst>
                                    </p:cTn>
                                  </p:par>
                                </p:childTnLst>
                              </p:cTn>
                            </p:par>
                            <p:par>
                              <p:cTn id="12" fill="hold">
                                <p:stCondLst>
                                  <p:cond delay="500"/>
                                </p:stCondLst>
                                <p:childTnLst>
                                  <p:par>
                                    <p:cTn id="13" presetID="22" presetClass="entr" presetSubtype="2" fill="hold" nodeType="after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wipe(right)">
                                          <p:cBhvr>
                                            <p:cTn id="15" dur="400"/>
                                            <p:tgtEl>
                                              <p:spTgt spid="93"/>
                                            </p:tgtEl>
                                          </p:cBhvr>
                                        </p:animEffect>
                                      </p:childTnLst>
                                    </p:cTn>
                                  </p:par>
                                  <p:par>
                                    <p:cTn id="16" presetID="22" presetClass="entr" presetSubtype="8" fill="hold" nodeType="withEffect">
                                      <p:stCondLst>
                                        <p:cond delay="0"/>
                                      </p:stCondLst>
                                      <p:childTnLst>
                                        <p:set>
                                          <p:cBhvr>
                                            <p:cTn id="17" dur="1" fill="hold">
                                              <p:stCondLst>
                                                <p:cond delay="0"/>
                                              </p:stCondLst>
                                            </p:cTn>
                                            <p:tgtEl>
                                              <p:spTgt spid="96"/>
                                            </p:tgtEl>
                                            <p:attrNameLst>
                                              <p:attrName>style.visibility</p:attrName>
                                            </p:attrNameLst>
                                          </p:cBhvr>
                                          <p:to>
                                            <p:strVal val="visible"/>
                                          </p:to>
                                        </p:set>
                                        <p:animEffect transition="in" filter="wipe(left)">
                                          <p:cBhvr>
                                            <p:cTn id="18" dur="400"/>
                                            <p:tgtEl>
                                              <p:spTgt spid="96"/>
                                            </p:tgtEl>
                                          </p:cBhvr>
                                        </p:animEffect>
                                      </p:childTnLst>
                                    </p:cTn>
                                  </p:par>
                                </p:childTnLst>
                              </p:cTn>
                            </p:par>
                            <p:par>
                              <p:cTn id="19" fill="hold">
                                <p:stCondLst>
                                  <p:cond delay="1000"/>
                                </p:stCondLst>
                                <p:childTnLst>
                                  <p:par>
                                    <p:cTn id="20" presetID="42" presetClass="entr" presetSubtype="0" fill="hold"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750"/>
                                            <p:tgtEl>
                                              <p:spTgt spid="48"/>
                                            </p:tgtEl>
                                          </p:cBhvr>
                                        </p:animEffect>
                                        <p:anim calcmode="lin" valueType="num">
                                          <p:cBhvr>
                                            <p:cTn id="23" dur="750" fill="hold"/>
                                            <p:tgtEl>
                                              <p:spTgt spid="48"/>
                                            </p:tgtEl>
                                            <p:attrNameLst>
                                              <p:attrName>ppt_x</p:attrName>
                                            </p:attrNameLst>
                                          </p:cBhvr>
                                          <p:tavLst>
                                            <p:tav tm="0">
                                              <p:val>
                                                <p:strVal val="#ppt_x"/>
                                              </p:val>
                                            </p:tav>
                                            <p:tav tm="100000">
                                              <p:val>
                                                <p:strVal val="#ppt_x"/>
                                              </p:val>
                                            </p:tav>
                                          </p:tavLst>
                                        </p:anim>
                                        <p:anim calcmode="lin" valueType="num">
                                          <p:cBhvr>
                                            <p:cTn id="24" dur="750" fill="hold"/>
                                            <p:tgtEl>
                                              <p:spTgt spid="4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750"/>
                                            <p:tgtEl>
                                              <p:spTgt spid="69"/>
                                            </p:tgtEl>
                                          </p:cBhvr>
                                        </p:animEffect>
                                        <p:anim calcmode="lin" valueType="num">
                                          <p:cBhvr>
                                            <p:cTn id="28" dur="750" fill="hold"/>
                                            <p:tgtEl>
                                              <p:spTgt spid="69"/>
                                            </p:tgtEl>
                                            <p:attrNameLst>
                                              <p:attrName>ppt_x</p:attrName>
                                            </p:attrNameLst>
                                          </p:cBhvr>
                                          <p:tavLst>
                                            <p:tav tm="0">
                                              <p:val>
                                                <p:strVal val="#ppt_x"/>
                                              </p:val>
                                            </p:tav>
                                            <p:tav tm="100000">
                                              <p:val>
                                                <p:strVal val="#ppt_x"/>
                                              </p:val>
                                            </p:tav>
                                          </p:tavLst>
                                        </p:anim>
                                        <p:anim calcmode="lin" valueType="num">
                                          <p:cBhvr>
                                            <p:cTn id="29" dur="750" fill="hold"/>
                                            <p:tgtEl>
                                              <p:spTgt spid="69"/>
                                            </p:tgtEl>
                                            <p:attrNameLst>
                                              <p:attrName>ppt_y</p:attrName>
                                            </p:attrNameLst>
                                          </p:cBhvr>
                                          <p:tavLst>
                                            <p:tav tm="0">
                                              <p:val>
                                                <p:strVal val="#ppt_y+.1"/>
                                              </p:val>
                                            </p:tav>
                                            <p:tav tm="100000">
                                              <p:val>
                                                <p:strVal val="#ppt_y"/>
                                              </p:val>
                                            </p:tav>
                                          </p:tavLst>
                                        </p:anim>
                                      </p:childTnLst>
                                    </p:cTn>
                                  </p:par>
                                </p:childTnLst>
                              </p:cTn>
                            </p:par>
                            <p:par>
                              <p:cTn id="30" fill="hold">
                                <p:stCondLst>
                                  <p:cond delay="2000"/>
                                </p:stCondLst>
                                <p:childTnLst>
                                  <p:par>
                                    <p:cTn id="31" presetID="2" presetClass="entr" presetSubtype="2" fill="hold" grpId="0" nodeType="afterEffect" p14:presetBounceEnd="50000">
                                      <p:stCondLst>
                                        <p:cond delay="0"/>
                                      </p:stCondLst>
                                      <p:childTnLst>
                                        <p:set>
                                          <p:cBhvr>
                                            <p:cTn id="32" dur="1" fill="hold">
                                              <p:stCondLst>
                                                <p:cond delay="0"/>
                                              </p:stCondLst>
                                            </p:cTn>
                                            <p:tgtEl>
                                              <p:spTgt spid="99"/>
                                            </p:tgtEl>
                                            <p:attrNameLst>
                                              <p:attrName>style.visibility</p:attrName>
                                            </p:attrNameLst>
                                          </p:cBhvr>
                                          <p:to>
                                            <p:strVal val="visible"/>
                                          </p:to>
                                        </p:set>
                                        <p:anim calcmode="lin" valueType="num" p14:bounceEnd="50000">
                                          <p:cBhvr additive="base">
                                            <p:cTn id="33" dur="300" fill="hold"/>
                                            <p:tgtEl>
                                              <p:spTgt spid="99"/>
                                            </p:tgtEl>
                                            <p:attrNameLst>
                                              <p:attrName>ppt_x</p:attrName>
                                            </p:attrNameLst>
                                          </p:cBhvr>
                                          <p:tavLst>
                                            <p:tav tm="0">
                                              <p:val>
                                                <p:strVal val="1+#ppt_w/2"/>
                                              </p:val>
                                            </p:tav>
                                            <p:tav tm="100000">
                                              <p:val>
                                                <p:strVal val="#ppt_x"/>
                                              </p:val>
                                            </p:tav>
                                          </p:tavLst>
                                        </p:anim>
                                        <p:anim calcmode="lin" valueType="num" p14:bounceEnd="50000">
                                          <p:cBhvr additive="base">
                                            <p:cTn id="34" dur="300" fill="hold"/>
                                            <p:tgtEl>
                                              <p:spTgt spid="99"/>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14:presetBounceEnd="50000">
                                      <p:stCondLst>
                                        <p:cond delay="200"/>
                                      </p:stCondLst>
                                      <p:childTnLst>
                                        <p:set>
                                          <p:cBhvr>
                                            <p:cTn id="36" dur="1" fill="hold">
                                              <p:stCondLst>
                                                <p:cond delay="0"/>
                                              </p:stCondLst>
                                            </p:cTn>
                                            <p:tgtEl>
                                              <p:spTgt spid="100"/>
                                            </p:tgtEl>
                                            <p:attrNameLst>
                                              <p:attrName>style.visibility</p:attrName>
                                            </p:attrNameLst>
                                          </p:cBhvr>
                                          <p:to>
                                            <p:strVal val="visible"/>
                                          </p:to>
                                        </p:set>
                                        <p:anim calcmode="lin" valueType="num" p14:bounceEnd="50000">
                                          <p:cBhvr additive="base">
                                            <p:cTn id="37" dur="300" fill="hold"/>
                                            <p:tgtEl>
                                              <p:spTgt spid="100"/>
                                            </p:tgtEl>
                                            <p:attrNameLst>
                                              <p:attrName>ppt_x</p:attrName>
                                            </p:attrNameLst>
                                          </p:cBhvr>
                                          <p:tavLst>
                                            <p:tav tm="0">
                                              <p:val>
                                                <p:strVal val="1+#ppt_w/2"/>
                                              </p:val>
                                            </p:tav>
                                            <p:tav tm="100000">
                                              <p:val>
                                                <p:strVal val="#ppt_x"/>
                                              </p:val>
                                            </p:tav>
                                          </p:tavLst>
                                        </p:anim>
                                        <p:anim calcmode="lin" valueType="num" p14:bounceEnd="50000">
                                          <p:cBhvr additive="base">
                                            <p:cTn id="38" dur="3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00"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p:cTn id="7" dur="200" fill="hold"/>
                                            <p:tgtEl>
                                              <p:spTgt spid="90"/>
                                            </p:tgtEl>
                                            <p:attrNameLst>
                                              <p:attrName>ppt_w</p:attrName>
                                            </p:attrNameLst>
                                          </p:cBhvr>
                                          <p:tavLst>
                                            <p:tav tm="0">
                                              <p:val>
                                                <p:fltVal val="0"/>
                                              </p:val>
                                            </p:tav>
                                            <p:tav tm="100000">
                                              <p:val>
                                                <p:strVal val="#ppt_w"/>
                                              </p:val>
                                            </p:tav>
                                          </p:tavLst>
                                        </p:anim>
                                        <p:anim calcmode="lin" valueType="num">
                                          <p:cBhvr>
                                            <p:cTn id="8" dur="200" fill="hold"/>
                                            <p:tgtEl>
                                              <p:spTgt spid="90"/>
                                            </p:tgtEl>
                                            <p:attrNameLst>
                                              <p:attrName>ppt_h</p:attrName>
                                            </p:attrNameLst>
                                          </p:cBhvr>
                                          <p:tavLst>
                                            <p:tav tm="0">
                                              <p:val>
                                                <p:fltVal val="0"/>
                                              </p:val>
                                            </p:tav>
                                            <p:tav tm="100000">
                                              <p:val>
                                                <p:strVal val="#ppt_h"/>
                                              </p:val>
                                            </p:tav>
                                          </p:tavLst>
                                        </p:anim>
                                        <p:animEffect transition="in" filter="fade">
                                          <p:cBhvr>
                                            <p:cTn id="9" dur="200"/>
                                            <p:tgtEl>
                                              <p:spTgt spid="90"/>
                                            </p:tgtEl>
                                          </p:cBhvr>
                                        </p:animEffect>
                                      </p:childTnLst>
                                    </p:cTn>
                                  </p:par>
                                  <p:par>
                                    <p:cTn id="10" presetID="6" presetClass="emph" presetSubtype="0" autoRev="1" fill="hold" nodeType="withEffect">
                                      <p:stCondLst>
                                        <p:cond delay="150"/>
                                      </p:stCondLst>
                                      <p:childTnLst>
                                        <p:animScale>
                                          <p:cBhvr>
                                            <p:cTn id="11" dur="100" fill="hold"/>
                                            <p:tgtEl>
                                              <p:spTgt spid="90"/>
                                            </p:tgtEl>
                                          </p:cBhvr>
                                          <p:by x="130000" y="130000"/>
                                        </p:animScale>
                                      </p:childTnLst>
                                    </p:cTn>
                                  </p:par>
                                </p:childTnLst>
                              </p:cTn>
                            </p:par>
                            <p:par>
                              <p:cTn id="12" fill="hold">
                                <p:stCondLst>
                                  <p:cond delay="500"/>
                                </p:stCondLst>
                                <p:childTnLst>
                                  <p:par>
                                    <p:cTn id="13" presetID="22" presetClass="entr" presetSubtype="2" fill="hold" nodeType="afterEffect">
                                      <p:stCondLst>
                                        <p:cond delay="0"/>
                                      </p:stCondLst>
                                      <p:childTnLst>
                                        <p:set>
                                          <p:cBhvr>
                                            <p:cTn id="14" dur="1" fill="hold">
                                              <p:stCondLst>
                                                <p:cond delay="0"/>
                                              </p:stCondLst>
                                            </p:cTn>
                                            <p:tgtEl>
                                              <p:spTgt spid="93"/>
                                            </p:tgtEl>
                                            <p:attrNameLst>
                                              <p:attrName>style.visibility</p:attrName>
                                            </p:attrNameLst>
                                          </p:cBhvr>
                                          <p:to>
                                            <p:strVal val="visible"/>
                                          </p:to>
                                        </p:set>
                                        <p:animEffect transition="in" filter="wipe(right)">
                                          <p:cBhvr>
                                            <p:cTn id="15" dur="400"/>
                                            <p:tgtEl>
                                              <p:spTgt spid="93"/>
                                            </p:tgtEl>
                                          </p:cBhvr>
                                        </p:animEffect>
                                      </p:childTnLst>
                                    </p:cTn>
                                  </p:par>
                                  <p:par>
                                    <p:cTn id="16" presetID="22" presetClass="entr" presetSubtype="8" fill="hold" nodeType="withEffect">
                                      <p:stCondLst>
                                        <p:cond delay="0"/>
                                      </p:stCondLst>
                                      <p:childTnLst>
                                        <p:set>
                                          <p:cBhvr>
                                            <p:cTn id="17" dur="1" fill="hold">
                                              <p:stCondLst>
                                                <p:cond delay="0"/>
                                              </p:stCondLst>
                                            </p:cTn>
                                            <p:tgtEl>
                                              <p:spTgt spid="96"/>
                                            </p:tgtEl>
                                            <p:attrNameLst>
                                              <p:attrName>style.visibility</p:attrName>
                                            </p:attrNameLst>
                                          </p:cBhvr>
                                          <p:to>
                                            <p:strVal val="visible"/>
                                          </p:to>
                                        </p:set>
                                        <p:animEffect transition="in" filter="wipe(left)">
                                          <p:cBhvr>
                                            <p:cTn id="18" dur="400"/>
                                            <p:tgtEl>
                                              <p:spTgt spid="96"/>
                                            </p:tgtEl>
                                          </p:cBhvr>
                                        </p:animEffect>
                                      </p:childTnLst>
                                    </p:cTn>
                                  </p:par>
                                </p:childTnLst>
                              </p:cTn>
                            </p:par>
                            <p:par>
                              <p:cTn id="19" fill="hold">
                                <p:stCondLst>
                                  <p:cond delay="1000"/>
                                </p:stCondLst>
                                <p:childTnLst>
                                  <p:par>
                                    <p:cTn id="20" presetID="42" presetClass="entr" presetSubtype="0" fill="hold"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750"/>
                                            <p:tgtEl>
                                              <p:spTgt spid="48"/>
                                            </p:tgtEl>
                                          </p:cBhvr>
                                        </p:animEffect>
                                        <p:anim calcmode="lin" valueType="num">
                                          <p:cBhvr>
                                            <p:cTn id="23" dur="750" fill="hold"/>
                                            <p:tgtEl>
                                              <p:spTgt spid="48"/>
                                            </p:tgtEl>
                                            <p:attrNameLst>
                                              <p:attrName>ppt_x</p:attrName>
                                            </p:attrNameLst>
                                          </p:cBhvr>
                                          <p:tavLst>
                                            <p:tav tm="0">
                                              <p:val>
                                                <p:strVal val="#ppt_x"/>
                                              </p:val>
                                            </p:tav>
                                            <p:tav tm="100000">
                                              <p:val>
                                                <p:strVal val="#ppt_x"/>
                                              </p:val>
                                            </p:tav>
                                          </p:tavLst>
                                        </p:anim>
                                        <p:anim calcmode="lin" valueType="num">
                                          <p:cBhvr>
                                            <p:cTn id="24" dur="750" fill="hold"/>
                                            <p:tgtEl>
                                              <p:spTgt spid="4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Effect transition="in" filter="fade">
                                          <p:cBhvr>
                                            <p:cTn id="27" dur="750"/>
                                            <p:tgtEl>
                                              <p:spTgt spid="69"/>
                                            </p:tgtEl>
                                          </p:cBhvr>
                                        </p:animEffect>
                                        <p:anim calcmode="lin" valueType="num">
                                          <p:cBhvr>
                                            <p:cTn id="28" dur="750" fill="hold"/>
                                            <p:tgtEl>
                                              <p:spTgt spid="69"/>
                                            </p:tgtEl>
                                            <p:attrNameLst>
                                              <p:attrName>ppt_x</p:attrName>
                                            </p:attrNameLst>
                                          </p:cBhvr>
                                          <p:tavLst>
                                            <p:tav tm="0">
                                              <p:val>
                                                <p:strVal val="#ppt_x"/>
                                              </p:val>
                                            </p:tav>
                                            <p:tav tm="100000">
                                              <p:val>
                                                <p:strVal val="#ppt_x"/>
                                              </p:val>
                                            </p:tav>
                                          </p:tavLst>
                                        </p:anim>
                                        <p:anim calcmode="lin" valueType="num">
                                          <p:cBhvr>
                                            <p:cTn id="29" dur="750" fill="hold"/>
                                            <p:tgtEl>
                                              <p:spTgt spid="69"/>
                                            </p:tgtEl>
                                            <p:attrNameLst>
                                              <p:attrName>ppt_y</p:attrName>
                                            </p:attrNameLst>
                                          </p:cBhvr>
                                          <p:tavLst>
                                            <p:tav tm="0">
                                              <p:val>
                                                <p:strVal val="#ppt_y+.1"/>
                                              </p:val>
                                            </p:tav>
                                            <p:tav tm="100000">
                                              <p:val>
                                                <p:strVal val="#ppt_y"/>
                                              </p:val>
                                            </p:tav>
                                          </p:tavLst>
                                        </p:anim>
                                      </p:childTnLst>
                                    </p:cTn>
                                  </p:par>
                                </p:childTnLst>
                              </p:cTn>
                            </p:par>
                            <p:par>
                              <p:cTn id="30" fill="hold">
                                <p:stCondLst>
                                  <p:cond delay="2000"/>
                                </p:stCondLst>
                                <p:childTnLst>
                                  <p:par>
                                    <p:cTn id="31" presetID="2" presetClass="entr" presetSubtype="2" fill="hold" grpId="0" nodeType="afterEffect">
                                      <p:stCondLst>
                                        <p:cond delay="0"/>
                                      </p:stCondLst>
                                      <p:childTnLst>
                                        <p:set>
                                          <p:cBhvr>
                                            <p:cTn id="32" dur="1" fill="hold">
                                              <p:stCondLst>
                                                <p:cond delay="0"/>
                                              </p:stCondLst>
                                            </p:cTn>
                                            <p:tgtEl>
                                              <p:spTgt spid="99"/>
                                            </p:tgtEl>
                                            <p:attrNameLst>
                                              <p:attrName>style.visibility</p:attrName>
                                            </p:attrNameLst>
                                          </p:cBhvr>
                                          <p:to>
                                            <p:strVal val="visible"/>
                                          </p:to>
                                        </p:set>
                                        <p:anim calcmode="lin" valueType="num">
                                          <p:cBhvr additive="base">
                                            <p:cTn id="33" dur="300" fill="hold"/>
                                            <p:tgtEl>
                                              <p:spTgt spid="99"/>
                                            </p:tgtEl>
                                            <p:attrNameLst>
                                              <p:attrName>ppt_x</p:attrName>
                                            </p:attrNameLst>
                                          </p:cBhvr>
                                          <p:tavLst>
                                            <p:tav tm="0">
                                              <p:val>
                                                <p:strVal val="1+#ppt_w/2"/>
                                              </p:val>
                                            </p:tav>
                                            <p:tav tm="100000">
                                              <p:val>
                                                <p:strVal val="#ppt_x"/>
                                              </p:val>
                                            </p:tav>
                                          </p:tavLst>
                                        </p:anim>
                                        <p:anim calcmode="lin" valueType="num">
                                          <p:cBhvr additive="base">
                                            <p:cTn id="34" dur="300" fill="hold"/>
                                            <p:tgtEl>
                                              <p:spTgt spid="99"/>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200"/>
                                      </p:stCondLst>
                                      <p:childTnLst>
                                        <p:set>
                                          <p:cBhvr>
                                            <p:cTn id="36" dur="1" fill="hold">
                                              <p:stCondLst>
                                                <p:cond delay="0"/>
                                              </p:stCondLst>
                                            </p:cTn>
                                            <p:tgtEl>
                                              <p:spTgt spid="100"/>
                                            </p:tgtEl>
                                            <p:attrNameLst>
                                              <p:attrName>style.visibility</p:attrName>
                                            </p:attrNameLst>
                                          </p:cBhvr>
                                          <p:to>
                                            <p:strVal val="visible"/>
                                          </p:to>
                                        </p:set>
                                        <p:anim calcmode="lin" valueType="num">
                                          <p:cBhvr additive="base">
                                            <p:cTn id="37" dur="300" fill="hold"/>
                                            <p:tgtEl>
                                              <p:spTgt spid="100"/>
                                            </p:tgtEl>
                                            <p:attrNameLst>
                                              <p:attrName>ppt_x</p:attrName>
                                            </p:attrNameLst>
                                          </p:cBhvr>
                                          <p:tavLst>
                                            <p:tav tm="0">
                                              <p:val>
                                                <p:strVal val="1+#ppt_w/2"/>
                                              </p:val>
                                            </p:tav>
                                            <p:tav tm="100000">
                                              <p:val>
                                                <p:strVal val="#ppt_x"/>
                                              </p:val>
                                            </p:tav>
                                          </p:tavLst>
                                        </p:anim>
                                        <p:anim calcmode="lin" valueType="num">
                                          <p:cBhvr additive="base">
                                            <p:cTn id="38" dur="3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p:bldP spid="100" grpId="0"/>
        </p:bldLst>
      </p:timing>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4"/>
          <p:cNvSpPr/>
          <p:nvPr/>
        </p:nvSpPr>
        <p:spPr bwMode="gray">
          <a:xfrm>
            <a:off x="6310436" y="1988840"/>
            <a:ext cx="1954857" cy="1185954"/>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rgbClr val="86BD7D"/>
          </a:solidFill>
          <a:ln w="12700">
            <a:noFill/>
            <a:prstDash val="solid"/>
            <a:round/>
          </a:ln>
        </p:spPr>
        <p:txBody>
          <a:bodyPr/>
          <a:lstStyle/>
          <a:p>
            <a:pPr>
              <a:defRPr/>
            </a:pPr>
            <a:endParaRPr lang="zh-CN" altLang="en-US" sz="1200">
              <a:solidFill>
                <a:schemeClr val="tx1">
                  <a:lumMod val="50000"/>
                  <a:lumOff val="50000"/>
                </a:schemeClr>
              </a:solidFill>
              <a:cs typeface="+mn-ea"/>
              <a:sym typeface="+mn-lt"/>
            </a:endParaRPr>
          </a:p>
        </p:txBody>
      </p:sp>
      <p:grpSp>
        <p:nvGrpSpPr>
          <p:cNvPr id="2" name="组合 18"/>
          <p:cNvGrpSpPr/>
          <p:nvPr/>
        </p:nvGrpSpPr>
        <p:grpSpPr>
          <a:xfrm>
            <a:off x="4339187" y="3033184"/>
            <a:ext cx="2403903" cy="587275"/>
            <a:chOff x="3268663" y="2513013"/>
            <a:chExt cx="2405063" cy="587376"/>
          </a:xfrm>
          <a:solidFill>
            <a:srgbClr val="86BD7D"/>
          </a:solidFill>
        </p:grpSpPr>
        <p:sp>
          <p:nvSpPr>
            <p:cNvPr id="20" name="Freeform 21"/>
            <p:cNvSpPr/>
            <p:nvPr/>
          </p:nvSpPr>
          <p:spPr bwMode="auto">
            <a:xfrm>
              <a:off x="3268663" y="2513013"/>
              <a:ext cx="2405063" cy="587375"/>
            </a:xfrm>
            <a:custGeom>
              <a:avLst/>
              <a:gdLst>
                <a:gd name="T0" fmla="*/ 1515 w 1515"/>
                <a:gd name="T1" fmla="*/ 124 h 370"/>
                <a:gd name="T2" fmla="*/ 1245 w 1515"/>
                <a:gd name="T3" fmla="*/ 124 h 370"/>
                <a:gd name="T4" fmla="*/ 1245 w 1515"/>
                <a:gd name="T5" fmla="*/ 0 h 370"/>
                <a:gd name="T6" fmla="*/ 269 w 1515"/>
                <a:gd name="T7" fmla="*/ 0 h 370"/>
                <a:gd name="T8" fmla="*/ 269 w 1515"/>
                <a:gd name="T9" fmla="*/ 124 h 370"/>
                <a:gd name="T10" fmla="*/ 0 w 1515"/>
                <a:gd name="T11" fmla="*/ 124 h 370"/>
                <a:gd name="T12" fmla="*/ 123 w 1515"/>
                <a:gd name="T13" fmla="*/ 247 h 370"/>
                <a:gd name="T14" fmla="*/ 0 w 1515"/>
                <a:gd name="T15" fmla="*/ 370 h 370"/>
                <a:gd name="T16" fmla="*/ 386 w 1515"/>
                <a:gd name="T17" fmla="*/ 370 h 370"/>
                <a:gd name="T18" fmla="*/ 386 w 1515"/>
                <a:gd name="T19" fmla="*/ 249 h 370"/>
                <a:gd name="T20" fmla="*/ 1128 w 1515"/>
                <a:gd name="T21" fmla="*/ 249 h 370"/>
                <a:gd name="T22" fmla="*/ 1128 w 1515"/>
                <a:gd name="T23" fmla="*/ 370 h 370"/>
                <a:gd name="T24" fmla="*/ 1515 w 1515"/>
                <a:gd name="T25" fmla="*/ 370 h 370"/>
                <a:gd name="T26" fmla="*/ 1391 w 1515"/>
                <a:gd name="T27" fmla="*/ 247 h 370"/>
                <a:gd name="T28" fmla="*/ 1515 w 1515"/>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5" h="370">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21" name="Freeform 22"/>
            <p:cNvSpPr/>
            <p:nvPr/>
          </p:nvSpPr>
          <p:spPr bwMode="auto">
            <a:xfrm>
              <a:off x="5059363" y="2892426"/>
              <a:ext cx="185738" cy="207963"/>
            </a:xfrm>
            <a:custGeom>
              <a:avLst/>
              <a:gdLst>
                <a:gd name="T0" fmla="*/ 0 w 117"/>
                <a:gd name="T1" fmla="*/ 131 h 131"/>
                <a:gd name="T2" fmla="*/ 117 w 117"/>
                <a:gd name="T3" fmla="*/ 10 h 131"/>
                <a:gd name="T4" fmla="*/ 109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09" y="0"/>
                  </a:lnTo>
                  <a:lnTo>
                    <a:pt x="0" y="0"/>
                  </a:lnTo>
                  <a:lnTo>
                    <a:pt x="0"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22" name="Freeform 23"/>
            <p:cNvSpPr/>
            <p:nvPr/>
          </p:nvSpPr>
          <p:spPr bwMode="auto">
            <a:xfrm>
              <a:off x="3695701" y="2892426"/>
              <a:ext cx="185738" cy="207963"/>
            </a:xfrm>
            <a:custGeom>
              <a:avLst/>
              <a:gdLst>
                <a:gd name="T0" fmla="*/ 117 w 117"/>
                <a:gd name="T1" fmla="*/ 131 h 131"/>
                <a:gd name="T2" fmla="*/ 0 w 117"/>
                <a:gd name="T3" fmla="*/ 10 h 131"/>
                <a:gd name="T4" fmla="*/ 9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9" y="0"/>
                  </a:lnTo>
                  <a:lnTo>
                    <a:pt x="117" y="0"/>
                  </a:lnTo>
                  <a:lnTo>
                    <a:pt x="117"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grpSp>
      <p:grpSp>
        <p:nvGrpSpPr>
          <p:cNvPr id="3" name="组合 22"/>
          <p:cNvGrpSpPr/>
          <p:nvPr/>
        </p:nvGrpSpPr>
        <p:grpSpPr>
          <a:xfrm>
            <a:off x="6977927" y="3033184"/>
            <a:ext cx="2407077" cy="587275"/>
            <a:chOff x="5908676" y="2513013"/>
            <a:chExt cx="2408238" cy="587376"/>
          </a:xfrm>
          <a:solidFill>
            <a:srgbClr val="82B864"/>
          </a:solidFill>
        </p:grpSpPr>
        <p:sp>
          <p:nvSpPr>
            <p:cNvPr id="24" name="Freeform 24"/>
            <p:cNvSpPr/>
            <p:nvPr/>
          </p:nvSpPr>
          <p:spPr bwMode="auto">
            <a:xfrm>
              <a:off x="5908676"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3 w 1517"/>
                <a:gd name="T13" fmla="*/ 247 h 370"/>
                <a:gd name="T14" fmla="*/ 0 w 1517"/>
                <a:gd name="T15" fmla="*/ 370 h 370"/>
                <a:gd name="T16" fmla="*/ 389 w 1517"/>
                <a:gd name="T17" fmla="*/ 370 h 370"/>
                <a:gd name="T18" fmla="*/ 389 w 1517"/>
                <a:gd name="T19" fmla="*/ 249 h 370"/>
                <a:gd name="T20" fmla="*/ 1128 w 1517"/>
                <a:gd name="T21" fmla="*/ 249 h 370"/>
                <a:gd name="T22" fmla="*/ 1128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25" name="Freeform 25"/>
            <p:cNvSpPr/>
            <p:nvPr/>
          </p:nvSpPr>
          <p:spPr bwMode="auto">
            <a:xfrm>
              <a:off x="7699376" y="2892426"/>
              <a:ext cx="185738" cy="207963"/>
            </a:xfrm>
            <a:custGeom>
              <a:avLst/>
              <a:gdLst>
                <a:gd name="T0" fmla="*/ 0 w 117"/>
                <a:gd name="T1" fmla="*/ 131 h 131"/>
                <a:gd name="T2" fmla="*/ 117 w 117"/>
                <a:gd name="T3" fmla="*/ 10 h 131"/>
                <a:gd name="T4" fmla="*/ 111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11" y="0"/>
                  </a:lnTo>
                  <a:lnTo>
                    <a:pt x="0" y="0"/>
                  </a:lnTo>
                  <a:lnTo>
                    <a:pt x="0"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26" name="Freeform 26"/>
            <p:cNvSpPr/>
            <p:nvPr/>
          </p:nvSpPr>
          <p:spPr bwMode="auto">
            <a:xfrm>
              <a:off x="6340476"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grpSp>
      <p:grpSp>
        <p:nvGrpSpPr>
          <p:cNvPr id="4" name="组合 26"/>
          <p:cNvGrpSpPr/>
          <p:nvPr/>
        </p:nvGrpSpPr>
        <p:grpSpPr>
          <a:xfrm>
            <a:off x="1682992" y="3033184"/>
            <a:ext cx="2407077" cy="587275"/>
            <a:chOff x="611188" y="2513013"/>
            <a:chExt cx="2408238" cy="587376"/>
          </a:xfrm>
          <a:solidFill>
            <a:srgbClr val="82B864"/>
          </a:solidFill>
        </p:grpSpPr>
        <p:sp>
          <p:nvSpPr>
            <p:cNvPr id="28" name="Freeform 27"/>
            <p:cNvSpPr/>
            <p:nvPr/>
          </p:nvSpPr>
          <p:spPr bwMode="auto">
            <a:xfrm>
              <a:off x="611188"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5 w 1517"/>
                <a:gd name="T13" fmla="*/ 247 h 370"/>
                <a:gd name="T14" fmla="*/ 0 w 1517"/>
                <a:gd name="T15" fmla="*/ 370 h 370"/>
                <a:gd name="T16" fmla="*/ 389 w 1517"/>
                <a:gd name="T17" fmla="*/ 370 h 370"/>
                <a:gd name="T18" fmla="*/ 389 w 1517"/>
                <a:gd name="T19" fmla="*/ 249 h 370"/>
                <a:gd name="T20" fmla="*/ 1130 w 1517"/>
                <a:gd name="T21" fmla="*/ 249 h 370"/>
                <a:gd name="T22" fmla="*/ 1130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29" name="Freeform 28"/>
            <p:cNvSpPr/>
            <p:nvPr/>
          </p:nvSpPr>
          <p:spPr bwMode="auto">
            <a:xfrm>
              <a:off x="2405063" y="2892426"/>
              <a:ext cx="182563" cy="207963"/>
            </a:xfrm>
            <a:custGeom>
              <a:avLst/>
              <a:gdLst>
                <a:gd name="T0" fmla="*/ 0 w 115"/>
                <a:gd name="T1" fmla="*/ 131 h 131"/>
                <a:gd name="T2" fmla="*/ 115 w 115"/>
                <a:gd name="T3" fmla="*/ 10 h 131"/>
                <a:gd name="T4" fmla="*/ 109 w 115"/>
                <a:gd name="T5" fmla="*/ 0 h 131"/>
                <a:gd name="T6" fmla="*/ 0 w 115"/>
                <a:gd name="T7" fmla="*/ 0 h 131"/>
                <a:gd name="T8" fmla="*/ 0 w 115"/>
                <a:gd name="T9" fmla="*/ 131 h 131"/>
              </a:gdLst>
              <a:ahLst/>
              <a:cxnLst>
                <a:cxn ang="0">
                  <a:pos x="T0" y="T1"/>
                </a:cxn>
                <a:cxn ang="0">
                  <a:pos x="T2" y="T3"/>
                </a:cxn>
                <a:cxn ang="0">
                  <a:pos x="T4" y="T5"/>
                </a:cxn>
                <a:cxn ang="0">
                  <a:pos x="T6" y="T7"/>
                </a:cxn>
                <a:cxn ang="0">
                  <a:pos x="T8" y="T9"/>
                </a:cxn>
              </a:cxnLst>
              <a:rect l="0" t="0" r="r" b="b"/>
              <a:pathLst>
                <a:path w="115" h="131">
                  <a:moveTo>
                    <a:pt x="0" y="131"/>
                  </a:moveTo>
                  <a:lnTo>
                    <a:pt x="115" y="10"/>
                  </a:lnTo>
                  <a:lnTo>
                    <a:pt x="109" y="0"/>
                  </a:lnTo>
                  <a:lnTo>
                    <a:pt x="0" y="0"/>
                  </a:lnTo>
                  <a:lnTo>
                    <a:pt x="0"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0" name="Freeform 29"/>
            <p:cNvSpPr/>
            <p:nvPr/>
          </p:nvSpPr>
          <p:spPr bwMode="auto">
            <a:xfrm>
              <a:off x="1042988"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grpSp>
      <p:grpSp>
        <p:nvGrpSpPr>
          <p:cNvPr id="9" name="组合 30"/>
          <p:cNvGrpSpPr/>
          <p:nvPr/>
        </p:nvGrpSpPr>
        <p:grpSpPr>
          <a:xfrm>
            <a:off x="2395434" y="2228464"/>
            <a:ext cx="955215" cy="736473"/>
            <a:chOff x="1323976" y="1708151"/>
            <a:chExt cx="955675" cy="736600"/>
          </a:xfrm>
          <a:solidFill>
            <a:srgbClr val="82B864"/>
          </a:solidFill>
        </p:grpSpPr>
        <p:sp>
          <p:nvSpPr>
            <p:cNvPr id="32" name="Freeform 30"/>
            <p:cNvSpPr/>
            <p:nvPr/>
          </p:nvSpPr>
          <p:spPr bwMode="auto">
            <a:xfrm>
              <a:off x="1990726" y="1989138"/>
              <a:ext cx="209550" cy="212725"/>
            </a:xfrm>
            <a:custGeom>
              <a:avLst/>
              <a:gdLst>
                <a:gd name="T0" fmla="*/ 67 w 132"/>
                <a:gd name="T1" fmla="*/ 0 h 134"/>
                <a:gd name="T2" fmla="*/ 67 w 132"/>
                <a:gd name="T3" fmla="*/ 0 h 134"/>
                <a:gd name="T4" fmla="*/ 52 w 132"/>
                <a:gd name="T5" fmla="*/ 2 h 134"/>
                <a:gd name="T6" fmla="*/ 40 w 132"/>
                <a:gd name="T7" fmla="*/ 7 h 134"/>
                <a:gd name="T8" fmla="*/ 30 w 132"/>
                <a:gd name="T9" fmla="*/ 13 h 134"/>
                <a:gd name="T10" fmla="*/ 19 w 132"/>
                <a:gd name="T11" fmla="*/ 21 h 134"/>
                <a:gd name="T12" fmla="*/ 11 w 132"/>
                <a:gd name="T13" fmla="*/ 30 h 134"/>
                <a:gd name="T14" fmla="*/ 4 w 132"/>
                <a:gd name="T15" fmla="*/ 42 h 134"/>
                <a:gd name="T16" fmla="*/ 0 w 132"/>
                <a:gd name="T17" fmla="*/ 55 h 134"/>
                <a:gd name="T18" fmla="*/ 0 w 132"/>
                <a:gd name="T19" fmla="*/ 67 h 134"/>
                <a:gd name="T20" fmla="*/ 0 w 132"/>
                <a:gd name="T21" fmla="*/ 67 h 134"/>
                <a:gd name="T22" fmla="*/ 0 w 132"/>
                <a:gd name="T23" fmla="*/ 82 h 134"/>
                <a:gd name="T24" fmla="*/ 4 w 132"/>
                <a:gd name="T25" fmla="*/ 94 h 134"/>
                <a:gd name="T26" fmla="*/ 11 w 132"/>
                <a:gd name="T27" fmla="*/ 105 h 134"/>
                <a:gd name="T28" fmla="*/ 19 w 132"/>
                <a:gd name="T29" fmla="*/ 115 h 134"/>
                <a:gd name="T30" fmla="*/ 30 w 132"/>
                <a:gd name="T31" fmla="*/ 124 h 134"/>
                <a:gd name="T32" fmla="*/ 40 w 132"/>
                <a:gd name="T33" fmla="*/ 130 h 134"/>
                <a:gd name="T34" fmla="*/ 52 w 132"/>
                <a:gd name="T35" fmla="*/ 134 h 134"/>
                <a:gd name="T36" fmla="*/ 67 w 132"/>
                <a:gd name="T37" fmla="*/ 134 h 134"/>
                <a:gd name="T38" fmla="*/ 67 w 132"/>
                <a:gd name="T39" fmla="*/ 134 h 134"/>
                <a:gd name="T40" fmla="*/ 80 w 132"/>
                <a:gd name="T41" fmla="*/ 134 h 134"/>
                <a:gd name="T42" fmla="*/ 92 w 132"/>
                <a:gd name="T43" fmla="*/ 130 h 134"/>
                <a:gd name="T44" fmla="*/ 103 w 132"/>
                <a:gd name="T45" fmla="*/ 124 h 134"/>
                <a:gd name="T46" fmla="*/ 113 w 132"/>
                <a:gd name="T47" fmla="*/ 115 h 134"/>
                <a:gd name="T48" fmla="*/ 121 w 132"/>
                <a:gd name="T49" fmla="*/ 105 h 134"/>
                <a:gd name="T50" fmla="*/ 128 w 132"/>
                <a:gd name="T51" fmla="*/ 94 h 134"/>
                <a:gd name="T52" fmla="*/ 132 w 132"/>
                <a:gd name="T53" fmla="*/ 82 h 134"/>
                <a:gd name="T54" fmla="*/ 132 w 132"/>
                <a:gd name="T55" fmla="*/ 67 h 134"/>
                <a:gd name="T56" fmla="*/ 132 w 132"/>
                <a:gd name="T57" fmla="*/ 67 h 134"/>
                <a:gd name="T58" fmla="*/ 132 w 132"/>
                <a:gd name="T59" fmla="*/ 55 h 134"/>
                <a:gd name="T60" fmla="*/ 128 w 132"/>
                <a:gd name="T61" fmla="*/ 42 h 134"/>
                <a:gd name="T62" fmla="*/ 121 w 132"/>
                <a:gd name="T63" fmla="*/ 30 h 134"/>
                <a:gd name="T64" fmla="*/ 113 w 132"/>
                <a:gd name="T65" fmla="*/ 21 h 134"/>
                <a:gd name="T66" fmla="*/ 103 w 132"/>
                <a:gd name="T67" fmla="*/ 13 h 134"/>
                <a:gd name="T68" fmla="*/ 92 w 132"/>
                <a:gd name="T69" fmla="*/ 7 h 134"/>
                <a:gd name="T70" fmla="*/ 80 w 132"/>
                <a:gd name="T71" fmla="*/ 2 h 134"/>
                <a:gd name="T72" fmla="*/ 67 w 132"/>
                <a:gd name="T73" fmla="*/ 0 h 134"/>
                <a:gd name="T74" fmla="*/ 67 w 132"/>
                <a:gd name="T7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4">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3" name="Freeform 31"/>
            <p:cNvSpPr/>
            <p:nvPr/>
          </p:nvSpPr>
          <p:spPr bwMode="auto">
            <a:xfrm>
              <a:off x="1974851" y="2174876"/>
              <a:ext cx="304800" cy="222250"/>
            </a:xfrm>
            <a:custGeom>
              <a:avLst/>
              <a:gdLst>
                <a:gd name="T0" fmla="*/ 136 w 192"/>
                <a:gd name="T1" fmla="*/ 0 h 140"/>
                <a:gd name="T2" fmla="*/ 136 w 192"/>
                <a:gd name="T3" fmla="*/ 0 h 140"/>
                <a:gd name="T4" fmla="*/ 123 w 192"/>
                <a:gd name="T5" fmla="*/ 13 h 140"/>
                <a:gd name="T6" fmla="*/ 111 w 192"/>
                <a:gd name="T7" fmla="*/ 21 h 140"/>
                <a:gd name="T8" fmla="*/ 94 w 192"/>
                <a:gd name="T9" fmla="*/ 28 h 140"/>
                <a:gd name="T10" fmla="*/ 77 w 192"/>
                <a:gd name="T11" fmla="*/ 28 h 140"/>
                <a:gd name="T12" fmla="*/ 77 w 192"/>
                <a:gd name="T13" fmla="*/ 28 h 140"/>
                <a:gd name="T14" fmla="*/ 58 w 192"/>
                <a:gd name="T15" fmla="*/ 28 h 140"/>
                <a:gd name="T16" fmla="*/ 42 w 192"/>
                <a:gd name="T17" fmla="*/ 21 h 140"/>
                <a:gd name="T18" fmla="*/ 29 w 192"/>
                <a:gd name="T19" fmla="*/ 13 h 140"/>
                <a:gd name="T20" fmla="*/ 17 w 192"/>
                <a:gd name="T21" fmla="*/ 0 h 140"/>
                <a:gd name="T22" fmla="*/ 17 w 192"/>
                <a:gd name="T23" fmla="*/ 0 h 140"/>
                <a:gd name="T24" fmla="*/ 0 w 192"/>
                <a:gd name="T25" fmla="*/ 15 h 140"/>
                <a:gd name="T26" fmla="*/ 0 w 192"/>
                <a:gd name="T27" fmla="*/ 15 h 140"/>
                <a:gd name="T28" fmla="*/ 10 w 192"/>
                <a:gd name="T29" fmla="*/ 28 h 140"/>
                <a:gd name="T30" fmla="*/ 21 w 192"/>
                <a:gd name="T31" fmla="*/ 40 h 140"/>
                <a:gd name="T32" fmla="*/ 29 w 192"/>
                <a:gd name="T33" fmla="*/ 55 h 140"/>
                <a:gd name="T34" fmla="*/ 37 w 192"/>
                <a:gd name="T35" fmla="*/ 69 h 140"/>
                <a:gd name="T36" fmla="*/ 42 w 192"/>
                <a:gd name="T37" fmla="*/ 86 h 140"/>
                <a:gd name="T38" fmla="*/ 48 w 192"/>
                <a:gd name="T39" fmla="*/ 103 h 140"/>
                <a:gd name="T40" fmla="*/ 50 w 192"/>
                <a:gd name="T41" fmla="*/ 122 h 140"/>
                <a:gd name="T42" fmla="*/ 52 w 192"/>
                <a:gd name="T43" fmla="*/ 140 h 140"/>
                <a:gd name="T44" fmla="*/ 190 w 192"/>
                <a:gd name="T45" fmla="*/ 140 h 140"/>
                <a:gd name="T46" fmla="*/ 190 w 192"/>
                <a:gd name="T47" fmla="*/ 140 h 140"/>
                <a:gd name="T48" fmla="*/ 192 w 192"/>
                <a:gd name="T49" fmla="*/ 119 h 140"/>
                <a:gd name="T50" fmla="*/ 192 w 192"/>
                <a:gd name="T51" fmla="*/ 119 h 140"/>
                <a:gd name="T52" fmla="*/ 192 w 192"/>
                <a:gd name="T53" fmla="*/ 101 h 140"/>
                <a:gd name="T54" fmla="*/ 188 w 192"/>
                <a:gd name="T55" fmla="*/ 84 h 140"/>
                <a:gd name="T56" fmla="*/ 184 w 192"/>
                <a:gd name="T57" fmla="*/ 67 h 140"/>
                <a:gd name="T58" fmla="*/ 177 w 192"/>
                <a:gd name="T59" fmla="*/ 51 h 140"/>
                <a:gd name="T60" fmla="*/ 169 w 192"/>
                <a:gd name="T61" fmla="*/ 36 h 140"/>
                <a:gd name="T62" fmla="*/ 159 w 192"/>
                <a:gd name="T63" fmla="*/ 21 h 140"/>
                <a:gd name="T64" fmla="*/ 148 w 192"/>
                <a:gd name="T65" fmla="*/ 11 h 140"/>
                <a:gd name="T66" fmla="*/ 136 w 192"/>
                <a:gd name="T67" fmla="*/ 0 h 140"/>
                <a:gd name="T68" fmla="*/ 136 w 192"/>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40">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4" name="Freeform 32"/>
            <p:cNvSpPr/>
            <p:nvPr/>
          </p:nvSpPr>
          <p:spPr bwMode="auto">
            <a:xfrm>
              <a:off x="1400176" y="1989138"/>
              <a:ext cx="212725" cy="212725"/>
            </a:xfrm>
            <a:custGeom>
              <a:avLst/>
              <a:gdLst>
                <a:gd name="T0" fmla="*/ 67 w 134"/>
                <a:gd name="T1" fmla="*/ 134 h 134"/>
                <a:gd name="T2" fmla="*/ 67 w 134"/>
                <a:gd name="T3" fmla="*/ 134 h 134"/>
                <a:gd name="T4" fmla="*/ 82 w 134"/>
                <a:gd name="T5" fmla="*/ 134 h 134"/>
                <a:gd name="T6" fmla="*/ 94 w 134"/>
                <a:gd name="T7" fmla="*/ 130 h 134"/>
                <a:gd name="T8" fmla="*/ 105 w 134"/>
                <a:gd name="T9" fmla="*/ 124 h 134"/>
                <a:gd name="T10" fmla="*/ 115 w 134"/>
                <a:gd name="T11" fmla="*/ 115 h 134"/>
                <a:gd name="T12" fmla="*/ 124 w 134"/>
                <a:gd name="T13" fmla="*/ 105 h 134"/>
                <a:gd name="T14" fmla="*/ 130 w 134"/>
                <a:gd name="T15" fmla="*/ 94 h 134"/>
                <a:gd name="T16" fmla="*/ 132 w 134"/>
                <a:gd name="T17" fmla="*/ 82 h 134"/>
                <a:gd name="T18" fmla="*/ 134 w 134"/>
                <a:gd name="T19" fmla="*/ 67 h 134"/>
                <a:gd name="T20" fmla="*/ 134 w 134"/>
                <a:gd name="T21" fmla="*/ 67 h 134"/>
                <a:gd name="T22" fmla="*/ 132 w 134"/>
                <a:gd name="T23" fmla="*/ 55 h 134"/>
                <a:gd name="T24" fmla="*/ 130 w 134"/>
                <a:gd name="T25" fmla="*/ 42 h 134"/>
                <a:gd name="T26" fmla="*/ 124 w 134"/>
                <a:gd name="T27" fmla="*/ 30 h 134"/>
                <a:gd name="T28" fmla="*/ 115 w 134"/>
                <a:gd name="T29" fmla="*/ 21 h 134"/>
                <a:gd name="T30" fmla="*/ 105 w 134"/>
                <a:gd name="T31" fmla="*/ 13 h 134"/>
                <a:gd name="T32" fmla="*/ 94 w 134"/>
                <a:gd name="T33" fmla="*/ 7 h 134"/>
                <a:gd name="T34" fmla="*/ 82 w 134"/>
                <a:gd name="T35" fmla="*/ 2 h 134"/>
                <a:gd name="T36" fmla="*/ 67 w 134"/>
                <a:gd name="T37" fmla="*/ 0 h 134"/>
                <a:gd name="T38" fmla="*/ 67 w 134"/>
                <a:gd name="T39" fmla="*/ 0 h 134"/>
                <a:gd name="T40" fmla="*/ 55 w 134"/>
                <a:gd name="T41" fmla="*/ 2 h 134"/>
                <a:gd name="T42" fmla="*/ 42 w 134"/>
                <a:gd name="T43" fmla="*/ 7 h 134"/>
                <a:gd name="T44" fmla="*/ 30 w 134"/>
                <a:gd name="T45" fmla="*/ 13 h 134"/>
                <a:gd name="T46" fmla="*/ 21 w 134"/>
                <a:gd name="T47" fmla="*/ 21 h 134"/>
                <a:gd name="T48" fmla="*/ 13 w 134"/>
                <a:gd name="T49" fmla="*/ 30 h 134"/>
                <a:gd name="T50" fmla="*/ 7 w 134"/>
                <a:gd name="T51" fmla="*/ 42 h 134"/>
                <a:gd name="T52" fmla="*/ 2 w 134"/>
                <a:gd name="T53" fmla="*/ 55 h 134"/>
                <a:gd name="T54" fmla="*/ 0 w 134"/>
                <a:gd name="T55" fmla="*/ 67 h 134"/>
                <a:gd name="T56" fmla="*/ 0 w 134"/>
                <a:gd name="T57" fmla="*/ 67 h 134"/>
                <a:gd name="T58" fmla="*/ 2 w 134"/>
                <a:gd name="T59" fmla="*/ 82 h 134"/>
                <a:gd name="T60" fmla="*/ 7 w 134"/>
                <a:gd name="T61" fmla="*/ 94 h 134"/>
                <a:gd name="T62" fmla="*/ 13 w 134"/>
                <a:gd name="T63" fmla="*/ 105 h 134"/>
                <a:gd name="T64" fmla="*/ 21 w 134"/>
                <a:gd name="T65" fmla="*/ 115 h 134"/>
                <a:gd name="T66" fmla="*/ 30 w 134"/>
                <a:gd name="T67" fmla="*/ 124 h 134"/>
                <a:gd name="T68" fmla="*/ 42 w 134"/>
                <a:gd name="T69" fmla="*/ 130 h 134"/>
                <a:gd name="T70" fmla="*/ 55 w 134"/>
                <a:gd name="T71" fmla="*/ 134 h 134"/>
                <a:gd name="T72" fmla="*/ 67 w 134"/>
                <a:gd name="T73" fmla="*/ 134 h 134"/>
                <a:gd name="T74" fmla="*/ 67 w 134"/>
                <a:gd name="T7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5" name="Freeform 33"/>
            <p:cNvSpPr/>
            <p:nvPr/>
          </p:nvSpPr>
          <p:spPr bwMode="auto">
            <a:xfrm>
              <a:off x="1323976" y="2174876"/>
              <a:ext cx="301625" cy="222250"/>
            </a:xfrm>
            <a:custGeom>
              <a:avLst/>
              <a:gdLst>
                <a:gd name="T0" fmla="*/ 176 w 190"/>
                <a:gd name="T1" fmla="*/ 0 h 140"/>
                <a:gd name="T2" fmla="*/ 176 w 190"/>
                <a:gd name="T3" fmla="*/ 0 h 140"/>
                <a:gd name="T4" fmla="*/ 163 w 190"/>
                <a:gd name="T5" fmla="*/ 13 h 140"/>
                <a:gd name="T6" fmla="*/ 149 w 190"/>
                <a:gd name="T7" fmla="*/ 21 h 140"/>
                <a:gd name="T8" fmla="*/ 134 w 190"/>
                <a:gd name="T9" fmla="*/ 28 h 140"/>
                <a:gd name="T10" fmla="*/ 115 w 190"/>
                <a:gd name="T11" fmla="*/ 28 h 140"/>
                <a:gd name="T12" fmla="*/ 115 w 190"/>
                <a:gd name="T13" fmla="*/ 28 h 140"/>
                <a:gd name="T14" fmla="*/ 98 w 190"/>
                <a:gd name="T15" fmla="*/ 28 h 140"/>
                <a:gd name="T16" fmla="*/ 82 w 190"/>
                <a:gd name="T17" fmla="*/ 21 h 140"/>
                <a:gd name="T18" fmla="*/ 67 w 190"/>
                <a:gd name="T19" fmla="*/ 13 h 140"/>
                <a:gd name="T20" fmla="*/ 57 w 190"/>
                <a:gd name="T21" fmla="*/ 0 h 140"/>
                <a:gd name="T22" fmla="*/ 57 w 190"/>
                <a:gd name="T23" fmla="*/ 0 h 140"/>
                <a:gd name="T24" fmla="*/ 44 w 190"/>
                <a:gd name="T25" fmla="*/ 11 h 140"/>
                <a:gd name="T26" fmla="*/ 34 w 190"/>
                <a:gd name="T27" fmla="*/ 21 h 140"/>
                <a:gd name="T28" fmla="*/ 23 w 190"/>
                <a:gd name="T29" fmla="*/ 36 h 140"/>
                <a:gd name="T30" fmla="*/ 15 w 190"/>
                <a:gd name="T31" fmla="*/ 51 h 140"/>
                <a:gd name="T32" fmla="*/ 9 w 190"/>
                <a:gd name="T33" fmla="*/ 67 h 140"/>
                <a:gd name="T34" fmla="*/ 4 w 190"/>
                <a:gd name="T35" fmla="*/ 84 h 140"/>
                <a:gd name="T36" fmla="*/ 0 w 190"/>
                <a:gd name="T37" fmla="*/ 101 h 140"/>
                <a:gd name="T38" fmla="*/ 0 w 190"/>
                <a:gd name="T39" fmla="*/ 119 h 140"/>
                <a:gd name="T40" fmla="*/ 0 w 190"/>
                <a:gd name="T41" fmla="*/ 119 h 140"/>
                <a:gd name="T42" fmla="*/ 0 w 190"/>
                <a:gd name="T43" fmla="*/ 140 h 140"/>
                <a:gd name="T44" fmla="*/ 140 w 190"/>
                <a:gd name="T45" fmla="*/ 140 h 140"/>
                <a:gd name="T46" fmla="*/ 140 w 190"/>
                <a:gd name="T47" fmla="*/ 140 h 140"/>
                <a:gd name="T48" fmla="*/ 142 w 190"/>
                <a:gd name="T49" fmla="*/ 122 h 140"/>
                <a:gd name="T50" fmla="*/ 144 w 190"/>
                <a:gd name="T51" fmla="*/ 103 h 140"/>
                <a:gd name="T52" fmla="*/ 149 w 190"/>
                <a:gd name="T53" fmla="*/ 86 h 140"/>
                <a:gd name="T54" fmla="*/ 155 w 190"/>
                <a:gd name="T55" fmla="*/ 69 h 140"/>
                <a:gd name="T56" fmla="*/ 163 w 190"/>
                <a:gd name="T57" fmla="*/ 55 h 140"/>
                <a:gd name="T58" fmla="*/ 172 w 190"/>
                <a:gd name="T59" fmla="*/ 40 h 140"/>
                <a:gd name="T60" fmla="*/ 180 w 190"/>
                <a:gd name="T61" fmla="*/ 28 h 140"/>
                <a:gd name="T62" fmla="*/ 190 w 190"/>
                <a:gd name="T63" fmla="*/ 15 h 140"/>
                <a:gd name="T64" fmla="*/ 190 w 190"/>
                <a:gd name="T65" fmla="*/ 15 h 140"/>
                <a:gd name="T66" fmla="*/ 176 w 190"/>
                <a:gd name="T67" fmla="*/ 0 h 140"/>
                <a:gd name="T68" fmla="*/ 176 w 190"/>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14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6" name="Freeform 34"/>
            <p:cNvSpPr/>
            <p:nvPr/>
          </p:nvSpPr>
          <p:spPr bwMode="auto">
            <a:xfrm>
              <a:off x="1673226" y="1949451"/>
              <a:ext cx="258763" cy="258763"/>
            </a:xfrm>
            <a:custGeom>
              <a:avLst/>
              <a:gdLst>
                <a:gd name="T0" fmla="*/ 81 w 163"/>
                <a:gd name="T1" fmla="*/ 163 h 163"/>
                <a:gd name="T2" fmla="*/ 81 w 163"/>
                <a:gd name="T3" fmla="*/ 163 h 163"/>
                <a:gd name="T4" fmla="*/ 98 w 163"/>
                <a:gd name="T5" fmla="*/ 161 h 163"/>
                <a:gd name="T6" fmla="*/ 112 w 163"/>
                <a:gd name="T7" fmla="*/ 157 h 163"/>
                <a:gd name="T8" fmla="*/ 127 w 163"/>
                <a:gd name="T9" fmla="*/ 149 h 163"/>
                <a:gd name="T10" fmla="*/ 138 w 163"/>
                <a:gd name="T11" fmla="*/ 138 h 163"/>
                <a:gd name="T12" fmla="*/ 148 w 163"/>
                <a:gd name="T13" fmla="*/ 126 h 163"/>
                <a:gd name="T14" fmla="*/ 156 w 163"/>
                <a:gd name="T15" fmla="*/ 113 h 163"/>
                <a:gd name="T16" fmla="*/ 161 w 163"/>
                <a:gd name="T17" fmla="*/ 99 h 163"/>
                <a:gd name="T18" fmla="*/ 163 w 163"/>
                <a:gd name="T19" fmla="*/ 82 h 163"/>
                <a:gd name="T20" fmla="*/ 163 w 163"/>
                <a:gd name="T21" fmla="*/ 82 h 163"/>
                <a:gd name="T22" fmla="*/ 161 w 163"/>
                <a:gd name="T23" fmla="*/ 65 h 163"/>
                <a:gd name="T24" fmla="*/ 156 w 163"/>
                <a:gd name="T25" fmla="*/ 50 h 163"/>
                <a:gd name="T26" fmla="*/ 148 w 163"/>
                <a:gd name="T27" fmla="*/ 36 h 163"/>
                <a:gd name="T28" fmla="*/ 138 w 163"/>
                <a:gd name="T29" fmla="*/ 23 h 163"/>
                <a:gd name="T30" fmla="*/ 127 w 163"/>
                <a:gd name="T31" fmla="*/ 15 h 163"/>
                <a:gd name="T32" fmla="*/ 112 w 163"/>
                <a:gd name="T33" fmla="*/ 7 h 163"/>
                <a:gd name="T34" fmla="*/ 98 w 163"/>
                <a:gd name="T35" fmla="*/ 2 h 163"/>
                <a:gd name="T36" fmla="*/ 81 w 163"/>
                <a:gd name="T37" fmla="*/ 0 h 163"/>
                <a:gd name="T38" fmla="*/ 81 w 163"/>
                <a:gd name="T39" fmla="*/ 0 h 163"/>
                <a:gd name="T40" fmla="*/ 64 w 163"/>
                <a:gd name="T41" fmla="*/ 2 h 163"/>
                <a:gd name="T42" fmla="*/ 50 w 163"/>
                <a:gd name="T43" fmla="*/ 7 h 163"/>
                <a:gd name="T44" fmla="*/ 35 w 163"/>
                <a:gd name="T45" fmla="*/ 15 h 163"/>
                <a:gd name="T46" fmla="*/ 23 w 163"/>
                <a:gd name="T47" fmla="*/ 23 h 163"/>
                <a:gd name="T48" fmla="*/ 14 w 163"/>
                <a:gd name="T49" fmla="*/ 36 h 163"/>
                <a:gd name="T50" fmla="*/ 6 w 163"/>
                <a:gd name="T51" fmla="*/ 50 h 163"/>
                <a:gd name="T52" fmla="*/ 2 w 163"/>
                <a:gd name="T53" fmla="*/ 65 h 163"/>
                <a:gd name="T54" fmla="*/ 0 w 163"/>
                <a:gd name="T55" fmla="*/ 82 h 163"/>
                <a:gd name="T56" fmla="*/ 0 w 163"/>
                <a:gd name="T57" fmla="*/ 82 h 163"/>
                <a:gd name="T58" fmla="*/ 2 w 163"/>
                <a:gd name="T59" fmla="*/ 99 h 163"/>
                <a:gd name="T60" fmla="*/ 6 w 163"/>
                <a:gd name="T61" fmla="*/ 113 h 163"/>
                <a:gd name="T62" fmla="*/ 14 w 163"/>
                <a:gd name="T63" fmla="*/ 126 h 163"/>
                <a:gd name="T64" fmla="*/ 23 w 163"/>
                <a:gd name="T65" fmla="*/ 138 h 163"/>
                <a:gd name="T66" fmla="*/ 35 w 163"/>
                <a:gd name="T67" fmla="*/ 149 h 163"/>
                <a:gd name="T68" fmla="*/ 50 w 163"/>
                <a:gd name="T69" fmla="*/ 157 h 163"/>
                <a:gd name="T70" fmla="*/ 64 w 163"/>
                <a:gd name="T71" fmla="*/ 161 h 163"/>
                <a:gd name="T72" fmla="*/ 81 w 163"/>
                <a:gd name="T73" fmla="*/ 163 h 163"/>
                <a:gd name="T74" fmla="*/ 81 w 163"/>
                <a:gd name="T7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7" name="Freeform 35"/>
            <p:cNvSpPr/>
            <p:nvPr/>
          </p:nvSpPr>
          <p:spPr bwMode="auto">
            <a:xfrm>
              <a:off x="1576388" y="2174876"/>
              <a:ext cx="447675" cy="269875"/>
            </a:xfrm>
            <a:custGeom>
              <a:avLst/>
              <a:gdLst>
                <a:gd name="T0" fmla="*/ 232 w 282"/>
                <a:gd name="T1" fmla="*/ 15 h 170"/>
                <a:gd name="T2" fmla="*/ 232 w 282"/>
                <a:gd name="T3" fmla="*/ 15 h 170"/>
                <a:gd name="T4" fmla="*/ 215 w 282"/>
                <a:gd name="T5" fmla="*/ 0 h 170"/>
                <a:gd name="T6" fmla="*/ 215 w 282"/>
                <a:gd name="T7" fmla="*/ 0 h 170"/>
                <a:gd name="T8" fmla="*/ 201 w 282"/>
                <a:gd name="T9" fmla="*/ 13 h 170"/>
                <a:gd name="T10" fmla="*/ 182 w 282"/>
                <a:gd name="T11" fmla="*/ 25 h 170"/>
                <a:gd name="T12" fmla="*/ 163 w 282"/>
                <a:gd name="T13" fmla="*/ 32 h 170"/>
                <a:gd name="T14" fmla="*/ 153 w 282"/>
                <a:gd name="T15" fmla="*/ 34 h 170"/>
                <a:gd name="T16" fmla="*/ 142 w 282"/>
                <a:gd name="T17" fmla="*/ 34 h 170"/>
                <a:gd name="T18" fmla="*/ 142 w 282"/>
                <a:gd name="T19" fmla="*/ 34 h 170"/>
                <a:gd name="T20" fmla="*/ 132 w 282"/>
                <a:gd name="T21" fmla="*/ 34 h 170"/>
                <a:gd name="T22" fmla="*/ 121 w 282"/>
                <a:gd name="T23" fmla="*/ 32 h 170"/>
                <a:gd name="T24" fmla="*/ 100 w 282"/>
                <a:gd name="T25" fmla="*/ 25 h 170"/>
                <a:gd name="T26" fmla="*/ 84 w 282"/>
                <a:gd name="T27" fmla="*/ 13 h 170"/>
                <a:gd name="T28" fmla="*/ 69 w 282"/>
                <a:gd name="T29" fmla="*/ 0 h 170"/>
                <a:gd name="T30" fmla="*/ 69 w 282"/>
                <a:gd name="T31" fmla="*/ 0 h 170"/>
                <a:gd name="T32" fmla="*/ 52 w 282"/>
                <a:gd name="T33" fmla="*/ 15 h 170"/>
                <a:gd name="T34" fmla="*/ 52 w 282"/>
                <a:gd name="T35" fmla="*/ 15 h 170"/>
                <a:gd name="T36" fmla="*/ 42 w 282"/>
                <a:gd name="T37" fmla="*/ 28 h 170"/>
                <a:gd name="T38" fmla="*/ 31 w 282"/>
                <a:gd name="T39" fmla="*/ 40 h 170"/>
                <a:gd name="T40" fmla="*/ 23 w 282"/>
                <a:gd name="T41" fmla="*/ 55 h 170"/>
                <a:gd name="T42" fmla="*/ 17 w 282"/>
                <a:gd name="T43" fmla="*/ 69 h 170"/>
                <a:gd name="T44" fmla="*/ 11 w 282"/>
                <a:gd name="T45" fmla="*/ 86 h 170"/>
                <a:gd name="T46" fmla="*/ 6 w 282"/>
                <a:gd name="T47" fmla="*/ 103 h 170"/>
                <a:gd name="T48" fmla="*/ 2 w 282"/>
                <a:gd name="T49" fmla="*/ 122 h 170"/>
                <a:gd name="T50" fmla="*/ 2 w 282"/>
                <a:gd name="T51" fmla="*/ 140 h 170"/>
                <a:gd name="T52" fmla="*/ 2 w 282"/>
                <a:gd name="T53" fmla="*/ 140 h 170"/>
                <a:gd name="T54" fmla="*/ 0 w 282"/>
                <a:gd name="T55" fmla="*/ 145 h 170"/>
                <a:gd name="T56" fmla="*/ 0 w 282"/>
                <a:gd name="T57" fmla="*/ 145 h 170"/>
                <a:gd name="T58" fmla="*/ 2 w 282"/>
                <a:gd name="T59" fmla="*/ 170 h 170"/>
                <a:gd name="T60" fmla="*/ 282 w 282"/>
                <a:gd name="T61" fmla="*/ 170 h 170"/>
                <a:gd name="T62" fmla="*/ 282 w 282"/>
                <a:gd name="T63" fmla="*/ 170 h 170"/>
                <a:gd name="T64" fmla="*/ 282 w 282"/>
                <a:gd name="T65" fmla="*/ 145 h 170"/>
                <a:gd name="T66" fmla="*/ 282 w 282"/>
                <a:gd name="T67" fmla="*/ 145 h 170"/>
                <a:gd name="T68" fmla="*/ 282 w 282"/>
                <a:gd name="T69" fmla="*/ 140 h 170"/>
                <a:gd name="T70" fmla="*/ 282 w 282"/>
                <a:gd name="T71" fmla="*/ 140 h 170"/>
                <a:gd name="T72" fmla="*/ 282 w 282"/>
                <a:gd name="T73" fmla="*/ 122 h 170"/>
                <a:gd name="T74" fmla="*/ 278 w 282"/>
                <a:gd name="T75" fmla="*/ 103 h 170"/>
                <a:gd name="T76" fmla="*/ 274 w 282"/>
                <a:gd name="T77" fmla="*/ 86 h 170"/>
                <a:gd name="T78" fmla="*/ 268 w 282"/>
                <a:gd name="T79" fmla="*/ 69 h 170"/>
                <a:gd name="T80" fmla="*/ 261 w 282"/>
                <a:gd name="T81" fmla="*/ 55 h 170"/>
                <a:gd name="T82" fmla="*/ 253 w 282"/>
                <a:gd name="T83" fmla="*/ 40 h 170"/>
                <a:gd name="T84" fmla="*/ 242 w 282"/>
                <a:gd name="T85" fmla="*/ 28 h 170"/>
                <a:gd name="T86" fmla="*/ 232 w 282"/>
                <a:gd name="T87" fmla="*/ 15 h 170"/>
                <a:gd name="T88" fmla="*/ 232 w 282"/>
                <a:gd name="T89" fmla="*/ 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70">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38" name="Freeform 36"/>
            <p:cNvSpPr/>
            <p:nvPr/>
          </p:nvSpPr>
          <p:spPr bwMode="auto">
            <a:xfrm>
              <a:off x="1928813" y="1708151"/>
              <a:ext cx="247650" cy="247650"/>
            </a:xfrm>
            <a:custGeom>
              <a:avLst/>
              <a:gdLst>
                <a:gd name="T0" fmla="*/ 58 w 156"/>
                <a:gd name="T1" fmla="*/ 156 h 156"/>
                <a:gd name="T2" fmla="*/ 98 w 156"/>
                <a:gd name="T3" fmla="*/ 156 h 156"/>
                <a:gd name="T4" fmla="*/ 98 w 156"/>
                <a:gd name="T5" fmla="*/ 96 h 156"/>
                <a:gd name="T6" fmla="*/ 156 w 156"/>
                <a:gd name="T7" fmla="*/ 96 h 156"/>
                <a:gd name="T8" fmla="*/ 156 w 156"/>
                <a:gd name="T9" fmla="*/ 58 h 156"/>
                <a:gd name="T10" fmla="*/ 98 w 156"/>
                <a:gd name="T11" fmla="*/ 58 h 156"/>
                <a:gd name="T12" fmla="*/ 98 w 156"/>
                <a:gd name="T13" fmla="*/ 0 h 156"/>
                <a:gd name="T14" fmla="*/ 58 w 156"/>
                <a:gd name="T15" fmla="*/ 0 h 156"/>
                <a:gd name="T16" fmla="*/ 58 w 156"/>
                <a:gd name="T17" fmla="*/ 58 h 156"/>
                <a:gd name="T18" fmla="*/ 0 w 156"/>
                <a:gd name="T19" fmla="*/ 58 h 156"/>
                <a:gd name="T20" fmla="*/ 0 w 156"/>
                <a:gd name="T21" fmla="*/ 96 h 156"/>
                <a:gd name="T22" fmla="*/ 58 w 156"/>
                <a:gd name="T23" fmla="*/ 96 h 156"/>
                <a:gd name="T24" fmla="*/ 58 w 156"/>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grpSp>
      <p:sp>
        <p:nvSpPr>
          <p:cNvPr id="39" name="Freeform 37"/>
          <p:cNvSpPr>
            <a:spLocks noEditPoints="1"/>
          </p:cNvSpPr>
          <p:nvPr/>
        </p:nvSpPr>
        <p:spPr bwMode="auto">
          <a:xfrm>
            <a:off x="5270599" y="2198309"/>
            <a:ext cx="553772" cy="779326"/>
          </a:xfrm>
          <a:custGeom>
            <a:avLst/>
            <a:gdLst>
              <a:gd name="T0" fmla="*/ 242 w 349"/>
              <a:gd name="T1" fmla="*/ 0 h 491"/>
              <a:gd name="T2" fmla="*/ 113 w 349"/>
              <a:gd name="T3" fmla="*/ 69 h 491"/>
              <a:gd name="T4" fmla="*/ 58 w 349"/>
              <a:gd name="T5" fmla="*/ 42 h 491"/>
              <a:gd name="T6" fmla="*/ 60 w 349"/>
              <a:gd name="T7" fmla="*/ 52 h 491"/>
              <a:gd name="T8" fmla="*/ 109 w 349"/>
              <a:gd name="T9" fmla="*/ 77 h 491"/>
              <a:gd name="T10" fmla="*/ 228 w 349"/>
              <a:gd name="T11" fmla="*/ 98 h 491"/>
              <a:gd name="T12" fmla="*/ 106 w 349"/>
              <a:gd name="T13" fmla="*/ 96 h 491"/>
              <a:gd name="T14" fmla="*/ 63 w 349"/>
              <a:gd name="T15" fmla="*/ 90 h 491"/>
              <a:gd name="T16" fmla="*/ 71 w 349"/>
              <a:gd name="T17" fmla="*/ 104 h 491"/>
              <a:gd name="T18" fmla="*/ 106 w 349"/>
              <a:gd name="T19" fmla="*/ 104 h 491"/>
              <a:gd name="T20" fmla="*/ 46 w 349"/>
              <a:gd name="T21" fmla="*/ 171 h 491"/>
              <a:gd name="T22" fmla="*/ 2 w 349"/>
              <a:gd name="T23" fmla="*/ 288 h 491"/>
              <a:gd name="T24" fmla="*/ 4 w 349"/>
              <a:gd name="T25" fmla="*/ 351 h 491"/>
              <a:gd name="T26" fmla="*/ 29 w 349"/>
              <a:gd name="T27" fmla="*/ 414 h 491"/>
              <a:gd name="T28" fmla="*/ 77 w 349"/>
              <a:gd name="T29" fmla="*/ 462 h 491"/>
              <a:gd name="T30" fmla="*/ 140 w 349"/>
              <a:gd name="T31" fmla="*/ 487 h 491"/>
              <a:gd name="T32" fmla="*/ 192 w 349"/>
              <a:gd name="T33" fmla="*/ 491 h 491"/>
              <a:gd name="T34" fmla="*/ 257 w 349"/>
              <a:gd name="T35" fmla="*/ 470 h 491"/>
              <a:gd name="T36" fmla="*/ 309 w 349"/>
              <a:gd name="T37" fmla="*/ 428 h 491"/>
              <a:gd name="T38" fmla="*/ 343 w 349"/>
              <a:gd name="T39" fmla="*/ 368 h 491"/>
              <a:gd name="T40" fmla="*/ 349 w 349"/>
              <a:gd name="T41" fmla="*/ 315 h 491"/>
              <a:gd name="T42" fmla="*/ 315 w 349"/>
              <a:gd name="T43" fmla="*/ 192 h 491"/>
              <a:gd name="T44" fmla="*/ 253 w 349"/>
              <a:gd name="T45" fmla="*/ 113 h 491"/>
              <a:gd name="T46" fmla="*/ 226 w 349"/>
              <a:gd name="T47" fmla="*/ 374 h 491"/>
              <a:gd name="T48" fmla="*/ 200 w 349"/>
              <a:gd name="T49" fmla="*/ 386 h 491"/>
              <a:gd name="T50" fmla="*/ 161 w 349"/>
              <a:gd name="T51" fmla="*/ 389 h 491"/>
              <a:gd name="T52" fmla="*/ 132 w 349"/>
              <a:gd name="T53" fmla="*/ 378 h 491"/>
              <a:gd name="T54" fmla="*/ 111 w 349"/>
              <a:gd name="T55" fmla="*/ 355 h 491"/>
              <a:gd name="T56" fmla="*/ 134 w 349"/>
              <a:gd name="T57" fmla="*/ 328 h 491"/>
              <a:gd name="T58" fmla="*/ 138 w 349"/>
              <a:gd name="T59" fmla="*/ 345 h 491"/>
              <a:gd name="T60" fmla="*/ 150 w 349"/>
              <a:gd name="T61" fmla="*/ 361 h 491"/>
              <a:gd name="T62" fmla="*/ 175 w 349"/>
              <a:gd name="T63" fmla="*/ 366 h 491"/>
              <a:gd name="T64" fmla="*/ 205 w 349"/>
              <a:gd name="T65" fmla="*/ 357 h 491"/>
              <a:gd name="T66" fmla="*/ 215 w 349"/>
              <a:gd name="T67" fmla="*/ 338 h 491"/>
              <a:gd name="T68" fmla="*/ 213 w 349"/>
              <a:gd name="T69" fmla="*/ 320 h 491"/>
              <a:gd name="T70" fmla="*/ 190 w 349"/>
              <a:gd name="T71" fmla="*/ 301 h 491"/>
              <a:gd name="T72" fmla="*/ 144 w 349"/>
              <a:gd name="T73" fmla="*/ 286 h 491"/>
              <a:gd name="T74" fmla="*/ 121 w 349"/>
              <a:gd name="T75" fmla="*/ 267 h 491"/>
              <a:gd name="T76" fmla="*/ 113 w 349"/>
              <a:gd name="T77" fmla="*/ 240 h 491"/>
              <a:gd name="T78" fmla="*/ 132 w 349"/>
              <a:gd name="T79" fmla="*/ 201 h 491"/>
              <a:gd name="T80" fmla="*/ 161 w 349"/>
              <a:gd name="T81" fmla="*/ 163 h 491"/>
              <a:gd name="T82" fmla="*/ 209 w 349"/>
              <a:gd name="T83" fmla="*/ 192 h 491"/>
              <a:gd name="T84" fmla="*/ 232 w 349"/>
              <a:gd name="T85" fmla="*/ 209 h 491"/>
              <a:gd name="T86" fmla="*/ 242 w 349"/>
              <a:gd name="T87" fmla="*/ 244 h 491"/>
              <a:gd name="T88" fmla="*/ 209 w 349"/>
              <a:gd name="T89" fmla="*/ 228 h 491"/>
              <a:gd name="T90" fmla="*/ 192 w 349"/>
              <a:gd name="T91" fmla="*/ 213 h 491"/>
              <a:gd name="T92" fmla="*/ 157 w 349"/>
              <a:gd name="T93" fmla="*/ 215 h 491"/>
              <a:gd name="T94" fmla="*/ 144 w 349"/>
              <a:gd name="T95" fmla="*/ 228 h 491"/>
              <a:gd name="T96" fmla="*/ 144 w 349"/>
              <a:gd name="T97" fmla="*/ 251 h 491"/>
              <a:gd name="T98" fmla="*/ 180 w 349"/>
              <a:gd name="T99" fmla="*/ 272 h 491"/>
              <a:gd name="T100" fmla="*/ 219 w 349"/>
              <a:gd name="T101" fmla="*/ 286 h 491"/>
              <a:gd name="T102" fmla="*/ 240 w 349"/>
              <a:gd name="T103" fmla="*/ 311 h 491"/>
              <a:gd name="T104" fmla="*/ 242 w 349"/>
              <a:gd name="T105" fmla="*/ 343 h 491"/>
              <a:gd name="T106" fmla="*/ 226 w 349"/>
              <a:gd name="T107" fmla="*/ 37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 h="491">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rgbClr val="86BD7D"/>
          </a:solidFill>
          <a:ln>
            <a:noFill/>
          </a:ln>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sp>
        <p:nvSpPr>
          <p:cNvPr id="40" name="Freeform 38"/>
          <p:cNvSpPr>
            <a:spLocks noEditPoints="1"/>
          </p:cNvSpPr>
          <p:nvPr/>
        </p:nvSpPr>
        <p:spPr bwMode="auto">
          <a:xfrm>
            <a:off x="7952182" y="2241163"/>
            <a:ext cx="564878" cy="749170"/>
          </a:xfrm>
          <a:custGeom>
            <a:avLst/>
            <a:gdLst>
              <a:gd name="T0" fmla="*/ 303 w 356"/>
              <a:gd name="T1" fmla="*/ 0 h 472"/>
              <a:gd name="T2" fmla="*/ 53 w 356"/>
              <a:gd name="T3" fmla="*/ 52 h 472"/>
              <a:gd name="T4" fmla="*/ 0 w 356"/>
              <a:gd name="T5" fmla="*/ 153 h 472"/>
              <a:gd name="T6" fmla="*/ 2 w 356"/>
              <a:gd name="T7" fmla="*/ 163 h 472"/>
              <a:gd name="T8" fmla="*/ 11 w 356"/>
              <a:gd name="T9" fmla="*/ 188 h 472"/>
              <a:gd name="T10" fmla="*/ 27 w 356"/>
              <a:gd name="T11" fmla="*/ 217 h 472"/>
              <a:gd name="T12" fmla="*/ 53 w 356"/>
              <a:gd name="T13" fmla="*/ 240 h 472"/>
              <a:gd name="T14" fmla="*/ 69 w 356"/>
              <a:gd name="T15" fmla="*/ 249 h 472"/>
              <a:gd name="T16" fmla="*/ 99 w 356"/>
              <a:gd name="T17" fmla="*/ 284 h 472"/>
              <a:gd name="T18" fmla="*/ 142 w 356"/>
              <a:gd name="T19" fmla="*/ 307 h 472"/>
              <a:gd name="T20" fmla="*/ 50 w 356"/>
              <a:gd name="T21" fmla="*/ 418 h 472"/>
              <a:gd name="T22" fmla="*/ 305 w 356"/>
              <a:gd name="T23" fmla="*/ 472 h 472"/>
              <a:gd name="T24" fmla="*/ 213 w 356"/>
              <a:gd name="T25" fmla="*/ 418 h 472"/>
              <a:gd name="T26" fmla="*/ 213 w 356"/>
              <a:gd name="T27" fmla="*/ 307 h 472"/>
              <a:gd name="T28" fmla="*/ 255 w 356"/>
              <a:gd name="T29" fmla="*/ 284 h 472"/>
              <a:gd name="T30" fmla="*/ 287 w 356"/>
              <a:gd name="T31" fmla="*/ 249 h 472"/>
              <a:gd name="T32" fmla="*/ 303 w 356"/>
              <a:gd name="T33" fmla="*/ 240 h 472"/>
              <a:gd name="T34" fmla="*/ 328 w 356"/>
              <a:gd name="T35" fmla="*/ 217 h 472"/>
              <a:gd name="T36" fmla="*/ 345 w 356"/>
              <a:gd name="T37" fmla="*/ 188 h 472"/>
              <a:gd name="T38" fmla="*/ 353 w 356"/>
              <a:gd name="T39" fmla="*/ 163 h 472"/>
              <a:gd name="T40" fmla="*/ 356 w 356"/>
              <a:gd name="T41" fmla="*/ 52 h 472"/>
              <a:gd name="T42" fmla="*/ 23 w 356"/>
              <a:gd name="T43" fmla="*/ 153 h 472"/>
              <a:gd name="T44" fmla="*/ 53 w 356"/>
              <a:gd name="T45" fmla="*/ 75 h 472"/>
              <a:gd name="T46" fmla="*/ 53 w 356"/>
              <a:gd name="T47" fmla="*/ 186 h 472"/>
              <a:gd name="T48" fmla="*/ 55 w 356"/>
              <a:gd name="T49" fmla="*/ 211 h 472"/>
              <a:gd name="T50" fmla="*/ 42 w 356"/>
              <a:gd name="T51" fmla="*/ 194 h 472"/>
              <a:gd name="T52" fmla="*/ 25 w 356"/>
              <a:gd name="T53" fmla="*/ 163 h 472"/>
              <a:gd name="T54" fmla="*/ 23 w 356"/>
              <a:gd name="T55" fmla="*/ 153 h 472"/>
              <a:gd name="T56" fmla="*/ 180 w 356"/>
              <a:gd name="T57" fmla="*/ 151 h 472"/>
              <a:gd name="T58" fmla="*/ 151 w 356"/>
              <a:gd name="T59" fmla="*/ 130 h 472"/>
              <a:gd name="T60" fmla="*/ 161 w 356"/>
              <a:gd name="T61" fmla="*/ 96 h 472"/>
              <a:gd name="T62" fmla="*/ 199 w 356"/>
              <a:gd name="T63" fmla="*/ 96 h 472"/>
              <a:gd name="T64" fmla="*/ 209 w 356"/>
              <a:gd name="T65" fmla="*/ 130 h 472"/>
              <a:gd name="T66" fmla="*/ 333 w 356"/>
              <a:gd name="T67" fmla="*/ 153 h 472"/>
              <a:gd name="T68" fmla="*/ 330 w 356"/>
              <a:gd name="T69" fmla="*/ 163 h 472"/>
              <a:gd name="T70" fmla="*/ 314 w 356"/>
              <a:gd name="T71" fmla="*/ 194 h 472"/>
              <a:gd name="T72" fmla="*/ 301 w 356"/>
              <a:gd name="T73" fmla="*/ 211 h 472"/>
              <a:gd name="T74" fmla="*/ 303 w 356"/>
              <a:gd name="T75" fmla="*/ 186 h 472"/>
              <a:gd name="T76" fmla="*/ 333 w 356"/>
              <a:gd name="T77" fmla="*/ 7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6" h="472">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rgbClr val="82B864"/>
          </a:solidFill>
          <a:ln>
            <a:noFill/>
          </a:ln>
        </p:spPr>
        <p:txBody>
          <a:bodyPr vert="horz" wrap="square" lIns="91396" tIns="45698" rIns="91396" bIns="45698" numCol="1" anchor="t" anchorCtr="0" compatLnSpc="1"/>
          <a:lstStyle/>
          <a:p>
            <a:endParaRPr lang="zh-CN" altLang="en-US" sz="1200">
              <a:solidFill>
                <a:schemeClr val="tx1">
                  <a:lumMod val="50000"/>
                  <a:lumOff val="50000"/>
                </a:schemeClr>
              </a:solidFill>
              <a:cs typeface="+mn-ea"/>
              <a:sym typeface="+mn-lt"/>
            </a:endParaRPr>
          </a:p>
        </p:txBody>
      </p:sp>
      <p:grpSp>
        <p:nvGrpSpPr>
          <p:cNvPr id="10" name="组合 40"/>
          <p:cNvGrpSpPr/>
          <p:nvPr/>
        </p:nvGrpSpPr>
        <p:grpSpPr>
          <a:xfrm>
            <a:off x="2115200" y="4140942"/>
            <a:ext cx="1436291" cy="1298897"/>
            <a:chOff x="1108076" y="4159252"/>
            <a:chExt cx="1436984" cy="1299123"/>
          </a:xfrm>
        </p:grpSpPr>
        <p:sp>
          <p:nvSpPr>
            <p:cNvPr id="42" name="Rectangle 6"/>
            <p:cNvSpPr>
              <a:spLocks noChangeArrowheads="1"/>
            </p:cNvSpPr>
            <p:nvPr/>
          </p:nvSpPr>
          <p:spPr bwMode="auto">
            <a:xfrm>
              <a:off x="1108076" y="4159252"/>
              <a:ext cx="1436984" cy="2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600" dirty="0">
                  <a:solidFill>
                    <a:schemeClr val="tx1">
                      <a:lumMod val="75000"/>
                      <a:lumOff val="25000"/>
                    </a:schemeClr>
                  </a:solidFill>
                  <a:latin typeface="+mn-lt"/>
                  <a:ea typeface="+mn-ea"/>
                  <a:cs typeface="+mn-ea"/>
                  <a:sym typeface="+mn-lt"/>
                </a:rPr>
                <a:t>请在此添加标题</a:t>
              </a:r>
            </a:p>
          </p:txBody>
        </p:sp>
        <p:sp>
          <p:nvSpPr>
            <p:cNvPr id="43" name="Rectangle 7"/>
            <p:cNvSpPr>
              <a:spLocks noChangeArrowheads="1"/>
            </p:cNvSpPr>
            <p:nvPr/>
          </p:nvSpPr>
          <p:spPr bwMode="auto">
            <a:xfrm>
              <a:off x="1276095" y="4511675"/>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44" name="Rectangle 8"/>
            <p:cNvSpPr>
              <a:spLocks noChangeArrowheads="1"/>
            </p:cNvSpPr>
            <p:nvPr/>
          </p:nvSpPr>
          <p:spPr bwMode="auto">
            <a:xfrm>
              <a:off x="1276095" y="4767263"/>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sp>
          <p:nvSpPr>
            <p:cNvPr id="45" name="Rectangle 9"/>
            <p:cNvSpPr>
              <a:spLocks noChangeArrowheads="1"/>
            </p:cNvSpPr>
            <p:nvPr/>
          </p:nvSpPr>
          <p:spPr bwMode="auto">
            <a:xfrm>
              <a:off x="1276095" y="5018087"/>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46" name="Rectangle 10"/>
            <p:cNvSpPr>
              <a:spLocks noChangeArrowheads="1"/>
            </p:cNvSpPr>
            <p:nvPr/>
          </p:nvSpPr>
          <p:spPr bwMode="auto">
            <a:xfrm>
              <a:off x="1276095" y="5273677"/>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grpSp>
      <p:grpSp>
        <p:nvGrpSpPr>
          <p:cNvPr id="11" name="组合 47"/>
          <p:cNvGrpSpPr/>
          <p:nvPr/>
        </p:nvGrpSpPr>
        <p:grpSpPr>
          <a:xfrm>
            <a:off x="4752352" y="4140944"/>
            <a:ext cx="1436291" cy="1298897"/>
            <a:chOff x="3746501" y="4159252"/>
            <a:chExt cx="1436984" cy="1299121"/>
          </a:xfrm>
        </p:grpSpPr>
        <p:sp>
          <p:nvSpPr>
            <p:cNvPr id="49" name="Rectangle 11"/>
            <p:cNvSpPr>
              <a:spLocks noChangeArrowheads="1"/>
            </p:cNvSpPr>
            <p:nvPr/>
          </p:nvSpPr>
          <p:spPr bwMode="auto">
            <a:xfrm>
              <a:off x="3746501" y="4159252"/>
              <a:ext cx="1436984" cy="2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600" dirty="0">
                  <a:solidFill>
                    <a:schemeClr val="tx1">
                      <a:lumMod val="75000"/>
                      <a:lumOff val="25000"/>
                    </a:schemeClr>
                  </a:solidFill>
                  <a:latin typeface="+mn-lt"/>
                  <a:ea typeface="+mn-ea"/>
                  <a:cs typeface="+mn-ea"/>
                  <a:sym typeface="+mn-lt"/>
                </a:rPr>
                <a:t>请在此添加标题</a:t>
              </a:r>
            </a:p>
          </p:txBody>
        </p:sp>
        <p:sp>
          <p:nvSpPr>
            <p:cNvPr id="50" name="Rectangle 12"/>
            <p:cNvSpPr>
              <a:spLocks noChangeArrowheads="1"/>
            </p:cNvSpPr>
            <p:nvPr/>
          </p:nvSpPr>
          <p:spPr bwMode="auto">
            <a:xfrm>
              <a:off x="3916389" y="4511676"/>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51" name="Rectangle 13"/>
            <p:cNvSpPr>
              <a:spLocks noChangeArrowheads="1"/>
            </p:cNvSpPr>
            <p:nvPr/>
          </p:nvSpPr>
          <p:spPr bwMode="auto">
            <a:xfrm>
              <a:off x="3916389" y="4767263"/>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52" name="Rectangle 14"/>
            <p:cNvSpPr>
              <a:spLocks noChangeArrowheads="1"/>
            </p:cNvSpPr>
            <p:nvPr/>
          </p:nvSpPr>
          <p:spPr bwMode="auto">
            <a:xfrm>
              <a:off x="3916389" y="5018087"/>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53" name="Rectangle 15"/>
            <p:cNvSpPr>
              <a:spLocks noChangeArrowheads="1"/>
            </p:cNvSpPr>
            <p:nvPr/>
          </p:nvSpPr>
          <p:spPr bwMode="auto">
            <a:xfrm>
              <a:off x="3916389" y="5273675"/>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grpSp>
      <p:grpSp>
        <p:nvGrpSpPr>
          <p:cNvPr id="12" name="组合 54"/>
          <p:cNvGrpSpPr/>
          <p:nvPr/>
        </p:nvGrpSpPr>
        <p:grpSpPr>
          <a:xfrm>
            <a:off x="7465211" y="4140944"/>
            <a:ext cx="1436290" cy="1298897"/>
            <a:chOff x="6515101" y="4159252"/>
            <a:chExt cx="1436984" cy="1299121"/>
          </a:xfrm>
        </p:grpSpPr>
        <p:sp>
          <p:nvSpPr>
            <p:cNvPr id="56" name="Rectangle 16"/>
            <p:cNvSpPr>
              <a:spLocks noChangeArrowheads="1"/>
            </p:cNvSpPr>
            <p:nvPr/>
          </p:nvSpPr>
          <p:spPr bwMode="auto">
            <a:xfrm>
              <a:off x="6515101" y="4159252"/>
              <a:ext cx="1436984" cy="246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600" dirty="0">
                  <a:solidFill>
                    <a:schemeClr val="tx1">
                      <a:lumMod val="75000"/>
                      <a:lumOff val="25000"/>
                    </a:schemeClr>
                  </a:solidFill>
                  <a:latin typeface="+mn-lt"/>
                  <a:ea typeface="+mn-ea"/>
                  <a:cs typeface="+mn-ea"/>
                  <a:sym typeface="+mn-lt"/>
                </a:rPr>
                <a:t>请在此添加标题</a:t>
              </a:r>
            </a:p>
          </p:txBody>
        </p:sp>
        <p:sp>
          <p:nvSpPr>
            <p:cNvPr id="57" name="Rectangle 17"/>
            <p:cNvSpPr>
              <a:spLocks noChangeArrowheads="1"/>
            </p:cNvSpPr>
            <p:nvPr/>
          </p:nvSpPr>
          <p:spPr bwMode="auto">
            <a:xfrm>
              <a:off x="6707122" y="4511676"/>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dirty="0">
                  <a:solidFill>
                    <a:schemeClr val="tx1">
                      <a:lumMod val="50000"/>
                      <a:lumOff val="50000"/>
                    </a:schemeClr>
                  </a:solidFill>
                  <a:latin typeface="+mn-lt"/>
                  <a:ea typeface="+mn-ea"/>
                  <a:cs typeface="+mn-ea"/>
                  <a:sym typeface="+mn-lt"/>
                </a:rPr>
                <a:t>请输入您的内容</a:t>
              </a:r>
            </a:p>
          </p:txBody>
        </p:sp>
        <p:sp>
          <p:nvSpPr>
            <p:cNvPr id="58" name="Rectangle 18"/>
            <p:cNvSpPr>
              <a:spLocks noChangeArrowheads="1"/>
            </p:cNvSpPr>
            <p:nvPr/>
          </p:nvSpPr>
          <p:spPr bwMode="auto">
            <a:xfrm>
              <a:off x="6707122" y="4767263"/>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sp>
          <p:nvSpPr>
            <p:cNvPr id="59" name="Rectangle 19"/>
            <p:cNvSpPr>
              <a:spLocks noChangeArrowheads="1"/>
            </p:cNvSpPr>
            <p:nvPr/>
          </p:nvSpPr>
          <p:spPr bwMode="auto">
            <a:xfrm>
              <a:off x="6707122" y="5018087"/>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sp>
          <p:nvSpPr>
            <p:cNvPr id="60" name="Rectangle 20"/>
            <p:cNvSpPr>
              <a:spLocks noChangeArrowheads="1"/>
            </p:cNvSpPr>
            <p:nvPr/>
          </p:nvSpPr>
          <p:spPr bwMode="auto">
            <a:xfrm>
              <a:off x="6707122" y="5273675"/>
              <a:ext cx="1077738" cy="18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defTabSz="913765"/>
              <a:r>
                <a:rPr lang="zh-CN" altLang="zh-CN" sz="1200">
                  <a:solidFill>
                    <a:schemeClr val="tx1">
                      <a:lumMod val="50000"/>
                      <a:lumOff val="50000"/>
                    </a:schemeClr>
                  </a:solidFill>
                  <a:latin typeface="+mn-lt"/>
                  <a:ea typeface="+mn-ea"/>
                  <a:cs typeface="+mn-ea"/>
                  <a:sym typeface="+mn-lt"/>
                </a:rPr>
                <a:t>请输入您的内容</a:t>
              </a:r>
            </a:p>
          </p:txBody>
        </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anim calcmode="lin" valueType="num">
                                      <p:cBhvr>
                                        <p:cTn id="16" dur="1000" fill="hold"/>
                                        <p:tgtEl>
                                          <p:spTgt spid="3"/>
                                        </p:tgtEl>
                                        <p:attrNameLst>
                                          <p:attrName>ppt_x</p:attrName>
                                        </p:attrNameLst>
                                      </p:cBhvr>
                                      <p:tavLst>
                                        <p:tav tm="0">
                                          <p:val>
                                            <p:strVal val="#ppt_x"/>
                                          </p:val>
                                        </p:tav>
                                        <p:tav tm="100000">
                                          <p:val>
                                            <p:strVal val="#ppt_x"/>
                                          </p:val>
                                        </p:tav>
                                      </p:tavLst>
                                    </p:anim>
                                    <p:anim calcmode="lin" valueType="num">
                                      <p:cBhvr>
                                        <p:cTn id="17" dur="1000" fill="hold"/>
                                        <p:tgtEl>
                                          <p:spTgt spid="3"/>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1000"/>
                                        <p:tgtEl>
                                          <p:spTgt spid="4"/>
                                        </p:tgtEl>
                                      </p:cBhvr>
                                    </p:animEffect>
                                    <p:anim calcmode="lin" valueType="num">
                                      <p:cBhvr>
                                        <p:cTn id="21" dur="1000" fill="hold"/>
                                        <p:tgtEl>
                                          <p:spTgt spid="4"/>
                                        </p:tgtEl>
                                        <p:attrNameLst>
                                          <p:attrName>ppt_x</p:attrName>
                                        </p:attrNameLst>
                                      </p:cBhvr>
                                      <p:tavLst>
                                        <p:tav tm="0">
                                          <p:val>
                                            <p:strVal val="#ppt_x"/>
                                          </p:val>
                                        </p:tav>
                                        <p:tav tm="100000">
                                          <p:val>
                                            <p:strVal val="#ppt_x"/>
                                          </p:val>
                                        </p:tav>
                                      </p:tavLst>
                                    </p:anim>
                                    <p:anim calcmode="lin" valueType="num">
                                      <p:cBhvr>
                                        <p:cTn id="22" dur="1000" fill="hold"/>
                                        <p:tgtEl>
                                          <p:spTgt spid="4"/>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1000"/>
                                        <p:tgtEl>
                                          <p:spTgt spid="9"/>
                                        </p:tgtEl>
                                      </p:cBhvr>
                                    </p:animEffect>
                                    <p:anim calcmode="lin" valueType="num">
                                      <p:cBhvr>
                                        <p:cTn id="26" dur="1000" fill="hold"/>
                                        <p:tgtEl>
                                          <p:spTgt spid="9"/>
                                        </p:tgtEl>
                                        <p:attrNameLst>
                                          <p:attrName>ppt_x</p:attrName>
                                        </p:attrNameLst>
                                      </p:cBhvr>
                                      <p:tavLst>
                                        <p:tav tm="0">
                                          <p:val>
                                            <p:strVal val="#ppt_x"/>
                                          </p:val>
                                        </p:tav>
                                        <p:tav tm="100000">
                                          <p:val>
                                            <p:strVal val="#ppt_x"/>
                                          </p:val>
                                        </p:tav>
                                      </p:tavLst>
                                    </p:anim>
                                    <p:anim calcmode="lin" valueType="num">
                                      <p:cBhvr>
                                        <p:cTn id="27" dur="1000" fill="hold"/>
                                        <p:tgtEl>
                                          <p:spTgt spid="9"/>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1000"/>
                                        <p:tgtEl>
                                          <p:spTgt spid="39"/>
                                        </p:tgtEl>
                                      </p:cBhvr>
                                    </p:animEffect>
                                    <p:anim calcmode="lin" valueType="num">
                                      <p:cBhvr>
                                        <p:cTn id="31" dur="1000" fill="hold"/>
                                        <p:tgtEl>
                                          <p:spTgt spid="39"/>
                                        </p:tgtEl>
                                        <p:attrNameLst>
                                          <p:attrName>ppt_x</p:attrName>
                                        </p:attrNameLst>
                                      </p:cBhvr>
                                      <p:tavLst>
                                        <p:tav tm="0">
                                          <p:val>
                                            <p:strVal val="#ppt_x"/>
                                          </p:val>
                                        </p:tav>
                                        <p:tav tm="100000">
                                          <p:val>
                                            <p:strVal val="#ppt_x"/>
                                          </p:val>
                                        </p:tav>
                                      </p:tavLst>
                                    </p:anim>
                                    <p:anim calcmode="lin" valueType="num">
                                      <p:cBhvr>
                                        <p:cTn id="32" dur="1000" fill="hold"/>
                                        <p:tgtEl>
                                          <p:spTgt spid="39"/>
                                        </p:tgtEl>
                                        <p:attrNameLst>
                                          <p:attrName>ppt_y</p:attrName>
                                        </p:attrNameLst>
                                      </p:cBhvr>
                                      <p:tavLst>
                                        <p:tav tm="0">
                                          <p:val>
                                            <p:strVal val="#ppt_y-.1"/>
                                          </p:val>
                                        </p:tav>
                                        <p:tav tm="100000">
                                          <p:val>
                                            <p:strVal val="#ppt_y"/>
                                          </p:val>
                                        </p:tav>
                                      </p:tavLst>
                                    </p:anim>
                                  </p:childTnLst>
                                </p:cTn>
                              </p:par>
                              <p:par>
                                <p:cTn id="33" presetID="47"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1000"/>
                                        <p:tgtEl>
                                          <p:spTgt spid="40"/>
                                        </p:tgtEl>
                                      </p:cBhvr>
                                    </p:animEffect>
                                    <p:anim calcmode="lin" valueType="num">
                                      <p:cBhvr>
                                        <p:cTn id="36" dur="1000" fill="hold"/>
                                        <p:tgtEl>
                                          <p:spTgt spid="40"/>
                                        </p:tgtEl>
                                        <p:attrNameLst>
                                          <p:attrName>ppt_x</p:attrName>
                                        </p:attrNameLst>
                                      </p:cBhvr>
                                      <p:tavLst>
                                        <p:tav tm="0">
                                          <p:val>
                                            <p:strVal val="#ppt_x"/>
                                          </p:val>
                                        </p:tav>
                                        <p:tav tm="100000">
                                          <p:val>
                                            <p:strVal val="#ppt_x"/>
                                          </p:val>
                                        </p:tav>
                                      </p:tavLst>
                                    </p:anim>
                                    <p:anim calcmode="lin" valueType="num">
                                      <p:cBhvr>
                                        <p:cTn id="37" dur="1000" fill="hold"/>
                                        <p:tgtEl>
                                          <p:spTgt spid="4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70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anim calcmode="lin" valueType="num">
                                      <p:cBhvr>
                                        <p:cTn id="41" dur="1000" fill="hold"/>
                                        <p:tgtEl>
                                          <p:spTgt spid="10"/>
                                        </p:tgtEl>
                                        <p:attrNameLst>
                                          <p:attrName>ppt_x</p:attrName>
                                        </p:attrNameLst>
                                      </p:cBhvr>
                                      <p:tavLst>
                                        <p:tav tm="0">
                                          <p:val>
                                            <p:strVal val="#ppt_x"/>
                                          </p:val>
                                        </p:tav>
                                        <p:tav tm="100000">
                                          <p:val>
                                            <p:strVal val="#ppt_x"/>
                                          </p:val>
                                        </p:tav>
                                      </p:tavLst>
                                    </p:anim>
                                    <p:anim calcmode="lin" valueType="num">
                                      <p:cBhvr>
                                        <p:cTn id="42" dur="1000" fill="hold"/>
                                        <p:tgtEl>
                                          <p:spTgt spid="10"/>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10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1000"/>
                                        <p:tgtEl>
                                          <p:spTgt spid="11"/>
                                        </p:tgtEl>
                                      </p:cBhvr>
                                    </p:animEffect>
                                    <p:anim calcmode="lin" valueType="num">
                                      <p:cBhvr>
                                        <p:cTn id="46" dur="1000" fill="hold"/>
                                        <p:tgtEl>
                                          <p:spTgt spid="11"/>
                                        </p:tgtEl>
                                        <p:attrNameLst>
                                          <p:attrName>ppt_x</p:attrName>
                                        </p:attrNameLst>
                                      </p:cBhvr>
                                      <p:tavLst>
                                        <p:tav tm="0">
                                          <p:val>
                                            <p:strVal val="#ppt_x"/>
                                          </p:val>
                                        </p:tav>
                                        <p:tav tm="100000">
                                          <p:val>
                                            <p:strVal val="#ppt_x"/>
                                          </p:val>
                                        </p:tav>
                                      </p:tavLst>
                                    </p:anim>
                                    <p:anim calcmode="lin" valueType="num">
                                      <p:cBhvr>
                                        <p:cTn id="47" dur="1000" fill="hold"/>
                                        <p:tgtEl>
                                          <p:spTgt spid="1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140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1000"/>
                                        <p:tgtEl>
                                          <p:spTgt spid="12"/>
                                        </p:tgtEl>
                                      </p:cBhvr>
                                    </p:animEffect>
                                    <p:anim calcmode="lin" valueType="num">
                                      <p:cBhvr>
                                        <p:cTn id="51" dur="1000" fill="hold"/>
                                        <p:tgtEl>
                                          <p:spTgt spid="12"/>
                                        </p:tgtEl>
                                        <p:attrNameLst>
                                          <p:attrName>ppt_x</p:attrName>
                                        </p:attrNameLst>
                                      </p:cBhvr>
                                      <p:tavLst>
                                        <p:tav tm="0">
                                          <p:val>
                                            <p:strVal val="#ppt_x"/>
                                          </p:val>
                                        </p:tav>
                                        <p:tav tm="100000">
                                          <p:val>
                                            <p:strVal val="#ppt_x"/>
                                          </p:val>
                                        </p:tav>
                                      </p:tavLst>
                                    </p:anim>
                                    <p:anim calcmode="lin" valueType="num">
                                      <p:cBhvr>
                                        <p:cTn id="5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arrie"/>
          <p:cNvSpPr/>
          <p:nvPr>
            <p:custDataLst>
              <p:tags r:id="rId1"/>
            </p:custDataLst>
          </p:nvPr>
        </p:nvSpPr>
        <p:spPr>
          <a:xfrm flipV="1">
            <a:off x="3867271" y="2065012"/>
            <a:ext cx="4458721" cy="1258947"/>
          </a:xfrm>
          <a:custGeom>
            <a:avLst/>
            <a:gdLst>
              <a:gd name="connsiteX0" fmla="*/ 1928081 w 3856164"/>
              <a:gd name="connsiteY0" fmla="*/ 1088476 h 1088476"/>
              <a:gd name="connsiteX1" fmla="*/ 3734157 w 3856164"/>
              <a:gd name="connsiteY1" fmla="*/ 622681 h 1088476"/>
              <a:gd name="connsiteX2" fmla="*/ 3856164 w 3856164"/>
              <a:gd name="connsiteY2" fmla="*/ 543018 h 1088476"/>
              <a:gd name="connsiteX3" fmla="*/ 3500450 w 3856164"/>
              <a:gd name="connsiteY3" fmla="*/ 0 h 1088476"/>
              <a:gd name="connsiteX4" fmla="*/ 3364732 w 3856164"/>
              <a:gd name="connsiteY4" fmla="*/ 55801 h 1088476"/>
              <a:gd name="connsiteX5" fmla="*/ 1928080 w 3856164"/>
              <a:gd name="connsiteY5" fmla="*/ 301996 h 1088476"/>
              <a:gd name="connsiteX6" fmla="*/ 491428 w 3856164"/>
              <a:gd name="connsiteY6" fmla="*/ 55801 h 1088476"/>
              <a:gd name="connsiteX7" fmla="*/ 355714 w 3856164"/>
              <a:gd name="connsiteY7" fmla="*/ 2 h 1088476"/>
              <a:gd name="connsiteX8" fmla="*/ 0 w 3856164"/>
              <a:gd name="connsiteY8" fmla="*/ 543019 h 1088476"/>
              <a:gd name="connsiteX9" fmla="*/ 122006 w 3856164"/>
              <a:gd name="connsiteY9" fmla="*/ 622681 h 1088476"/>
              <a:gd name="connsiteX10" fmla="*/ 1928081 w 3856164"/>
              <a:gd name="connsiteY10" fmla="*/ 1088476 h 108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6164" h="1088476">
                <a:moveTo>
                  <a:pt x="1928081" y="1088476"/>
                </a:moveTo>
                <a:cubicBezTo>
                  <a:pt x="2614132" y="1088476"/>
                  <a:pt x="3243354" y="913673"/>
                  <a:pt x="3734157" y="622681"/>
                </a:cubicBezTo>
                <a:lnTo>
                  <a:pt x="3856164" y="543018"/>
                </a:lnTo>
                <a:lnTo>
                  <a:pt x="3500450" y="0"/>
                </a:lnTo>
                <a:lnTo>
                  <a:pt x="3364732" y="55801"/>
                </a:lnTo>
                <a:cubicBezTo>
                  <a:pt x="2937669" y="212811"/>
                  <a:pt x="2448264" y="301996"/>
                  <a:pt x="1928080" y="301996"/>
                </a:cubicBezTo>
                <a:cubicBezTo>
                  <a:pt x="1407897" y="301996"/>
                  <a:pt x="918492" y="212811"/>
                  <a:pt x="491428" y="55801"/>
                </a:cubicBezTo>
                <a:lnTo>
                  <a:pt x="355714" y="2"/>
                </a:lnTo>
                <a:lnTo>
                  <a:pt x="0" y="543019"/>
                </a:lnTo>
                <a:lnTo>
                  <a:pt x="122006" y="622681"/>
                </a:lnTo>
                <a:cubicBezTo>
                  <a:pt x="612809" y="913673"/>
                  <a:pt x="1242030" y="1088476"/>
                  <a:pt x="1928081" y="1088476"/>
                </a:cubicBezTo>
                <a:close/>
              </a:path>
            </a:pathLst>
          </a:custGeom>
          <a:solidFill>
            <a:srgbClr val="82B8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rtlCol="0" anchor="ctr"/>
          <a:lstStyle/>
          <a:p>
            <a:pPr algn="ctr"/>
            <a:endParaRPr lang="zh-CN" altLang="en-US" sz="3200">
              <a:cs typeface="+mn-ea"/>
              <a:sym typeface="+mn-lt"/>
            </a:endParaRPr>
          </a:p>
        </p:txBody>
      </p:sp>
      <p:sp>
        <p:nvSpPr>
          <p:cNvPr id="38" name="carrie"/>
          <p:cNvSpPr/>
          <p:nvPr>
            <p:custDataLst>
              <p:tags r:id="rId2"/>
            </p:custDataLst>
          </p:nvPr>
        </p:nvSpPr>
        <p:spPr>
          <a:xfrm flipV="1">
            <a:off x="4303751" y="3072297"/>
            <a:ext cx="3585761" cy="964149"/>
          </a:xfrm>
          <a:custGeom>
            <a:avLst/>
            <a:gdLst>
              <a:gd name="connsiteX0" fmla="*/ 1550586 w 3101176"/>
              <a:gd name="connsiteY0" fmla="*/ 833596 h 833596"/>
              <a:gd name="connsiteX1" fmla="*/ 2987238 w 3101176"/>
              <a:gd name="connsiteY1" fmla="*/ 587401 h 833596"/>
              <a:gd name="connsiteX2" fmla="*/ 3101176 w 3101176"/>
              <a:gd name="connsiteY2" fmla="*/ 540555 h 833596"/>
              <a:gd name="connsiteX3" fmla="*/ 2747076 w 3101176"/>
              <a:gd name="connsiteY3" fmla="*/ 0 h 833596"/>
              <a:gd name="connsiteX4" fmla="*/ 2723772 w 3101176"/>
              <a:gd name="connsiteY4" fmla="*/ 7598 h 833596"/>
              <a:gd name="connsiteX5" fmla="*/ 1550586 w 3101176"/>
              <a:gd name="connsiteY5" fmla="*/ 167897 h 833596"/>
              <a:gd name="connsiteX6" fmla="*/ 377401 w 3101176"/>
              <a:gd name="connsiteY6" fmla="*/ 7598 h 833596"/>
              <a:gd name="connsiteX7" fmla="*/ 354101 w 3101176"/>
              <a:gd name="connsiteY7" fmla="*/ 2 h 833596"/>
              <a:gd name="connsiteX8" fmla="*/ 0 w 3101176"/>
              <a:gd name="connsiteY8" fmla="*/ 540557 h 833596"/>
              <a:gd name="connsiteX9" fmla="*/ 113934 w 3101176"/>
              <a:gd name="connsiteY9" fmla="*/ 587401 h 833596"/>
              <a:gd name="connsiteX10" fmla="*/ 1550586 w 3101176"/>
              <a:gd name="connsiteY10" fmla="*/ 833596 h 83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1176" h="833596">
                <a:moveTo>
                  <a:pt x="1550586" y="833596"/>
                </a:moveTo>
                <a:cubicBezTo>
                  <a:pt x="2070770" y="833596"/>
                  <a:pt x="2560175" y="744411"/>
                  <a:pt x="2987238" y="587401"/>
                </a:cubicBezTo>
                <a:lnTo>
                  <a:pt x="3101176" y="540555"/>
                </a:lnTo>
                <a:lnTo>
                  <a:pt x="2747076" y="0"/>
                </a:lnTo>
                <a:lnTo>
                  <a:pt x="2723772" y="7598"/>
                </a:lnTo>
                <a:cubicBezTo>
                  <a:pt x="2363182" y="110819"/>
                  <a:pt x="1966733" y="167897"/>
                  <a:pt x="1550586" y="167897"/>
                </a:cubicBezTo>
                <a:cubicBezTo>
                  <a:pt x="1134440" y="167897"/>
                  <a:pt x="737991" y="110819"/>
                  <a:pt x="377401" y="7598"/>
                </a:cubicBezTo>
                <a:lnTo>
                  <a:pt x="354101" y="2"/>
                </a:lnTo>
                <a:lnTo>
                  <a:pt x="0" y="540557"/>
                </a:lnTo>
                <a:lnTo>
                  <a:pt x="113934" y="587401"/>
                </a:lnTo>
                <a:cubicBezTo>
                  <a:pt x="540998" y="744411"/>
                  <a:pt x="1030403" y="833596"/>
                  <a:pt x="1550586" y="833596"/>
                </a:cubicBezTo>
                <a:close/>
              </a:path>
            </a:pathLst>
          </a:custGeom>
          <a:solidFill>
            <a:srgbClr val="82B8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rtlCol="0" anchor="ctr"/>
          <a:lstStyle/>
          <a:p>
            <a:pPr algn="ctr"/>
            <a:endParaRPr lang="zh-CN" altLang="en-US" sz="3200">
              <a:cs typeface="+mn-ea"/>
              <a:sym typeface="+mn-lt"/>
            </a:endParaRPr>
          </a:p>
        </p:txBody>
      </p:sp>
      <p:sp>
        <p:nvSpPr>
          <p:cNvPr id="39" name="carrie"/>
          <p:cNvSpPr/>
          <p:nvPr>
            <p:custDataLst>
              <p:tags r:id="rId3"/>
            </p:custDataLst>
          </p:nvPr>
        </p:nvSpPr>
        <p:spPr>
          <a:xfrm flipV="1">
            <a:off x="4739526" y="3939883"/>
            <a:ext cx="2714216" cy="860722"/>
          </a:xfrm>
          <a:custGeom>
            <a:avLst/>
            <a:gdLst>
              <a:gd name="connsiteX0" fmla="*/ 1173704 w 2347413"/>
              <a:gd name="connsiteY0" fmla="*/ 744174 h 744174"/>
              <a:gd name="connsiteX1" fmla="*/ 2346890 w 2347413"/>
              <a:gd name="connsiteY1" fmla="*/ 583875 h 744174"/>
              <a:gd name="connsiteX2" fmla="*/ 2347413 w 2347413"/>
              <a:gd name="connsiteY2" fmla="*/ 583705 h 744174"/>
              <a:gd name="connsiteX3" fmla="*/ 1965046 w 2347413"/>
              <a:gd name="connsiteY3" fmla="*/ 0 h 744174"/>
              <a:gd name="connsiteX4" fmla="*/ 1781130 w 2347413"/>
              <a:gd name="connsiteY4" fmla="*/ 32004 h 744174"/>
              <a:gd name="connsiteX5" fmla="*/ 1173703 w 2347413"/>
              <a:gd name="connsiteY5" fmla="*/ 73446 h 744174"/>
              <a:gd name="connsiteX6" fmla="*/ 566277 w 2347413"/>
              <a:gd name="connsiteY6" fmla="*/ 32004 h 744174"/>
              <a:gd name="connsiteX7" fmla="*/ 382367 w 2347413"/>
              <a:gd name="connsiteY7" fmla="*/ 1 h 744174"/>
              <a:gd name="connsiteX8" fmla="*/ 0 w 2347413"/>
              <a:gd name="connsiteY8" fmla="*/ 583706 h 744174"/>
              <a:gd name="connsiteX9" fmla="*/ 519 w 2347413"/>
              <a:gd name="connsiteY9" fmla="*/ 583875 h 744174"/>
              <a:gd name="connsiteX10" fmla="*/ 1173704 w 2347413"/>
              <a:gd name="connsiteY10" fmla="*/ 744174 h 74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7413" h="744174">
                <a:moveTo>
                  <a:pt x="1173704" y="744174"/>
                </a:moveTo>
                <a:cubicBezTo>
                  <a:pt x="1589851" y="744174"/>
                  <a:pt x="1986300" y="687095"/>
                  <a:pt x="2346890" y="583875"/>
                </a:cubicBezTo>
                <a:lnTo>
                  <a:pt x="2347413" y="583705"/>
                </a:lnTo>
                <a:lnTo>
                  <a:pt x="1965046" y="0"/>
                </a:lnTo>
                <a:lnTo>
                  <a:pt x="1781130" y="32004"/>
                </a:lnTo>
                <a:cubicBezTo>
                  <a:pt x="1584925" y="59177"/>
                  <a:pt x="1381777" y="73446"/>
                  <a:pt x="1173703" y="73446"/>
                </a:cubicBezTo>
                <a:cubicBezTo>
                  <a:pt x="965630" y="73446"/>
                  <a:pt x="762481" y="59177"/>
                  <a:pt x="566277" y="32004"/>
                </a:cubicBezTo>
                <a:lnTo>
                  <a:pt x="382367" y="1"/>
                </a:lnTo>
                <a:lnTo>
                  <a:pt x="0" y="583706"/>
                </a:lnTo>
                <a:lnTo>
                  <a:pt x="519" y="583875"/>
                </a:lnTo>
                <a:cubicBezTo>
                  <a:pt x="361109" y="687095"/>
                  <a:pt x="757558" y="744174"/>
                  <a:pt x="1173704" y="744174"/>
                </a:cubicBezTo>
                <a:close/>
              </a:path>
            </a:pathLst>
          </a:custGeom>
          <a:solidFill>
            <a:srgbClr val="86BD7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rtlCol="0" anchor="ctr"/>
          <a:lstStyle/>
          <a:p>
            <a:pPr algn="ctr"/>
            <a:endParaRPr lang="zh-CN" altLang="en-US" sz="3200">
              <a:cs typeface="+mn-ea"/>
              <a:sym typeface="+mn-lt"/>
            </a:endParaRPr>
          </a:p>
        </p:txBody>
      </p:sp>
      <p:sp>
        <p:nvSpPr>
          <p:cNvPr id="40" name="carrie"/>
          <p:cNvSpPr/>
          <p:nvPr>
            <p:custDataLst>
              <p:tags r:id="rId4"/>
            </p:custDataLst>
          </p:nvPr>
        </p:nvSpPr>
        <p:spPr>
          <a:xfrm flipV="1">
            <a:off x="5219903" y="4813284"/>
            <a:ext cx="1753465" cy="1417085"/>
          </a:xfrm>
          <a:custGeom>
            <a:avLst/>
            <a:gdLst>
              <a:gd name="connsiteX0" fmla="*/ 758246 w 1516499"/>
              <a:gd name="connsiteY0" fmla="*/ 1225201 h 1225201"/>
              <a:gd name="connsiteX1" fmla="*/ 1365673 w 1516499"/>
              <a:gd name="connsiteY1" fmla="*/ 1183759 h 1225201"/>
              <a:gd name="connsiteX2" fmla="*/ 1516499 w 1516499"/>
              <a:gd name="connsiteY2" fmla="*/ 1157513 h 1225201"/>
              <a:gd name="connsiteX3" fmla="*/ 758249 w 1516499"/>
              <a:gd name="connsiteY3" fmla="*/ 0 h 1225201"/>
              <a:gd name="connsiteX4" fmla="*/ 0 w 1516499"/>
              <a:gd name="connsiteY4" fmla="*/ 1157514 h 1225201"/>
              <a:gd name="connsiteX5" fmla="*/ 150820 w 1516499"/>
              <a:gd name="connsiteY5" fmla="*/ 1183759 h 1225201"/>
              <a:gd name="connsiteX6" fmla="*/ 758246 w 1516499"/>
              <a:gd name="connsiteY6" fmla="*/ 1225201 h 122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6499" h="1225201">
                <a:moveTo>
                  <a:pt x="758246" y="1225201"/>
                </a:moveTo>
                <a:cubicBezTo>
                  <a:pt x="966320" y="1225201"/>
                  <a:pt x="1169468" y="1210932"/>
                  <a:pt x="1365673" y="1183759"/>
                </a:cubicBezTo>
                <a:lnTo>
                  <a:pt x="1516499" y="1157513"/>
                </a:lnTo>
                <a:lnTo>
                  <a:pt x="758249" y="0"/>
                </a:lnTo>
                <a:lnTo>
                  <a:pt x="0" y="1157514"/>
                </a:lnTo>
                <a:lnTo>
                  <a:pt x="150820" y="1183759"/>
                </a:lnTo>
                <a:cubicBezTo>
                  <a:pt x="347024" y="1210932"/>
                  <a:pt x="550173" y="1225201"/>
                  <a:pt x="758246" y="1225201"/>
                </a:cubicBezTo>
                <a:close/>
              </a:path>
            </a:pathLst>
          </a:custGeom>
          <a:solidFill>
            <a:srgbClr val="86BD7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6" tIns="45698" rIns="91396" bIns="45698" rtlCol="0" anchor="ctr"/>
          <a:lstStyle/>
          <a:p>
            <a:pPr algn="ctr"/>
            <a:endParaRPr lang="zh-CN" altLang="en-US" sz="3200">
              <a:cs typeface="+mn-ea"/>
              <a:sym typeface="+mn-lt"/>
            </a:endParaRPr>
          </a:p>
        </p:txBody>
      </p:sp>
      <p:grpSp>
        <p:nvGrpSpPr>
          <p:cNvPr id="2" name="carrie"/>
          <p:cNvGrpSpPr>
            <a:grpSpLocks noChangeAspect="1"/>
          </p:cNvGrpSpPr>
          <p:nvPr>
            <p:custDataLst>
              <p:tags r:id="rId5"/>
            </p:custDataLst>
          </p:nvPr>
        </p:nvGrpSpPr>
        <p:grpSpPr>
          <a:xfrm>
            <a:off x="5873466" y="2331340"/>
            <a:ext cx="374627" cy="370878"/>
            <a:chOff x="6967126" y="4092464"/>
            <a:chExt cx="453105" cy="448433"/>
          </a:xfrm>
          <a:solidFill>
            <a:schemeClr val="bg1"/>
          </a:solidFill>
          <a:effectLst/>
        </p:grpSpPr>
        <p:sp>
          <p:nvSpPr>
            <p:cNvPr id="42" name="carrie"/>
            <p:cNvSpPr/>
            <p:nvPr/>
          </p:nvSpPr>
          <p:spPr bwMode="auto">
            <a:xfrm>
              <a:off x="6967126" y="4343773"/>
              <a:ext cx="453105" cy="197124"/>
            </a:xfrm>
            <a:custGeom>
              <a:avLst/>
              <a:gdLst>
                <a:gd name="T0" fmla="*/ 103 w 205"/>
                <a:gd name="T1" fmla="*/ 19 h 89"/>
                <a:gd name="T2" fmla="*/ 47 w 205"/>
                <a:gd name="T3" fmla="*/ 0 h 89"/>
                <a:gd name="T4" fmla="*/ 0 w 205"/>
                <a:gd name="T5" fmla="*/ 0 h 89"/>
                <a:gd name="T6" fmla="*/ 0 w 205"/>
                <a:gd name="T7" fmla="*/ 67 h 89"/>
                <a:gd name="T8" fmla="*/ 22 w 205"/>
                <a:gd name="T9" fmla="*/ 89 h 89"/>
                <a:gd name="T10" fmla="*/ 183 w 205"/>
                <a:gd name="T11" fmla="*/ 89 h 89"/>
                <a:gd name="T12" fmla="*/ 205 w 205"/>
                <a:gd name="T13" fmla="*/ 67 h 89"/>
                <a:gd name="T14" fmla="*/ 205 w 205"/>
                <a:gd name="T15" fmla="*/ 0 h 89"/>
                <a:gd name="T16" fmla="*/ 158 w 205"/>
                <a:gd name="T17" fmla="*/ 0 h 89"/>
                <a:gd name="T18" fmla="*/ 103 w 205"/>
                <a:gd name="T19" fmla="*/ 1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89">
                  <a:moveTo>
                    <a:pt x="103" y="19"/>
                  </a:moveTo>
                  <a:cubicBezTo>
                    <a:pt x="82" y="19"/>
                    <a:pt x="62" y="12"/>
                    <a:pt x="47" y="0"/>
                  </a:cubicBezTo>
                  <a:cubicBezTo>
                    <a:pt x="0" y="0"/>
                    <a:pt x="0" y="0"/>
                    <a:pt x="0" y="0"/>
                  </a:cubicBezTo>
                  <a:cubicBezTo>
                    <a:pt x="0" y="67"/>
                    <a:pt x="0" y="67"/>
                    <a:pt x="0" y="67"/>
                  </a:cubicBezTo>
                  <a:cubicBezTo>
                    <a:pt x="0" y="79"/>
                    <a:pt x="10" y="89"/>
                    <a:pt x="22" y="89"/>
                  </a:cubicBezTo>
                  <a:cubicBezTo>
                    <a:pt x="183" y="89"/>
                    <a:pt x="183" y="89"/>
                    <a:pt x="183" y="89"/>
                  </a:cubicBezTo>
                  <a:cubicBezTo>
                    <a:pt x="195" y="89"/>
                    <a:pt x="205" y="79"/>
                    <a:pt x="205" y="67"/>
                  </a:cubicBezTo>
                  <a:cubicBezTo>
                    <a:pt x="205" y="0"/>
                    <a:pt x="205" y="0"/>
                    <a:pt x="205" y="0"/>
                  </a:cubicBezTo>
                  <a:cubicBezTo>
                    <a:pt x="158" y="0"/>
                    <a:pt x="158" y="0"/>
                    <a:pt x="158" y="0"/>
                  </a:cubicBezTo>
                  <a:cubicBezTo>
                    <a:pt x="143" y="12"/>
                    <a:pt x="124" y="19"/>
                    <a:pt x="103"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43" name="carrie"/>
            <p:cNvSpPr>
              <a:spLocks noEditPoints="1"/>
            </p:cNvSpPr>
            <p:nvPr/>
          </p:nvSpPr>
          <p:spPr bwMode="auto">
            <a:xfrm>
              <a:off x="6967126" y="4092464"/>
              <a:ext cx="453105" cy="260652"/>
            </a:xfrm>
            <a:custGeom>
              <a:avLst/>
              <a:gdLst>
                <a:gd name="T0" fmla="*/ 183 w 205"/>
                <a:gd name="T1" fmla="*/ 42 h 118"/>
                <a:gd name="T2" fmla="*/ 180 w 205"/>
                <a:gd name="T3" fmla="*/ 42 h 118"/>
                <a:gd name="T4" fmla="*/ 154 w 205"/>
                <a:gd name="T5" fmla="*/ 42 h 118"/>
                <a:gd name="T6" fmla="*/ 154 w 205"/>
                <a:gd name="T7" fmla="*/ 22 h 118"/>
                <a:gd name="T8" fmla="*/ 132 w 205"/>
                <a:gd name="T9" fmla="*/ 0 h 118"/>
                <a:gd name="T10" fmla="*/ 73 w 205"/>
                <a:gd name="T11" fmla="*/ 0 h 118"/>
                <a:gd name="T12" fmla="*/ 51 w 205"/>
                <a:gd name="T13" fmla="*/ 22 h 118"/>
                <a:gd name="T14" fmla="*/ 51 w 205"/>
                <a:gd name="T15" fmla="*/ 42 h 118"/>
                <a:gd name="T16" fmla="*/ 25 w 205"/>
                <a:gd name="T17" fmla="*/ 42 h 118"/>
                <a:gd name="T18" fmla="*/ 22 w 205"/>
                <a:gd name="T19" fmla="*/ 42 h 118"/>
                <a:gd name="T20" fmla="*/ 0 w 205"/>
                <a:gd name="T21" fmla="*/ 64 h 118"/>
                <a:gd name="T22" fmla="*/ 0 w 205"/>
                <a:gd name="T23" fmla="*/ 101 h 118"/>
                <a:gd name="T24" fmla="*/ 54 w 205"/>
                <a:gd name="T25" fmla="*/ 101 h 118"/>
                <a:gd name="T26" fmla="*/ 103 w 205"/>
                <a:gd name="T27" fmla="*/ 118 h 118"/>
                <a:gd name="T28" fmla="*/ 151 w 205"/>
                <a:gd name="T29" fmla="*/ 101 h 118"/>
                <a:gd name="T30" fmla="*/ 205 w 205"/>
                <a:gd name="T31" fmla="*/ 101 h 118"/>
                <a:gd name="T32" fmla="*/ 205 w 205"/>
                <a:gd name="T33" fmla="*/ 64 h 118"/>
                <a:gd name="T34" fmla="*/ 183 w 205"/>
                <a:gd name="T35" fmla="*/ 42 h 118"/>
                <a:gd name="T36" fmla="*/ 67 w 205"/>
                <a:gd name="T37" fmla="*/ 26 h 118"/>
                <a:gd name="T38" fmla="*/ 67 w 205"/>
                <a:gd name="T39" fmla="*/ 22 h 118"/>
                <a:gd name="T40" fmla="*/ 73 w 205"/>
                <a:gd name="T41" fmla="*/ 17 h 118"/>
                <a:gd name="T42" fmla="*/ 132 w 205"/>
                <a:gd name="T43" fmla="*/ 17 h 118"/>
                <a:gd name="T44" fmla="*/ 138 w 205"/>
                <a:gd name="T45" fmla="*/ 22 h 118"/>
                <a:gd name="T46" fmla="*/ 138 w 205"/>
                <a:gd name="T47" fmla="*/ 26 h 118"/>
                <a:gd name="T48" fmla="*/ 138 w 205"/>
                <a:gd name="T49" fmla="*/ 42 h 118"/>
                <a:gd name="T50" fmla="*/ 67 w 205"/>
                <a:gd name="T51" fmla="*/ 42 h 118"/>
                <a:gd name="T52" fmla="*/ 67 w 205"/>
                <a:gd name="T53" fmla="*/ 26 h 118"/>
                <a:gd name="T54" fmla="*/ 101 w 205"/>
                <a:gd name="T55" fmla="*/ 101 h 118"/>
                <a:gd name="T56" fmla="*/ 85 w 205"/>
                <a:gd name="T57" fmla="*/ 86 h 118"/>
                <a:gd name="T58" fmla="*/ 101 w 205"/>
                <a:gd name="T59" fmla="*/ 70 h 118"/>
                <a:gd name="T60" fmla="*/ 117 w 205"/>
                <a:gd name="T61" fmla="*/ 86 h 118"/>
                <a:gd name="T62" fmla="*/ 101 w 205"/>
                <a:gd name="T63" fmla="*/ 10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5" h="118">
                  <a:moveTo>
                    <a:pt x="183" y="42"/>
                  </a:moveTo>
                  <a:cubicBezTo>
                    <a:pt x="180" y="42"/>
                    <a:pt x="180" y="42"/>
                    <a:pt x="180" y="42"/>
                  </a:cubicBezTo>
                  <a:cubicBezTo>
                    <a:pt x="154" y="42"/>
                    <a:pt x="154" y="42"/>
                    <a:pt x="154" y="42"/>
                  </a:cubicBezTo>
                  <a:cubicBezTo>
                    <a:pt x="154" y="22"/>
                    <a:pt x="154" y="22"/>
                    <a:pt x="154" y="22"/>
                  </a:cubicBezTo>
                  <a:cubicBezTo>
                    <a:pt x="154" y="10"/>
                    <a:pt x="144" y="0"/>
                    <a:pt x="132" y="0"/>
                  </a:cubicBezTo>
                  <a:cubicBezTo>
                    <a:pt x="73" y="0"/>
                    <a:pt x="73" y="0"/>
                    <a:pt x="73" y="0"/>
                  </a:cubicBezTo>
                  <a:cubicBezTo>
                    <a:pt x="61" y="0"/>
                    <a:pt x="51" y="10"/>
                    <a:pt x="51" y="22"/>
                  </a:cubicBezTo>
                  <a:cubicBezTo>
                    <a:pt x="51" y="42"/>
                    <a:pt x="51" y="42"/>
                    <a:pt x="51" y="42"/>
                  </a:cubicBezTo>
                  <a:cubicBezTo>
                    <a:pt x="25" y="42"/>
                    <a:pt x="25" y="42"/>
                    <a:pt x="25" y="42"/>
                  </a:cubicBezTo>
                  <a:cubicBezTo>
                    <a:pt x="22" y="42"/>
                    <a:pt x="22" y="42"/>
                    <a:pt x="22" y="42"/>
                  </a:cubicBezTo>
                  <a:cubicBezTo>
                    <a:pt x="10" y="42"/>
                    <a:pt x="0" y="52"/>
                    <a:pt x="0" y="64"/>
                  </a:cubicBezTo>
                  <a:cubicBezTo>
                    <a:pt x="0" y="101"/>
                    <a:pt x="0" y="101"/>
                    <a:pt x="0" y="101"/>
                  </a:cubicBezTo>
                  <a:cubicBezTo>
                    <a:pt x="54" y="101"/>
                    <a:pt x="54" y="101"/>
                    <a:pt x="54" y="101"/>
                  </a:cubicBezTo>
                  <a:cubicBezTo>
                    <a:pt x="67" y="112"/>
                    <a:pt x="84" y="118"/>
                    <a:pt x="103" y="118"/>
                  </a:cubicBezTo>
                  <a:cubicBezTo>
                    <a:pt x="121" y="118"/>
                    <a:pt x="138" y="112"/>
                    <a:pt x="151" y="101"/>
                  </a:cubicBezTo>
                  <a:cubicBezTo>
                    <a:pt x="205" y="101"/>
                    <a:pt x="205" y="101"/>
                    <a:pt x="205" y="101"/>
                  </a:cubicBezTo>
                  <a:cubicBezTo>
                    <a:pt x="205" y="64"/>
                    <a:pt x="205" y="64"/>
                    <a:pt x="205" y="64"/>
                  </a:cubicBezTo>
                  <a:cubicBezTo>
                    <a:pt x="205" y="52"/>
                    <a:pt x="195" y="42"/>
                    <a:pt x="183" y="42"/>
                  </a:cubicBezTo>
                  <a:close/>
                  <a:moveTo>
                    <a:pt x="67" y="26"/>
                  </a:moveTo>
                  <a:cubicBezTo>
                    <a:pt x="67" y="22"/>
                    <a:pt x="67" y="22"/>
                    <a:pt x="67" y="22"/>
                  </a:cubicBezTo>
                  <a:cubicBezTo>
                    <a:pt x="67" y="19"/>
                    <a:pt x="70" y="17"/>
                    <a:pt x="73" y="17"/>
                  </a:cubicBezTo>
                  <a:cubicBezTo>
                    <a:pt x="132" y="17"/>
                    <a:pt x="132" y="17"/>
                    <a:pt x="132" y="17"/>
                  </a:cubicBezTo>
                  <a:cubicBezTo>
                    <a:pt x="135" y="17"/>
                    <a:pt x="138" y="19"/>
                    <a:pt x="138" y="22"/>
                  </a:cubicBezTo>
                  <a:cubicBezTo>
                    <a:pt x="138" y="26"/>
                    <a:pt x="138" y="26"/>
                    <a:pt x="138" y="26"/>
                  </a:cubicBezTo>
                  <a:cubicBezTo>
                    <a:pt x="138" y="42"/>
                    <a:pt x="138" y="42"/>
                    <a:pt x="138" y="42"/>
                  </a:cubicBezTo>
                  <a:cubicBezTo>
                    <a:pt x="67" y="42"/>
                    <a:pt x="67" y="42"/>
                    <a:pt x="67" y="42"/>
                  </a:cubicBezTo>
                  <a:lnTo>
                    <a:pt x="67" y="26"/>
                  </a:lnTo>
                  <a:close/>
                  <a:moveTo>
                    <a:pt x="101" y="101"/>
                  </a:moveTo>
                  <a:cubicBezTo>
                    <a:pt x="92" y="101"/>
                    <a:pt x="85" y="94"/>
                    <a:pt x="85" y="86"/>
                  </a:cubicBezTo>
                  <a:cubicBezTo>
                    <a:pt x="85" y="77"/>
                    <a:pt x="92" y="70"/>
                    <a:pt x="101" y="70"/>
                  </a:cubicBezTo>
                  <a:cubicBezTo>
                    <a:pt x="110" y="70"/>
                    <a:pt x="117" y="77"/>
                    <a:pt x="117" y="86"/>
                  </a:cubicBezTo>
                  <a:cubicBezTo>
                    <a:pt x="117" y="94"/>
                    <a:pt x="110" y="101"/>
                    <a:pt x="101"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grpSp>
      <p:grpSp>
        <p:nvGrpSpPr>
          <p:cNvPr id="3" name="carrie"/>
          <p:cNvGrpSpPr>
            <a:grpSpLocks noChangeAspect="1"/>
          </p:cNvGrpSpPr>
          <p:nvPr>
            <p:custDataLst>
              <p:tags r:id="rId6"/>
            </p:custDataLst>
          </p:nvPr>
        </p:nvGrpSpPr>
        <p:grpSpPr>
          <a:xfrm>
            <a:off x="5865639" y="3272942"/>
            <a:ext cx="527657" cy="401044"/>
            <a:chOff x="4268086" y="4221191"/>
            <a:chExt cx="509646" cy="387231"/>
          </a:xfrm>
          <a:solidFill>
            <a:schemeClr val="bg1"/>
          </a:solidFill>
          <a:effectLst/>
        </p:grpSpPr>
        <p:sp>
          <p:nvSpPr>
            <p:cNvPr id="45" name="carrie"/>
            <p:cNvSpPr>
              <a:spLocks noEditPoints="1"/>
            </p:cNvSpPr>
            <p:nvPr/>
          </p:nvSpPr>
          <p:spPr bwMode="auto">
            <a:xfrm>
              <a:off x="4268086" y="4273030"/>
              <a:ext cx="337890" cy="335392"/>
            </a:xfrm>
            <a:custGeom>
              <a:avLst/>
              <a:gdLst>
                <a:gd name="T0" fmla="*/ 229 w 229"/>
                <a:gd name="T1" fmla="*/ 128 h 227"/>
                <a:gd name="T2" fmla="*/ 229 w 229"/>
                <a:gd name="T3" fmla="*/ 98 h 227"/>
                <a:gd name="T4" fmla="*/ 206 w 229"/>
                <a:gd name="T5" fmla="*/ 93 h 227"/>
                <a:gd name="T6" fmla="*/ 200 w 229"/>
                <a:gd name="T7" fmla="*/ 76 h 227"/>
                <a:gd name="T8" fmla="*/ 216 w 229"/>
                <a:gd name="T9" fmla="*/ 58 h 227"/>
                <a:gd name="T10" fmla="*/ 198 w 229"/>
                <a:gd name="T11" fmla="*/ 34 h 227"/>
                <a:gd name="T12" fmla="*/ 176 w 229"/>
                <a:gd name="T13" fmla="*/ 44 h 227"/>
                <a:gd name="T14" fmla="*/ 161 w 229"/>
                <a:gd name="T15" fmla="*/ 33 h 227"/>
                <a:gd name="T16" fmla="*/ 164 w 229"/>
                <a:gd name="T17" fmla="*/ 9 h 227"/>
                <a:gd name="T18" fmla="*/ 135 w 229"/>
                <a:gd name="T19" fmla="*/ 0 h 227"/>
                <a:gd name="T20" fmla="*/ 123 w 229"/>
                <a:gd name="T21" fmla="*/ 20 h 227"/>
                <a:gd name="T22" fmla="*/ 114 w 229"/>
                <a:gd name="T23" fmla="*/ 20 h 227"/>
                <a:gd name="T24" fmla="*/ 105 w 229"/>
                <a:gd name="T25" fmla="*/ 20 h 227"/>
                <a:gd name="T26" fmla="*/ 93 w 229"/>
                <a:gd name="T27" fmla="*/ 0 h 227"/>
                <a:gd name="T28" fmla="*/ 65 w 229"/>
                <a:gd name="T29" fmla="*/ 9 h 227"/>
                <a:gd name="T30" fmla="*/ 67 w 229"/>
                <a:gd name="T31" fmla="*/ 33 h 227"/>
                <a:gd name="T32" fmla="*/ 52 w 229"/>
                <a:gd name="T33" fmla="*/ 44 h 227"/>
                <a:gd name="T34" fmla="*/ 30 w 229"/>
                <a:gd name="T35" fmla="*/ 34 h 227"/>
                <a:gd name="T36" fmla="*/ 13 w 229"/>
                <a:gd name="T37" fmla="*/ 58 h 227"/>
                <a:gd name="T38" fmla="*/ 29 w 229"/>
                <a:gd name="T39" fmla="*/ 76 h 227"/>
                <a:gd name="T40" fmla="*/ 23 w 229"/>
                <a:gd name="T41" fmla="*/ 94 h 227"/>
                <a:gd name="T42" fmla="*/ 0 w 229"/>
                <a:gd name="T43" fmla="*/ 98 h 227"/>
                <a:gd name="T44" fmla="*/ 0 w 229"/>
                <a:gd name="T45" fmla="*/ 128 h 227"/>
                <a:gd name="T46" fmla="*/ 23 w 229"/>
                <a:gd name="T47" fmla="*/ 133 h 227"/>
                <a:gd name="T48" fmla="*/ 29 w 229"/>
                <a:gd name="T49" fmla="*/ 151 h 227"/>
                <a:gd name="T50" fmla="*/ 13 w 229"/>
                <a:gd name="T51" fmla="*/ 169 h 227"/>
                <a:gd name="T52" fmla="*/ 31 w 229"/>
                <a:gd name="T53" fmla="*/ 193 h 227"/>
                <a:gd name="T54" fmla="*/ 52 w 229"/>
                <a:gd name="T55" fmla="*/ 183 h 227"/>
                <a:gd name="T56" fmla="*/ 67 w 229"/>
                <a:gd name="T57" fmla="*/ 194 h 227"/>
                <a:gd name="T58" fmla="*/ 65 w 229"/>
                <a:gd name="T59" fmla="*/ 218 h 227"/>
                <a:gd name="T60" fmla="*/ 93 w 229"/>
                <a:gd name="T61" fmla="*/ 227 h 227"/>
                <a:gd name="T62" fmla="*/ 105 w 229"/>
                <a:gd name="T63" fmla="*/ 206 h 227"/>
                <a:gd name="T64" fmla="*/ 114 w 229"/>
                <a:gd name="T65" fmla="*/ 207 h 227"/>
                <a:gd name="T66" fmla="*/ 124 w 229"/>
                <a:gd name="T67" fmla="*/ 206 h 227"/>
                <a:gd name="T68" fmla="*/ 135 w 229"/>
                <a:gd name="T69" fmla="*/ 227 h 227"/>
                <a:gd name="T70" fmla="*/ 164 w 229"/>
                <a:gd name="T71" fmla="*/ 217 h 227"/>
                <a:gd name="T72" fmla="*/ 161 w 229"/>
                <a:gd name="T73" fmla="*/ 194 h 227"/>
                <a:gd name="T74" fmla="*/ 176 w 229"/>
                <a:gd name="T75" fmla="*/ 183 h 227"/>
                <a:gd name="T76" fmla="*/ 198 w 229"/>
                <a:gd name="T77" fmla="*/ 193 h 227"/>
                <a:gd name="T78" fmla="*/ 216 w 229"/>
                <a:gd name="T79" fmla="*/ 168 h 227"/>
                <a:gd name="T80" fmla="*/ 200 w 229"/>
                <a:gd name="T81" fmla="*/ 151 h 227"/>
                <a:gd name="T82" fmla="*/ 206 w 229"/>
                <a:gd name="T83" fmla="*/ 133 h 227"/>
                <a:gd name="T84" fmla="*/ 229 w 229"/>
                <a:gd name="T85" fmla="*/ 128 h 227"/>
                <a:gd name="T86" fmla="*/ 114 w 229"/>
                <a:gd name="T87" fmla="*/ 180 h 227"/>
                <a:gd name="T88" fmla="*/ 47 w 229"/>
                <a:gd name="T89" fmla="*/ 113 h 227"/>
                <a:gd name="T90" fmla="*/ 114 w 229"/>
                <a:gd name="T91" fmla="*/ 46 h 227"/>
                <a:gd name="T92" fmla="*/ 181 w 229"/>
                <a:gd name="T93" fmla="*/ 113 h 227"/>
                <a:gd name="T94" fmla="*/ 114 w 229"/>
                <a:gd name="T95" fmla="*/ 18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 h="227">
                  <a:moveTo>
                    <a:pt x="229" y="128"/>
                  </a:moveTo>
                  <a:cubicBezTo>
                    <a:pt x="229" y="98"/>
                    <a:pt x="229" y="98"/>
                    <a:pt x="229" y="98"/>
                  </a:cubicBezTo>
                  <a:cubicBezTo>
                    <a:pt x="206" y="93"/>
                    <a:pt x="206" y="93"/>
                    <a:pt x="206" y="93"/>
                  </a:cubicBezTo>
                  <a:cubicBezTo>
                    <a:pt x="204" y="87"/>
                    <a:pt x="202" y="81"/>
                    <a:pt x="200" y="76"/>
                  </a:cubicBezTo>
                  <a:cubicBezTo>
                    <a:pt x="216" y="58"/>
                    <a:pt x="216" y="58"/>
                    <a:pt x="216" y="58"/>
                  </a:cubicBezTo>
                  <a:cubicBezTo>
                    <a:pt x="198" y="34"/>
                    <a:pt x="198" y="34"/>
                    <a:pt x="198" y="34"/>
                  </a:cubicBezTo>
                  <a:cubicBezTo>
                    <a:pt x="176" y="44"/>
                    <a:pt x="176" y="44"/>
                    <a:pt x="176" y="44"/>
                  </a:cubicBezTo>
                  <a:cubicBezTo>
                    <a:pt x="172" y="39"/>
                    <a:pt x="167" y="36"/>
                    <a:pt x="161" y="33"/>
                  </a:cubicBezTo>
                  <a:cubicBezTo>
                    <a:pt x="164" y="9"/>
                    <a:pt x="164" y="9"/>
                    <a:pt x="164" y="9"/>
                  </a:cubicBezTo>
                  <a:cubicBezTo>
                    <a:pt x="135" y="0"/>
                    <a:pt x="135" y="0"/>
                    <a:pt x="135" y="0"/>
                  </a:cubicBezTo>
                  <a:cubicBezTo>
                    <a:pt x="123" y="20"/>
                    <a:pt x="123" y="20"/>
                    <a:pt x="123" y="20"/>
                  </a:cubicBezTo>
                  <a:cubicBezTo>
                    <a:pt x="120" y="20"/>
                    <a:pt x="117" y="20"/>
                    <a:pt x="114" y="20"/>
                  </a:cubicBezTo>
                  <a:cubicBezTo>
                    <a:pt x="111" y="20"/>
                    <a:pt x="108" y="20"/>
                    <a:pt x="105" y="20"/>
                  </a:cubicBezTo>
                  <a:cubicBezTo>
                    <a:pt x="93" y="0"/>
                    <a:pt x="93" y="0"/>
                    <a:pt x="93" y="0"/>
                  </a:cubicBezTo>
                  <a:cubicBezTo>
                    <a:pt x="65" y="9"/>
                    <a:pt x="65" y="9"/>
                    <a:pt x="65" y="9"/>
                  </a:cubicBezTo>
                  <a:cubicBezTo>
                    <a:pt x="67" y="33"/>
                    <a:pt x="67" y="33"/>
                    <a:pt x="67" y="33"/>
                  </a:cubicBezTo>
                  <a:cubicBezTo>
                    <a:pt x="62" y="36"/>
                    <a:pt x="57" y="39"/>
                    <a:pt x="52" y="44"/>
                  </a:cubicBezTo>
                  <a:cubicBezTo>
                    <a:pt x="30" y="34"/>
                    <a:pt x="30" y="34"/>
                    <a:pt x="30" y="34"/>
                  </a:cubicBezTo>
                  <a:cubicBezTo>
                    <a:pt x="13" y="58"/>
                    <a:pt x="13" y="58"/>
                    <a:pt x="13" y="58"/>
                  </a:cubicBezTo>
                  <a:cubicBezTo>
                    <a:pt x="29" y="76"/>
                    <a:pt x="29" y="76"/>
                    <a:pt x="29" y="76"/>
                  </a:cubicBezTo>
                  <a:cubicBezTo>
                    <a:pt x="26" y="81"/>
                    <a:pt x="24" y="87"/>
                    <a:pt x="23" y="94"/>
                  </a:cubicBezTo>
                  <a:cubicBezTo>
                    <a:pt x="0" y="98"/>
                    <a:pt x="0" y="98"/>
                    <a:pt x="0" y="98"/>
                  </a:cubicBezTo>
                  <a:cubicBezTo>
                    <a:pt x="0" y="128"/>
                    <a:pt x="0" y="128"/>
                    <a:pt x="0" y="128"/>
                  </a:cubicBezTo>
                  <a:cubicBezTo>
                    <a:pt x="23" y="133"/>
                    <a:pt x="23" y="133"/>
                    <a:pt x="23" y="133"/>
                  </a:cubicBezTo>
                  <a:cubicBezTo>
                    <a:pt x="24" y="139"/>
                    <a:pt x="26" y="145"/>
                    <a:pt x="29" y="151"/>
                  </a:cubicBezTo>
                  <a:cubicBezTo>
                    <a:pt x="13" y="169"/>
                    <a:pt x="13" y="169"/>
                    <a:pt x="13" y="169"/>
                  </a:cubicBezTo>
                  <a:cubicBezTo>
                    <a:pt x="31" y="193"/>
                    <a:pt x="31" y="193"/>
                    <a:pt x="31" y="193"/>
                  </a:cubicBezTo>
                  <a:cubicBezTo>
                    <a:pt x="52" y="183"/>
                    <a:pt x="52" y="183"/>
                    <a:pt x="52" y="183"/>
                  </a:cubicBezTo>
                  <a:cubicBezTo>
                    <a:pt x="57" y="187"/>
                    <a:pt x="62" y="191"/>
                    <a:pt x="67" y="194"/>
                  </a:cubicBezTo>
                  <a:cubicBezTo>
                    <a:pt x="65" y="218"/>
                    <a:pt x="65" y="218"/>
                    <a:pt x="65" y="218"/>
                  </a:cubicBezTo>
                  <a:cubicBezTo>
                    <a:pt x="93" y="227"/>
                    <a:pt x="93" y="227"/>
                    <a:pt x="93" y="227"/>
                  </a:cubicBezTo>
                  <a:cubicBezTo>
                    <a:pt x="105" y="206"/>
                    <a:pt x="105" y="206"/>
                    <a:pt x="105" y="206"/>
                  </a:cubicBezTo>
                  <a:cubicBezTo>
                    <a:pt x="108" y="207"/>
                    <a:pt x="111" y="207"/>
                    <a:pt x="114" y="207"/>
                  </a:cubicBezTo>
                  <a:cubicBezTo>
                    <a:pt x="117" y="207"/>
                    <a:pt x="121" y="207"/>
                    <a:pt x="124" y="206"/>
                  </a:cubicBezTo>
                  <a:cubicBezTo>
                    <a:pt x="135" y="227"/>
                    <a:pt x="135" y="227"/>
                    <a:pt x="135" y="227"/>
                  </a:cubicBezTo>
                  <a:cubicBezTo>
                    <a:pt x="164" y="217"/>
                    <a:pt x="164" y="217"/>
                    <a:pt x="164" y="217"/>
                  </a:cubicBezTo>
                  <a:cubicBezTo>
                    <a:pt x="161" y="194"/>
                    <a:pt x="161" y="194"/>
                    <a:pt x="161" y="194"/>
                  </a:cubicBezTo>
                  <a:cubicBezTo>
                    <a:pt x="167" y="191"/>
                    <a:pt x="172" y="187"/>
                    <a:pt x="176" y="183"/>
                  </a:cubicBezTo>
                  <a:cubicBezTo>
                    <a:pt x="198" y="193"/>
                    <a:pt x="198" y="193"/>
                    <a:pt x="198" y="193"/>
                  </a:cubicBezTo>
                  <a:cubicBezTo>
                    <a:pt x="216" y="168"/>
                    <a:pt x="216" y="168"/>
                    <a:pt x="216" y="168"/>
                  </a:cubicBezTo>
                  <a:cubicBezTo>
                    <a:pt x="200" y="151"/>
                    <a:pt x="200" y="151"/>
                    <a:pt x="200" y="151"/>
                  </a:cubicBezTo>
                  <a:cubicBezTo>
                    <a:pt x="202" y="145"/>
                    <a:pt x="204" y="139"/>
                    <a:pt x="206" y="133"/>
                  </a:cubicBezTo>
                  <a:lnTo>
                    <a:pt x="229" y="128"/>
                  </a:lnTo>
                  <a:close/>
                  <a:moveTo>
                    <a:pt x="114" y="180"/>
                  </a:moveTo>
                  <a:cubicBezTo>
                    <a:pt x="77" y="180"/>
                    <a:pt x="47" y="150"/>
                    <a:pt x="47" y="113"/>
                  </a:cubicBezTo>
                  <a:cubicBezTo>
                    <a:pt x="47" y="76"/>
                    <a:pt x="77" y="46"/>
                    <a:pt x="114" y="46"/>
                  </a:cubicBezTo>
                  <a:cubicBezTo>
                    <a:pt x="151" y="46"/>
                    <a:pt x="181" y="76"/>
                    <a:pt x="181" y="113"/>
                  </a:cubicBezTo>
                  <a:cubicBezTo>
                    <a:pt x="181" y="150"/>
                    <a:pt x="151" y="180"/>
                    <a:pt x="114" y="1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2000" dirty="0">
                <a:solidFill>
                  <a:prstClr val="black"/>
                </a:solidFill>
                <a:cs typeface="+mn-ea"/>
                <a:sym typeface="+mn-lt"/>
              </a:endParaRPr>
            </a:p>
          </p:txBody>
        </p:sp>
        <p:sp>
          <p:nvSpPr>
            <p:cNvPr id="46" name="carrie"/>
            <p:cNvSpPr>
              <a:spLocks noEditPoints="1"/>
            </p:cNvSpPr>
            <p:nvPr/>
          </p:nvSpPr>
          <p:spPr bwMode="auto">
            <a:xfrm>
              <a:off x="4577871" y="4221191"/>
              <a:ext cx="199861" cy="199861"/>
            </a:xfrm>
            <a:custGeom>
              <a:avLst/>
              <a:gdLst>
                <a:gd name="T0" fmla="*/ 135 w 135"/>
                <a:gd name="T1" fmla="*/ 76 h 135"/>
                <a:gd name="T2" fmla="*/ 135 w 135"/>
                <a:gd name="T3" fmla="*/ 58 h 135"/>
                <a:gd name="T4" fmla="*/ 122 w 135"/>
                <a:gd name="T5" fmla="*/ 55 h 135"/>
                <a:gd name="T6" fmla="*/ 118 w 135"/>
                <a:gd name="T7" fmla="*/ 45 h 135"/>
                <a:gd name="T8" fmla="*/ 128 w 135"/>
                <a:gd name="T9" fmla="*/ 34 h 135"/>
                <a:gd name="T10" fmla="*/ 117 w 135"/>
                <a:gd name="T11" fmla="*/ 20 h 135"/>
                <a:gd name="T12" fmla="*/ 104 w 135"/>
                <a:gd name="T13" fmla="*/ 26 h 135"/>
                <a:gd name="T14" fmla="*/ 96 w 135"/>
                <a:gd name="T15" fmla="*/ 19 h 135"/>
                <a:gd name="T16" fmla="*/ 97 w 135"/>
                <a:gd name="T17" fmla="*/ 5 h 135"/>
                <a:gd name="T18" fmla="*/ 80 w 135"/>
                <a:gd name="T19" fmla="*/ 0 h 135"/>
                <a:gd name="T20" fmla="*/ 73 w 135"/>
                <a:gd name="T21" fmla="*/ 12 h 135"/>
                <a:gd name="T22" fmla="*/ 67 w 135"/>
                <a:gd name="T23" fmla="*/ 12 h 135"/>
                <a:gd name="T24" fmla="*/ 62 w 135"/>
                <a:gd name="T25" fmla="*/ 12 h 135"/>
                <a:gd name="T26" fmla="*/ 55 w 135"/>
                <a:gd name="T27" fmla="*/ 0 h 135"/>
                <a:gd name="T28" fmla="*/ 38 w 135"/>
                <a:gd name="T29" fmla="*/ 5 h 135"/>
                <a:gd name="T30" fmla="*/ 39 w 135"/>
                <a:gd name="T31" fmla="*/ 19 h 135"/>
                <a:gd name="T32" fmla="*/ 30 w 135"/>
                <a:gd name="T33" fmla="*/ 26 h 135"/>
                <a:gd name="T34" fmla="*/ 18 w 135"/>
                <a:gd name="T35" fmla="*/ 20 h 135"/>
                <a:gd name="T36" fmla="*/ 7 w 135"/>
                <a:gd name="T37" fmla="*/ 34 h 135"/>
                <a:gd name="T38" fmla="*/ 17 w 135"/>
                <a:gd name="T39" fmla="*/ 45 h 135"/>
                <a:gd name="T40" fmla="*/ 13 w 135"/>
                <a:gd name="T41" fmla="*/ 55 h 135"/>
                <a:gd name="T42" fmla="*/ 0 w 135"/>
                <a:gd name="T43" fmla="*/ 58 h 135"/>
                <a:gd name="T44" fmla="*/ 0 w 135"/>
                <a:gd name="T45" fmla="*/ 76 h 135"/>
                <a:gd name="T46" fmla="*/ 13 w 135"/>
                <a:gd name="T47" fmla="*/ 79 h 135"/>
                <a:gd name="T48" fmla="*/ 17 w 135"/>
                <a:gd name="T49" fmla="*/ 90 h 135"/>
                <a:gd name="T50" fmla="*/ 7 w 135"/>
                <a:gd name="T51" fmla="*/ 100 h 135"/>
                <a:gd name="T52" fmla="*/ 18 w 135"/>
                <a:gd name="T53" fmla="*/ 114 h 135"/>
                <a:gd name="T54" fmla="*/ 31 w 135"/>
                <a:gd name="T55" fmla="*/ 109 h 135"/>
                <a:gd name="T56" fmla="*/ 39 w 135"/>
                <a:gd name="T57" fmla="*/ 115 h 135"/>
                <a:gd name="T58" fmla="*/ 38 w 135"/>
                <a:gd name="T59" fmla="*/ 129 h 135"/>
                <a:gd name="T60" fmla="*/ 55 w 135"/>
                <a:gd name="T61" fmla="*/ 135 h 135"/>
                <a:gd name="T62" fmla="*/ 62 w 135"/>
                <a:gd name="T63" fmla="*/ 122 h 135"/>
                <a:gd name="T64" fmla="*/ 68 w 135"/>
                <a:gd name="T65" fmla="*/ 123 h 135"/>
                <a:gd name="T66" fmla="*/ 73 w 135"/>
                <a:gd name="T67" fmla="*/ 122 h 135"/>
                <a:gd name="T68" fmla="*/ 80 w 135"/>
                <a:gd name="T69" fmla="*/ 135 h 135"/>
                <a:gd name="T70" fmla="*/ 97 w 135"/>
                <a:gd name="T71" fmla="*/ 129 h 135"/>
                <a:gd name="T72" fmla="*/ 96 w 135"/>
                <a:gd name="T73" fmla="*/ 115 h 135"/>
                <a:gd name="T74" fmla="*/ 104 w 135"/>
                <a:gd name="T75" fmla="*/ 109 h 135"/>
                <a:gd name="T76" fmla="*/ 117 w 135"/>
                <a:gd name="T77" fmla="*/ 114 h 135"/>
                <a:gd name="T78" fmla="*/ 128 w 135"/>
                <a:gd name="T79" fmla="*/ 100 h 135"/>
                <a:gd name="T80" fmla="*/ 118 w 135"/>
                <a:gd name="T81" fmla="*/ 89 h 135"/>
                <a:gd name="T82" fmla="*/ 122 w 135"/>
                <a:gd name="T83" fmla="*/ 79 h 135"/>
                <a:gd name="T84" fmla="*/ 135 w 135"/>
                <a:gd name="T85" fmla="*/ 76 h 135"/>
                <a:gd name="T86" fmla="*/ 67 w 135"/>
                <a:gd name="T87" fmla="*/ 107 h 135"/>
                <a:gd name="T88" fmla="*/ 28 w 135"/>
                <a:gd name="T89" fmla="*/ 67 h 135"/>
                <a:gd name="T90" fmla="*/ 67 w 135"/>
                <a:gd name="T91" fmla="*/ 27 h 135"/>
                <a:gd name="T92" fmla="*/ 107 w 135"/>
                <a:gd name="T93" fmla="*/ 67 h 135"/>
                <a:gd name="T94" fmla="*/ 67 w 135"/>
                <a:gd name="T95" fmla="*/ 10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35">
                  <a:moveTo>
                    <a:pt x="135" y="76"/>
                  </a:moveTo>
                  <a:cubicBezTo>
                    <a:pt x="135" y="58"/>
                    <a:pt x="135" y="58"/>
                    <a:pt x="135" y="58"/>
                  </a:cubicBezTo>
                  <a:cubicBezTo>
                    <a:pt x="122" y="55"/>
                    <a:pt x="122" y="55"/>
                    <a:pt x="122" y="55"/>
                  </a:cubicBezTo>
                  <a:cubicBezTo>
                    <a:pt x="121" y="52"/>
                    <a:pt x="120" y="48"/>
                    <a:pt x="118" y="45"/>
                  </a:cubicBezTo>
                  <a:cubicBezTo>
                    <a:pt x="128" y="34"/>
                    <a:pt x="128" y="34"/>
                    <a:pt x="128" y="34"/>
                  </a:cubicBezTo>
                  <a:cubicBezTo>
                    <a:pt x="117" y="20"/>
                    <a:pt x="117" y="20"/>
                    <a:pt x="117" y="20"/>
                  </a:cubicBezTo>
                  <a:cubicBezTo>
                    <a:pt x="104" y="26"/>
                    <a:pt x="104" y="26"/>
                    <a:pt x="104" y="26"/>
                  </a:cubicBezTo>
                  <a:cubicBezTo>
                    <a:pt x="102" y="23"/>
                    <a:pt x="99" y="21"/>
                    <a:pt x="96" y="19"/>
                  </a:cubicBezTo>
                  <a:cubicBezTo>
                    <a:pt x="97" y="5"/>
                    <a:pt x="97" y="5"/>
                    <a:pt x="97" y="5"/>
                  </a:cubicBezTo>
                  <a:cubicBezTo>
                    <a:pt x="80" y="0"/>
                    <a:pt x="80" y="0"/>
                    <a:pt x="80" y="0"/>
                  </a:cubicBezTo>
                  <a:cubicBezTo>
                    <a:pt x="73" y="12"/>
                    <a:pt x="73" y="12"/>
                    <a:pt x="73" y="12"/>
                  </a:cubicBezTo>
                  <a:cubicBezTo>
                    <a:pt x="71" y="12"/>
                    <a:pt x="69" y="12"/>
                    <a:pt x="67" y="12"/>
                  </a:cubicBezTo>
                  <a:cubicBezTo>
                    <a:pt x="66" y="12"/>
                    <a:pt x="64" y="12"/>
                    <a:pt x="62" y="12"/>
                  </a:cubicBezTo>
                  <a:cubicBezTo>
                    <a:pt x="55" y="0"/>
                    <a:pt x="55" y="0"/>
                    <a:pt x="55" y="0"/>
                  </a:cubicBezTo>
                  <a:cubicBezTo>
                    <a:pt x="38" y="5"/>
                    <a:pt x="38" y="5"/>
                    <a:pt x="38" y="5"/>
                  </a:cubicBezTo>
                  <a:cubicBezTo>
                    <a:pt x="39" y="19"/>
                    <a:pt x="39" y="19"/>
                    <a:pt x="39" y="19"/>
                  </a:cubicBezTo>
                  <a:cubicBezTo>
                    <a:pt x="36" y="21"/>
                    <a:pt x="33" y="23"/>
                    <a:pt x="30" y="26"/>
                  </a:cubicBezTo>
                  <a:cubicBezTo>
                    <a:pt x="18" y="20"/>
                    <a:pt x="18" y="20"/>
                    <a:pt x="18" y="20"/>
                  </a:cubicBezTo>
                  <a:cubicBezTo>
                    <a:pt x="7" y="34"/>
                    <a:pt x="7" y="34"/>
                    <a:pt x="7" y="34"/>
                  </a:cubicBezTo>
                  <a:cubicBezTo>
                    <a:pt x="17" y="45"/>
                    <a:pt x="17" y="45"/>
                    <a:pt x="17" y="45"/>
                  </a:cubicBezTo>
                  <a:cubicBezTo>
                    <a:pt x="15" y="48"/>
                    <a:pt x="14" y="52"/>
                    <a:pt x="13" y="55"/>
                  </a:cubicBezTo>
                  <a:cubicBezTo>
                    <a:pt x="0" y="58"/>
                    <a:pt x="0" y="58"/>
                    <a:pt x="0" y="58"/>
                  </a:cubicBezTo>
                  <a:cubicBezTo>
                    <a:pt x="0" y="76"/>
                    <a:pt x="0" y="76"/>
                    <a:pt x="0" y="76"/>
                  </a:cubicBezTo>
                  <a:cubicBezTo>
                    <a:pt x="13" y="79"/>
                    <a:pt x="13" y="79"/>
                    <a:pt x="13" y="79"/>
                  </a:cubicBezTo>
                  <a:cubicBezTo>
                    <a:pt x="14" y="83"/>
                    <a:pt x="15" y="86"/>
                    <a:pt x="17" y="90"/>
                  </a:cubicBezTo>
                  <a:cubicBezTo>
                    <a:pt x="7" y="100"/>
                    <a:pt x="7" y="100"/>
                    <a:pt x="7" y="100"/>
                  </a:cubicBezTo>
                  <a:cubicBezTo>
                    <a:pt x="18" y="114"/>
                    <a:pt x="18" y="114"/>
                    <a:pt x="18" y="114"/>
                  </a:cubicBezTo>
                  <a:cubicBezTo>
                    <a:pt x="31" y="109"/>
                    <a:pt x="31" y="109"/>
                    <a:pt x="31" y="109"/>
                  </a:cubicBezTo>
                  <a:cubicBezTo>
                    <a:pt x="33" y="111"/>
                    <a:pt x="36" y="113"/>
                    <a:pt x="39" y="115"/>
                  </a:cubicBezTo>
                  <a:cubicBezTo>
                    <a:pt x="38" y="129"/>
                    <a:pt x="38" y="129"/>
                    <a:pt x="38" y="129"/>
                  </a:cubicBezTo>
                  <a:cubicBezTo>
                    <a:pt x="55" y="135"/>
                    <a:pt x="55" y="135"/>
                    <a:pt x="55" y="135"/>
                  </a:cubicBezTo>
                  <a:cubicBezTo>
                    <a:pt x="62" y="122"/>
                    <a:pt x="62" y="122"/>
                    <a:pt x="62" y="122"/>
                  </a:cubicBezTo>
                  <a:cubicBezTo>
                    <a:pt x="64" y="123"/>
                    <a:pt x="66" y="123"/>
                    <a:pt x="68" y="123"/>
                  </a:cubicBezTo>
                  <a:cubicBezTo>
                    <a:pt x="69" y="123"/>
                    <a:pt x="71" y="123"/>
                    <a:pt x="73" y="122"/>
                  </a:cubicBezTo>
                  <a:cubicBezTo>
                    <a:pt x="80" y="135"/>
                    <a:pt x="80" y="135"/>
                    <a:pt x="80" y="135"/>
                  </a:cubicBezTo>
                  <a:cubicBezTo>
                    <a:pt x="97" y="129"/>
                    <a:pt x="97" y="129"/>
                    <a:pt x="97" y="129"/>
                  </a:cubicBezTo>
                  <a:cubicBezTo>
                    <a:pt x="96" y="115"/>
                    <a:pt x="96" y="115"/>
                    <a:pt x="96" y="115"/>
                  </a:cubicBezTo>
                  <a:cubicBezTo>
                    <a:pt x="99" y="113"/>
                    <a:pt x="102" y="111"/>
                    <a:pt x="104" y="109"/>
                  </a:cubicBezTo>
                  <a:cubicBezTo>
                    <a:pt x="117" y="114"/>
                    <a:pt x="117" y="114"/>
                    <a:pt x="117" y="114"/>
                  </a:cubicBezTo>
                  <a:cubicBezTo>
                    <a:pt x="128" y="100"/>
                    <a:pt x="128" y="100"/>
                    <a:pt x="128" y="100"/>
                  </a:cubicBezTo>
                  <a:cubicBezTo>
                    <a:pt x="118" y="89"/>
                    <a:pt x="118" y="89"/>
                    <a:pt x="118" y="89"/>
                  </a:cubicBezTo>
                  <a:cubicBezTo>
                    <a:pt x="120" y="86"/>
                    <a:pt x="121" y="83"/>
                    <a:pt x="122" y="79"/>
                  </a:cubicBezTo>
                  <a:lnTo>
                    <a:pt x="135" y="76"/>
                  </a:lnTo>
                  <a:close/>
                  <a:moveTo>
                    <a:pt x="67" y="107"/>
                  </a:moveTo>
                  <a:cubicBezTo>
                    <a:pt x="46" y="107"/>
                    <a:pt x="28" y="89"/>
                    <a:pt x="28" y="67"/>
                  </a:cubicBezTo>
                  <a:cubicBezTo>
                    <a:pt x="28" y="45"/>
                    <a:pt x="46" y="27"/>
                    <a:pt x="67" y="27"/>
                  </a:cubicBezTo>
                  <a:cubicBezTo>
                    <a:pt x="89" y="27"/>
                    <a:pt x="107" y="45"/>
                    <a:pt x="107" y="67"/>
                  </a:cubicBezTo>
                  <a:cubicBezTo>
                    <a:pt x="107" y="89"/>
                    <a:pt x="89" y="107"/>
                    <a:pt x="67" y="10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2000" dirty="0">
                <a:solidFill>
                  <a:prstClr val="black"/>
                </a:solidFill>
                <a:cs typeface="+mn-ea"/>
                <a:sym typeface="+mn-lt"/>
              </a:endParaRPr>
            </a:p>
          </p:txBody>
        </p:sp>
      </p:grpSp>
      <p:grpSp>
        <p:nvGrpSpPr>
          <p:cNvPr id="5" name="carrie"/>
          <p:cNvGrpSpPr>
            <a:grpSpLocks noChangeAspect="1"/>
          </p:cNvGrpSpPr>
          <p:nvPr>
            <p:custDataLst>
              <p:tags r:id="rId7"/>
            </p:custDataLst>
          </p:nvPr>
        </p:nvGrpSpPr>
        <p:grpSpPr>
          <a:xfrm>
            <a:off x="5908949" y="4129544"/>
            <a:ext cx="357922" cy="400399"/>
            <a:chOff x="5999255" y="3275006"/>
            <a:chExt cx="402656" cy="450303"/>
          </a:xfrm>
          <a:solidFill>
            <a:schemeClr val="bg1"/>
          </a:solidFill>
          <a:effectLst/>
        </p:grpSpPr>
        <p:sp>
          <p:nvSpPr>
            <p:cNvPr id="48" name="carrie"/>
            <p:cNvSpPr>
              <a:spLocks noEditPoints="1"/>
            </p:cNvSpPr>
            <p:nvPr/>
          </p:nvSpPr>
          <p:spPr bwMode="auto">
            <a:xfrm>
              <a:off x="6068389" y="3442234"/>
              <a:ext cx="56988" cy="57923"/>
            </a:xfrm>
            <a:custGeom>
              <a:avLst/>
              <a:gdLst>
                <a:gd name="T0" fmla="*/ 13 w 26"/>
                <a:gd name="T1" fmla="*/ 0 h 26"/>
                <a:gd name="T2" fmla="*/ 0 w 26"/>
                <a:gd name="T3" fmla="*/ 13 h 26"/>
                <a:gd name="T4" fmla="*/ 13 w 26"/>
                <a:gd name="T5" fmla="*/ 26 h 26"/>
                <a:gd name="T6" fmla="*/ 26 w 26"/>
                <a:gd name="T7" fmla="*/ 13 h 26"/>
                <a:gd name="T8" fmla="*/ 13 w 26"/>
                <a:gd name="T9" fmla="*/ 0 h 26"/>
                <a:gd name="T10" fmla="*/ 13 w 26"/>
                <a:gd name="T11" fmla="*/ 23 h 26"/>
                <a:gd name="T12" fmla="*/ 3 w 26"/>
                <a:gd name="T13" fmla="*/ 13 h 26"/>
                <a:gd name="T14" fmla="*/ 13 w 26"/>
                <a:gd name="T15" fmla="*/ 3 h 26"/>
                <a:gd name="T16" fmla="*/ 23 w 26"/>
                <a:gd name="T17" fmla="*/ 13 h 26"/>
                <a:gd name="T18" fmla="*/ 13 w 26"/>
                <a:gd name="T19"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13" y="0"/>
                  </a:moveTo>
                  <a:cubicBezTo>
                    <a:pt x="6" y="0"/>
                    <a:pt x="0" y="6"/>
                    <a:pt x="0" y="13"/>
                  </a:cubicBezTo>
                  <a:cubicBezTo>
                    <a:pt x="0" y="20"/>
                    <a:pt x="6" y="26"/>
                    <a:pt x="13" y="26"/>
                  </a:cubicBezTo>
                  <a:cubicBezTo>
                    <a:pt x="20" y="26"/>
                    <a:pt x="26" y="20"/>
                    <a:pt x="26" y="13"/>
                  </a:cubicBezTo>
                  <a:cubicBezTo>
                    <a:pt x="26" y="6"/>
                    <a:pt x="20" y="0"/>
                    <a:pt x="13" y="0"/>
                  </a:cubicBezTo>
                  <a:close/>
                  <a:moveTo>
                    <a:pt x="13" y="23"/>
                  </a:moveTo>
                  <a:cubicBezTo>
                    <a:pt x="8" y="23"/>
                    <a:pt x="3" y="18"/>
                    <a:pt x="3" y="13"/>
                  </a:cubicBezTo>
                  <a:cubicBezTo>
                    <a:pt x="3" y="7"/>
                    <a:pt x="8" y="3"/>
                    <a:pt x="13" y="3"/>
                  </a:cubicBezTo>
                  <a:cubicBezTo>
                    <a:pt x="19" y="3"/>
                    <a:pt x="23" y="7"/>
                    <a:pt x="23" y="13"/>
                  </a:cubicBezTo>
                  <a:cubicBezTo>
                    <a:pt x="23" y="18"/>
                    <a:pt x="19" y="23"/>
                    <a:pt x="13"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49" name="carrie"/>
            <p:cNvSpPr>
              <a:spLocks noEditPoints="1"/>
            </p:cNvSpPr>
            <p:nvPr/>
          </p:nvSpPr>
          <p:spPr bwMode="auto">
            <a:xfrm>
              <a:off x="6196380" y="3404865"/>
              <a:ext cx="48580" cy="48580"/>
            </a:xfrm>
            <a:custGeom>
              <a:avLst/>
              <a:gdLst>
                <a:gd name="T0" fmla="*/ 11 w 22"/>
                <a:gd name="T1" fmla="*/ 0 h 22"/>
                <a:gd name="T2" fmla="*/ 0 w 22"/>
                <a:gd name="T3" fmla="*/ 11 h 22"/>
                <a:gd name="T4" fmla="*/ 11 w 22"/>
                <a:gd name="T5" fmla="*/ 22 h 22"/>
                <a:gd name="T6" fmla="*/ 22 w 22"/>
                <a:gd name="T7" fmla="*/ 11 h 22"/>
                <a:gd name="T8" fmla="*/ 11 w 22"/>
                <a:gd name="T9" fmla="*/ 0 h 22"/>
                <a:gd name="T10" fmla="*/ 11 w 22"/>
                <a:gd name="T11" fmla="*/ 17 h 22"/>
                <a:gd name="T12" fmla="*/ 5 w 22"/>
                <a:gd name="T13" fmla="*/ 11 h 22"/>
                <a:gd name="T14" fmla="*/ 11 w 22"/>
                <a:gd name="T15" fmla="*/ 5 h 22"/>
                <a:gd name="T16" fmla="*/ 17 w 22"/>
                <a:gd name="T17" fmla="*/ 11 h 22"/>
                <a:gd name="T18" fmla="*/ 11 w 22"/>
                <a:gd name="T19"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0"/>
                  </a:moveTo>
                  <a:cubicBezTo>
                    <a:pt x="5" y="0"/>
                    <a:pt x="0" y="5"/>
                    <a:pt x="0" y="11"/>
                  </a:cubicBezTo>
                  <a:cubicBezTo>
                    <a:pt x="0" y="17"/>
                    <a:pt x="5" y="22"/>
                    <a:pt x="11" y="22"/>
                  </a:cubicBezTo>
                  <a:cubicBezTo>
                    <a:pt x="17" y="22"/>
                    <a:pt x="22" y="17"/>
                    <a:pt x="22" y="11"/>
                  </a:cubicBezTo>
                  <a:cubicBezTo>
                    <a:pt x="22" y="5"/>
                    <a:pt x="17" y="0"/>
                    <a:pt x="11" y="0"/>
                  </a:cubicBezTo>
                  <a:close/>
                  <a:moveTo>
                    <a:pt x="11" y="17"/>
                  </a:moveTo>
                  <a:cubicBezTo>
                    <a:pt x="8" y="17"/>
                    <a:pt x="5" y="14"/>
                    <a:pt x="5" y="11"/>
                  </a:cubicBezTo>
                  <a:cubicBezTo>
                    <a:pt x="5" y="8"/>
                    <a:pt x="8" y="5"/>
                    <a:pt x="11" y="5"/>
                  </a:cubicBezTo>
                  <a:cubicBezTo>
                    <a:pt x="14" y="5"/>
                    <a:pt x="17" y="8"/>
                    <a:pt x="17" y="11"/>
                  </a:cubicBezTo>
                  <a:cubicBezTo>
                    <a:pt x="17" y="14"/>
                    <a:pt x="14" y="17"/>
                    <a:pt x="11" y="1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50" name="carrie"/>
            <p:cNvSpPr>
              <a:spLocks noEditPoints="1"/>
            </p:cNvSpPr>
            <p:nvPr/>
          </p:nvSpPr>
          <p:spPr bwMode="auto">
            <a:xfrm>
              <a:off x="6081468" y="3456248"/>
              <a:ext cx="30830" cy="30830"/>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10 h 14"/>
                <a:gd name="T12" fmla="*/ 4 w 14"/>
                <a:gd name="T13" fmla="*/ 7 h 14"/>
                <a:gd name="T14" fmla="*/ 7 w 14"/>
                <a:gd name="T15" fmla="*/ 3 h 14"/>
                <a:gd name="T16" fmla="*/ 11 w 14"/>
                <a:gd name="T17" fmla="*/ 7 h 14"/>
                <a:gd name="T18" fmla="*/ 7 w 14"/>
                <a:gd name="T1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10"/>
                  </a:moveTo>
                  <a:cubicBezTo>
                    <a:pt x="5" y="10"/>
                    <a:pt x="4" y="9"/>
                    <a:pt x="4" y="7"/>
                  </a:cubicBezTo>
                  <a:cubicBezTo>
                    <a:pt x="4" y="5"/>
                    <a:pt x="5" y="3"/>
                    <a:pt x="7" y="3"/>
                  </a:cubicBezTo>
                  <a:cubicBezTo>
                    <a:pt x="9" y="3"/>
                    <a:pt x="11" y="5"/>
                    <a:pt x="11" y="7"/>
                  </a:cubicBezTo>
                  <a:cubicBezTo>
                    <a:pt x="11" y="9"/>
                    <a:pt x="9" y="10"/>
                    <a:pt x="7"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51" name="carrie"/>
            <p:cNvSpPr>
              <a:spLocks noEditPoints="1"/>
            </p:cNvSpPr>
            <p:nvPr/>
          </p:nvSpPr>
          <p:spPr bwMode="auto">
            <a:xfrm>
              <a:off x="6172089" y="3380574"/>
              <a:ext cx="97161" cy="97161"/>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2 w 44"/>
                <a:gd name="T11" fmla="*/ 39 h 44"/>
                <a:gd name="T12" fmla="*/ 5 w 44"/>
                <a:gd name="T13" fmla="*/ 22 h 44"/>
                <a:gd name="T14" fmla="*/ 22 w 44"/>
                <a:gd name="T15" fmla="*/ 6 h 44"/>
                <a:gd name="T16" fmla="*/ 39 w 44"/>
                <a:gd name="T17" fmla="*/ 22 h 44"/>
                <a:gd name="T18" fmla="*/ 22 w 44"/>
                <a:gd name="T19"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2" y="39"/>
                  </a:moveTo>
                  <a:cubicBezTo>
                    <a:pt x="13" y="39"/>
                    <a:pt x="5" y="31"/>
                    <a:pt x="5" y="22"/>
                  </a:cubicBezTo>
                  <a:cubicBezTo>
                    <a:pt x="5" y="13"/>
                    <a:pt x="13" y="6"/>
                    <a:pt x="22" y="6"/>
                  </a:cubicBezTo>
                  <a:cubicBezTo>
                    <a:pt x="31" y="6"/>
                    <a:pt x="39" y="13"/>
                    <a:pt x="39" y="22"/>
                  </a:cubicBezTo>
                  <a:cubicBezTo>
                    <a:pt x="39" y="31"/>
                    <a:pt x="31" y="39"/>
                    <a:pt x="22" y="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52" name="carrie"/>
            <p:cNvSpPr>
              <a:spLocks noEditPoints="1"/>
            </p:cNvSpPr>
            <p:nvPr/>
          </p:nvSpPr>
          <p:spPr bwMode="auto">
            <a:xfrm>
              <a:off x="5999255" y="3275006"/>
              <a:ext cx="402656" cy="450303"/>
            </a:xfrm>
            <a:custGeom>
              <a:avLst/>
              <a:gdLst>
                <a:gd name="T0" fmla="*/ 157 w 182"/>
                <a:gd name="T1" fmla="*/ 96 h 204"/>
                <a:gd name="T2" fmla="*/ 153 w 182"/>
                <a:gd name="T3" fmla="*/ 48 h 204"/>
                <a:gd name="T4" fmla="*/ 78 w 182"/>
                <a:gd name="T5" fmla="*/ 0 h 204"/>
                <a:gd name="T6" fmla="*/ 1 w 182"/>
                <a:gd name="T7" fmla="*/ 79 h 204"/>
                <a:gd name="T8" fmla="*/ 0 w 182"/>
                <a:gd name="T9" fmla="*/ 204 h 204"/>
                <a:gd name="T10" fmla="*/ 113 w 182"/>
                <a:gd name="T11" fmla="*/ 176 h 204"/>
                <a:gd name="T12" fmla="*/ 147 w 182"/>
                <a:gd name="T13" fmla="*/ 176 h 204"/>
                <a:gd name="T14" fmla="*/ 147 w 182"/>
                <a:gd name="T15" fmla="*/ 176 h 204"/>
                <a:gd name="T16" fmla="*/ 156 w 182"/>
                <a:gd name="T17" fmla="*/ 151 h 204"/>
                <a:gd name="T18" fmla="*/ 146 w 182"/>
                <a:gd name="T19" fmla="*/ 145 h 204"/>
                <a:gd name="T20" fmla="*/ 156 w 182"/>
                <a:gd name="T21" fmla="*/ 140 h 204"/>
                <a:gd name="T22" fmla="*/ 155 w 182"/>
                <a:gd name="T23" fmla="*/ 138 h 204"/>
                <a:gd name="T24" fmla="*/ 170 w 182"/>
                <a:gd name="T25" fmla="*/ 111 h 204"/>
                <a:gd name="T26" fmla="*/ 62 w 182"/>
                <a:gd name="T27" fmla="*/ 93 h 204"/>
                <a:gd name="T28" fmla="*/ 62 w 182"/>
                <a:gd name="T29" fmla="*/ 102 h 204"/>
                <a:gd name="T30" fmla="*/ 54 w 182"/>
                <a:gd name="T31" fmla="*/ 105 h 204"/>
                <a:gd name="T32" fmla="*/ 48 w 182"/>
                <a:gd name="T33" fmla="*/ 110 h 204"/>
                <a:gd name="T34" fmla="*/ 40 w 182"/>
                <a:gd name="T35" fmla="*/ 107 h 204"/>
                <a:gd name="T36" fmla="*/ 32 w 182"/>
                <a:gd name="T37" fmla="*/ 107 h 204"/>
                <a:gd name="T38" fmla="*/ 28 w 182"/>
                <a:gd name="T39" fmla="*/ 99 h 204"/>
                <a:gd name="T40" fmla="*/ 22 w 182"/>
                <a:gd name="T41" fmla="*/ 93 h 204"/>
                <a:gd name="T42" fmla="*/ 26 w 182"/>
                <a:gd name="T43" fmla="*/ 85 h 204"/>
                <a:gd name="T44" fmla="*/ 26 w 182"/>
                <a:gd name="T45" fmla="*/ 76 h 204"/>
                <a:gd name="T46" fmla="*/ 34 w 182"/>
                <a:gd name="T47" fmla="*/ 73 h 204"/>
                <a:gd name="T48" fmla="*/ 40 w 182"/>
                <a:gd name="T49" fmla="*/ 68 h 204"/>
                <a:gd name="T50" fmla="*/ 48 w 182"/>
                <a:gd name="T51" fmla="*/ 71 h 204"/>
                <a:gd name="T52" fmla="*/ 57 w 182"/>
                <a:gd name="T53" fmla="*/ 71 h 204"/>
                <a:gd name="T54" fmla="*/ 60 w 182"/>
                <a:gd name="T55" fmla="*/ 79 h 204"/>
                <a:gd name="T56" fmla="*/ 66 w 182"/>
                <a:gd name="T57" fmla="*/ 85 h 204"/>
                <a:gd name="T58" fmla="*/ 136 w 182"/>
                <a:gd name="T59" fmla="*/ 77 h 204"/>
                <a:gd name="T60" fmla="*/ 126 w 182"/>
                <a:gd name="T61" fmla="*/ 87 h 204"/>
                <a:gd name="T62" fmla="*/ 121 w 182"/>
                <a:gd name="T63" fmla="*/ 100 h 204"/>
                <a:gd name="T64" fmla="*/ 107 w 182"/>
                <a:gd name="T65" fmla="*/ 100 h 204"/>
                <a:gd name="T66" fmla="*/ 94 w 182"/>
                <a:gd name="T67" fmla="*/ 105 h 204"/>
                <a:gd name="T68" fmla="*/ 83 w 182"/>
                <a:gd name="T69" fmla="*/ 96 h 204"/>
                <a:gd name="T70" fmla="*/ 70 w 182"/>
                <a:gd name="T71" fmla="*/ 91 h 204"/>
                <a:gd name="T72" fmla="*/ 70 w 182"/>
                <a:gd name="T73" fmla="*/ 77 h 204"/>
                <a:gd name="T74" fmla="*/ 64 w 182"/>
                <a:gd name="T75" fmla="*/ 64 h 204"/>
                <a:gd name="T76" fmla="*/ 74 w 182"/>
                <a:gd name="T77" fmla="*/ 53 h 204"/>
                <a:gd name="T78" fmla="*/ 79 w 182"/>
                <a:gd name="T79" fmla="*/ 40 h 204"/>
                <a:gd name="T80" fmla="*/ 94 w 182"/>
                <a:gd name="T81" fmla="*/ 40 h 204"/>
                <a:gd name="T82" fmla="*/ 107 w 182"/>
                <a:gd name="T83" fmla="*/ 35 h 204"/>
                <a:gd name="T84" fmla="*/ 117 w 182"/>
                <a:gd name="T85" fmla="*/ 44 h 204"/>
                <a:gd name="T86" fmla="*/ 130 w 182"/>
                <a:gd name="T87" fmla="*/ 49 h 204"/>
                <a:gd name="T88" fmla="*/ 130 w 182"/>
                <a:gd name="T89" fmla="*/ 64 h 204"/>
                <a:gd name="T90" fmla="*/ 136 w 182"/>
                <a:gd name="T91" fmla="*/ 7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204">
                  <a:moveTo>
                    <a:pt x="170" y="111"/>
                  </a:moveTo>
                  <a:cubicBezTo>
                    <a:pt x="166" y="107"/>
                    <a:pt x="160" y="102"/>
                    <a:pt x="157" y="96"/>
                  </a:cubicBezTo>
                  <a:cubicBezTo>
                    <a:pt x="153" y="87"/>
                    <a:pt x="158" y="79"/>
                    <a:pt x="157" y="70"/>
                  </a:cubicBezTo>
                  <a:cubicBezTo>
                    <a:pt x="157" y="63"/>
                    <a:pt x="155" y="54"/>
                    <a:pt x="153" y="48"/>
                  </a:cubicBezTo>
                  <a:cubicBezTo>
                    <a:pt x="149" y="37"/>
                    <a:pt x="142" y="28"/>
                    <a:pt x="133" y="21"/>
                  </a:cubicBezTo>
                  <a:cubicBezTo>
                    <a:pt x="119" y="8"/>
                    <a:pt x="100" y="0"/>
                    <a:pt x="78" y="0"/>
                  </a:cubicBezTo>
                  <a:cubicBezTo>
                    <a:pt x="35" y="0"/>
                    <a:pt x="0" y="32"/>
                    <a:pt x="0" y="71"/>
                  </a:cubicBezTo>
                  <a:cubicBezTo>
                    <a:pt x="0" y="74"/>
                    <a:pt x="0" y="77"/>
                    <a:pt x="1" y="79"/>
                  </a:cubicBezTo>
                  <a:cubicBezTo>
                    <a:pt x="1" y="96"/>
                    <a:pt x="6" y="117"/>
                    <a:pt x="22" y="139"/>
                  </a:cubicBezTo>
                  <a:cubicBezTo>
                    <a:pt x="22" y="139"/>
                    <a:pt x="43" y="182"/>
                    <a:pt x="0" y="204"/>
                  </a:cubicBezTo>
                  <a:cubicBezTo>
                    <a:pt x="95" y="204"/>
                    <a:pt x="95" y="204"/>
                    <a:pt x="95" y="204"/>
                  </a:cubicBezTo>
                  <a:cubicBezTo>
                    <a:pt x="95" y="204"/>
                    <a:pt x="102" y="176"/>
                    <a:pt x="113" y="176"/>
                  </a:cubicBezTo>
                  <a:cubicBezTo>
                    <a:pt x="123" y="176"/>
                    <a:pt x="133" y="177"/>
                    <a:pt x="142" y="176"/>
                  </a:cubicBezTo>
                  <a:cubicBezTo>
                    <a:pt x="144" y="177"/>
                    <a:pt x="146" y="176"/>
                    <a:pt x="147" y="176"/>
                  </a:cubicBezTo>
                  <a:cubicBezTo>
                    <a:pt x="147" y="176"/>
                    <a:pt x="147" y="176"/>
                    <a:pt x="147" y="176"/>
                  </a:cubicBezTo>
                  <a:cubicBezTo>
                    <a:pt x="147" y="176"/>
                    <a:pt x="147" y="176"/>
                    <a:pt x="147" y="176"/>
                  </a:cubicBezTo>
                  <a:cubicBezTo>
                    <a:pt x="154" y="173"/>
                    <a:pt x="149" y="157"/>
                    <a:pt x="149" y="157"/>
                  </a:cubicBezTo>
                  <a:cubicBezTo>
                    <a:pt x="153" y="155"/>
                    <a:pt x="156" y="153"/>
                    <a:pt x="156" y="151"/>
                  </a:cubicBezTo>
                  <a:cubicBezTo>
                    <a:pt x="156" y="150"/>
                    <a:pt x="156" y="150"/>
                    <a:pt x="156" y="150"/>
                  </a:cubicBezTo>
                  <a:cubicBezTo>
                    <a:pt x="156" y="148"/>
                    <a:pt x="152" y="146"/>
                    <a:pt x="146" y="145"/>
                  </a:cubicBezTo>
                  <a:cubicBezTo>
                    <a:pt x="149" y="145"/>
                    <a:pt x="149" y="145"/>
                    <a:pt x="149" y="145"/>
                  </a:cubicBezTo>
                  <a:cubicBezTo>
                    <a:pt x="153" y="145"/>
                    <a:pt x="156" y="143"/>
                    <a:pt x="156" y="140"/>
                  </a:cubicBezTo>
                  <a:cubicBezTo>
                    <a:pt x="156" y="140"/>
                    <a:pt x="156" y="140"/>
                    <a:pt x="156" y="140"/>
                  </a:cubicBezTo>
                  <a:cubicBezTo>
                    <a:pt x="156" y="139"/>
                    <a:pt x="156" y="138"/>
                    <a:pt x="155" y="138"/>
                  </a:cubicBezTo>
                  <a:cubicBezTo>
                    <a:pt x="156" y="135"/>
                    <a:pt x="159" y="121"/>
                    <a:pt x="160" y="121"/>
                  </a:cubicBezTo>
                  <a:cubicBezTo>
                    <a:pt x="182" y="119"/>
                    <a:pt x="170" y="111"/>
                    <a:pt x="170" y="111"/>
                  </a:cubicBezTo>
                  <a:close/>
                  <a:moveTo>
                    <a:pt x="66" y="93"/>
                  </a:moveTo>
                  <a:cubicBezTo>
                    <a:pt x="62" y="93"/>
                    <a:pt x="62" y="93"/>
                    <a:pt x="62" y="93"/>
                  </a:cubicBezTo>
                  <a:cubicBezTo>
                    <a:pt x="62" y="95"/>
                    <a:pt x="61" y="97"/>
                    <a:pt x="60" y="99"/>
                  </a:cubicBezTo>
                  <a:cubicBezTo>
                    <a:pt x="62" y="102"/>
                    <a:pt x="62" y="102"/>
                    <a:pt x="62" y="102"/>
                  </a:cubicBezTo>
                  <a:cubicBezTo>
                    <a:pt x="57" y="107"/>
                    <a:pt x="57" y="107"/>
                    <a:pt x="57" y="107"/>
                  </a:cubicBezTo>
                  <a:cubicBezTo>
                    <a:pt x="54" y="105"/>
                    <a:pt x="54" y="105"/>
                    <a:pt x="54" y="105"/>
                  </a:cubicBezTo>
                  <a:cubicBezTo>
                    <a:pt x="52" y="106"/>
                    <a:pt x="50" y="107"/>
                    <a:pt x="48" y="107"/>
                  </a:cubicBezTo>
                  <a:cubicBezTo>
                    <a:pt x="48" y="110"/>
                    <a:pt x="48" y="110"/>
                    <a:pt x="48" y="110"/>
                  </a:cubicBezTo>
                  <a:cubicBezTo>
                    <a:pt x="40" y="110"/>
                    <a:pt x="40" y="110"/>
                    <a:pt x="40" y="110"/>
                  </a:cubicBezTo>
                  <a:cubicBezTo>
                    <a:pt x="40" y="107"/>
                    <a:pt x="40" y="107"/>
                    <a:pt x="40" y="107"/>
                  </a:cubicBezTo>
                  <a:cubicBezTo>
                    <a:pt x="38" y="107"/>
                    <a:pt x="36" y="106"/>
                    <a:pt x="34" y="105"/>
                  </a:cubicBezTo>
                  <a:cubicBezTo>
                    <a:pt x="32" y="107"/>
                    <a:pt x="32" y="107"/>
                    <a:pt x="32" y="107"/>
                  </a:cubicBezTo>
                  <a:cubicBezTo>
                    <a:pt x="26" y="102"/>
                    <a:pt x="26" y="102"/>
                    <a:pt x="26" y="102"/>
                  </a:cubicBezTo>
                  <a:cubicBezTo>
                    <a:pt x="28" y="99"/>
                    <a:pt x="28" y="99"/>
                    <a:pt x="28" y="99"/>
                  </a:cubicBezTo>
                  <a:cubicBezTo>
                    <a:pt x="27" y="97"/>
                    <a:pt x="26" y="95"/>
                    <a:pt x="26" y="93"/>
                  </a:cubicBezTo>
                  <a:cubicBezTo>
                    <a:pt x="22" y="93"/>
                    <a:pt x="22" y="93"/>
                    <a:pt x="22" y="93"/>
                  </a:cubicBezTo>
                  <a:cubicBezTo>
                    <a:pt x="22" y="85"/>
                    <a:pt x="22" y="85"/>
                    <a:pt x="22" y="85"/>
                  </a:cubicBezTo>
                  <a:cubicBezTo>
                    <a:pt x="26" y="85"/>
                    <a:pt x="26" y="85"/>
                    <a:pt x="26" y="85"/>
                  </a:cubicBezTo>
                  <a:cubicBezTo>
                    <a:pt x="26" y="83"/>
                    <a:pt x="27" y="81"/>
                    <a:pt x="28" y="79"/>
                  </a:cubicBezTo>
                  <a:cubicBezTo>
                    <a:pt x="26" y="76"/>
                    <a:pt x="26" y="76"/>
                    <a:pt x="26" y="76"/>
                  </a:cubicBezTo>
                  <a:cubicBezTo>
                    <a:pt x="31" y="71"/>
                    <a:pt x="31" y="71"/>
                    <a:pt x="31" y="71"/>
                  </a:cubicBezTo>
                  <a:cubicBezTo>
                    <a:pt x="34" y="73"/>
                    <a:pt x="34" y="73"/>
                    <a:pt x="34" y="73"/>
                  </a:cubicBezTo>
                  <a:cubicBezTo>
                    <a:pt x="36" y="72"/>
                    <a:pt x="38" y="71"/>
                    <a:pt x="40" y="71"/>
                  </a:cubicBezTo>
                  <a:cubicBezTo>
                    <a:pt x="40" y="68"/>
                    <a:pt x="40" y="68"/>
                    <a:pt x="40" y="68"/>
                  </a:cubicBezTo>
                  <a:cubicBezTo>
                    <a:pt x="48" y="68"/>
                    <a:pt x="48" y="68"/>
                    <a:pt x="48" y="68"/>
                  </a:cubicBezTo>
                  <a:cubicBezTo>
                    <a:pt x="48" y="71"/>
                    <a:pt x="48" y="71"/>
                    <a:pt x="48" y="71"/>
                  </a:cubicBezTo>
                  <a:cubicBezTo>
                    <a:pt x="50" y="71"/>
                    <a:pt x="52" y="72"/>
                    <a:pt x="54" y="73"/>
                  </a:cubicBezTo>
                  <a:cubicBezTo>
                    <a:pt x="57" y="71"/>
                    <a:pt x="57" y="71"/>
                    <a:pt x="57" y="71"/>
                  </a:cubicBezTo>
                  <a:cubicBezTo>
                    <a:pt x="63" y="76"/>
                    <a:pt x="63" y="76"/>
                    <a:pt x="63" y="76"/>
                  </a:cubicBezTo>
                  <a:cubicBezTo>
                    <a:pt x="60" y="79"/>
                    <a:pt x="60" y="79"/>
                    <a:pt x="60" y="79"/>
                  </a:cubicBezTo>
                  <a:cubicBezTo>
                    <a:pt x="61" y="81"/>
                    <a:pt x="62" y="83"/>
                    <a:pt x="63" y="85"/>
                  </a:cubicBezTo>
                  <a:cubicBezTo>
                    <a:pt x="66" y="85"/>
                    <a:pt x="66" y="85"/>
                    <a:pt x="66" y="85"/>
                  </a:cubicBezTo>
                  <a:lnTo>
                    <a:pt x="66" y="93"/>
                  </a:lnTo>
                  <a:close/>
                  <a:moveTo>
                    <a:pt x="136" y="77"/>
                  </a:moveTo>
                  <a:cubicBezTo>
                    <a:pt x="130" y="77"/>
                    <a:pt x="130" y="77"/>
                    <a:pt x="130" y="77"/>
                  </a:cubicBezTo>
                  <a:cubicBezTo>
                    <a:pt x="129" y="80"/>
                    <a:pt x="128" y="84"/>
                    <a:pt x="126" y="87"/>
                  </a:cubicBezTo>
                  <a:cubicBezTo>
                    <a:pt x="130" y="91"/>
                    <a:pt x="130" y="91"/>
                    <a:pt x="130" y="91"/>
                  </a:cubicBezTo>
                  <a:cubicBezTo>
                    <a:pt x="121" y="100"/>
                    <a:pt x="121" y="100"/>
                    <a:pt x="121" y="100"/>
                  </a:cubicBezTo>
                  <a:cubicBezTo>
                    <a:pt x="117" y="96"/>
                    <a:pt x="117" y="96"/>
                    <a:pt x="117" y="96"/>
                  </a:cubicBezTo>
                  <a:cubicBezTo>
                    <a:pt x="114" y="98"/>
                    <a:pt x="110" y="99"/>
                    <a:pt x="107" y="100"/>
                  </a:cubicBezTo>
                  <a:cubicBezTo>
                    <a:pt x="107" y="105"/>
                    <a:pt x="107" y="105"/>
                    <a:pt x="107" y="105"/>
                  </a:cubicBezTo>
                  <a:cubicBezTo>
                    <a:pt x="94" y="105"/>
                    <a:pt x="94" y="105"/>
                    <a:pt x="94" y="105"/>
                  </a:cubicBezTo>
                  <a:cubicBezTo>
                    <a:pt x="94" y="100"/>
                    <a:pt x="94" y="100"/>
                    <a:pt x="94" y="100"/>
                  </a:cubicBezTo>
                  <a:cubicBezTo>
                    <a:pt x="90" y="100"/>
                    <a:pt x="86" y="98"/>
                    <a:pt x="83" y="96"/>
                  </a:cubicBezTo>
                  <a:cubicBezTo>
                    <a:pt x="79" y="100"/>
                    <a:pt x="79" y="100"/>
                    <a:pt x="79" y="100"/>
                  </a:cubicBezTo>
                  <a:cubicBezTo>
                    <a:pt x="70" y="91"/>
                    <a:pt x="70" y="91"/>
                    <a:pt x="70" y="91"/>
                  </a:cubicBezTo>
                  <a:cubicBezTo>
                    <a:pt x="74" y="87"/>
                    <a:pt x="74" y="87"/>
                    <a:pt x="74" y="87"/>
                  </a:cubicBezTo>
                  <a:cubicBezTo>
                    <a:pt x="72" y="84"/>
                    <a:pt x="71" y="81"/>
                    <a:pt x="70" y="77"/>
                  </a:cubicBezTo>
                  <a:cubicBezTo>
                    <a:pt x="64" y="77"/>
                    <a:pt x="64" y="77"/>
                    <a:pt x="64" y="77"/>
                  </a:cubicBezTo>
                  <a:cubicBezTo>
                    <a:pt x="64" y="64"/>
                    <a:pt x="64" y="64"/>
                    <a:pt x="64" y="64"/>
                  </a:cubicBezTo>
                  <a:cubicBezTo>
                    <a:pt x="70" y="64"/>
                    <a:pt x="70" y="64"/>
                    <a:pt x="70" y="64"/>
                  </a:cubicBezTo>
                  <a:cubicBezTo>
                    <a:pt x="70" y="60"/>
                    <a:pt x="72" y="56"/>
                    <a:pt x="74" y="53"/>
                  </a:cubicBezTo>
                  <a:cubicBezTo>
                    <a:pt x="70" y="49"/>
                    <a:pt x="70" y="49"/>
                    <a:pt x="70" y="49"/>
                  </a:cubicBezTo>
                  <a:cubicBezTo>
                    <a:pt x="79" y="40"/>
                    <a:pt x="79" y="40"/>
                    <a:pt x="79" y="40"/>
                  </a:cubicBezTo>
                  <a:cubicBezTo>
                    <a:pt x="83" y="44"/>
                    <a:pt x="83" y="44"/>
                    <a:pt x="83" y="44"/>
                  </a:cubicBezTo>
                  <a:cubicBezTo>
                    <a:pt x="86" y="42"/>
                    <a:pt x="90" y="41"/>
                    <a:pt x="94" y="40"/>
                  </a:cubicBezTo>
                  <a:cubicBezTo>
                    <a:pt x="94" y="35"/>
                    <a:pt x="94" y="35"/>
                    <a:pt x="94" y="35"/>
                  </a:cubicBezTo>
                  <a:cubicBezTo>
                    <a:pt x="107" y="35"/>
                    <a:pt x="107" y="35"/>
                    <a:pt x="107" y="35"/>
                  </a:cubicBezTo>
                  <a:cubicBezTo>
                    <a:pt x="107" y="40"/>
                    <a:pt x="107" y="40"/>
                    <a:pt x="107" y="40"/>
                  </a:cubicBezTo>
                  <a:cubicBezTo>
                    <a:pt x="110" y="41"/>
                    <a:pt x="114" y="42"/>
                    <a:pt x="117" y="44"/>
                  </a:cubicBezTo>
                  <a:cubicBezTo>
                    <a:pt x="121" y="40"/>
                    <a:pt x="121" y="40"/>
                    <a:pt x="121" y="40"/>
                  </a:cubicBezTo>
                  <a:cubicBezTo>
                    <a:pt x="130" y="49"/>
                    <a:pt x="130" y="49"/>
                    <a:pt x="130" y="49"/>
                  </a:cubicBezTo>
                  <a:cubicBezTo>
                    <a:pt x="126" y="53"/>
                    <a:pt x="126" y="53"/>
                    <a:pt x="126" y="53"/>
                  </a:cubicBezTo>
                  <a:cubicBezTo>
                    <a:pt x="128" y="57"/>
                    <a:pt x="130" y="60"/>
                    <a:pt x="130" y="64"/>
                  </a:cubicBezTo>
                  <a:cubicBezTo>
                    <a:pt x="136" y="64"/>
                    <a:pt x="136" y="64"/>
                    <a:pt x="136" y="64"/>
                  </a:cubicBezTo>
                  <a:lnTo>
                    <a:pt x="136" y="7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grpSp>
      <p:grpSp>
        <p:nvGrpSpPr>
          <p:cNvPr id="8" name="carrie"/>
          <p:cNvGrpSpPr/>
          <p:nvPr>
            <p:custDataLst>
              <p:tags r:id="rId8"/>
            </p:custDataLst>
          </p:nvPr>
        </p:nvGrpSpPr>
        <p:grpSpPr>
          <a:xfrm>
            <a:off x="5881908" y="5092540"/>
            <a:ext cx="417496" cy="472348"/>
            <a:chOff x="4994016" y="4872552"/>
            <a:chExt cx="406393" cy="459645"/>
          </a:xfrm>
          <a:solidFill>
            <a:schemeClr val="bg1"/>
          </a:solidFill>
          <a:effectLst/>
        </p:grpSpPr>
        <p:sp>
          <p:nvSpPr>
            <p:cNvPr id="54" name="carrie"/>
            <p:cNvSpPr>
              <a:spLocks noEditPoints="1"/>
            </p:cNvSpPr>
            <p:nvPr/>
          </p:nvSpPr>
          <p:spPr bwMode="auto">
            <a:xfrm>
              <a:off x="5049136" y="4872552"/>
              <a:ext cx="351273" cy="456842"/>
            </a:xfrm>
            <a:custGeom>
              <a:avLst/>
              <a:gdLst>
                <a:gd name="T0" fmla="*/ 157 w 159"/>
                <a:gd name="T1" fmla="*/ 185 h 207"/>
                <a:gd name="T2" fmla="*/ 89 w 159"/>
                <a:gd name="T3" fmla="*/ 79 h 207"/>
                <a:gd name="T4" fmla="*/ 92 w 159"/>
                <a:gd name="T5" fmla="*/ 24 h 207"/>
                <a:gd name="T6" fmla="*/ 42 w 159"/>
                <a:gd name="T7" fmla="*/ 4 h 207"/>
                <a:gd name="T8" fmla="*/ 70 w 159"/>
                <a:gd name="T9" fmla="*/ 48 h 207"/>
                <a:gd name="T10" fmla="*/ 37 w 159"/>
                <a:gd name="T11" fmla="*/ 69 h 207"/>
                <a:gd name="T12" fmla="*/ 10 w 159"/>
                <a:gd name="T13" fmla="*/ 27 h 207"/>
                <a:gd name="T14" fmla="*/ 10 w 159"/>
                <a:gd name="T15" fmla="*/ 77 h 207"/>
                <a:gd name="T16" fmla="*/ 62 w 159"/>
                <a:gd name="T17" fmla="*/ 96 h 207"/>
                <a:gd name="T18" fmla="*/ 130 w 159"/>
                <a:gd name="T19" fmla="*/ 202 h 207"/>
                <a:gd name="T20" fmla="*/ 143 w 159"/>
                <a:gd name="T21" fmla="*/ 205 h 207"/>
                <a:gd name="T22" fmla="*/ 154 w 159"/>
                <a:gd name="T23" fmla="*/ 197 h 207"/>
                <a:gd name="T24" fmla="*/ 157 w 159"/>
                <a:gd name="T25" fmla="*/ 185 h 207"/>
                <a:gd name="T26" fmla="*/ 144 w 159"/>
                <a:gd name="T27" fmla="*/ 193 h 207"/>
                <a:gd name="T28" fmla="*/ 134 w 159"/>
                <a:gd name="T29" fmla="*/ 191 h 207"/>
                <a:gd name="T30" fmla="*/ 137 w 159"/>
                <a:gd name="T31" fmla="*/ 182 h 207"/>
                <a:gd name="T32" fmla="*/ 146 w 159"/>
                <a:gd name="T33" fmla="*/ 184 h 207"/>
                <a:gd name="T34" fmla="*/ 144 w 159"/>
                <a:gd name="T35" fmla="*/ 19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207">
                  <a:moveTo>
                    <a:pt x="157" y="185"/>
                  </a:moveTo>
                  <a:cubicBezTo>
                    <a:pt x="89" y="79"/>
                    <a:pt x="89" y="79"/>
                    <a:pt x="89" y="79"/>
                  </a:cubicBezTo>
                  <a:cubicBezTo>
                    <a:pt x="101" y="63"/>
                    <a:pt x="103" y="42"/>
                    <a:pt x="92" y="24"/>
                  </a:cubicBezTo>
                  <a:cubicBezTo>
                    <a:pt x="81" y="8"/>
                    <a:pt x="61" y="0"/>
                    <a:pt x="42" y="4"/>
                  </a:cubicBezTo>
                  <a:cubicBezTo>
                    <a:pt x="70" y="48"/>
                    <a:pt x="70" y="48"/>
                    <a:pt x="70" y="48"/>
                  </a:cubicBezTo>
                  <a:cubicBezTo>
                    <a:pt x="37" y="69"/>
                    <a:pt x="37" y="69"/>
                    <a:pt x="37" y="69"/>
                  </a:cubicBezTo>
                  <a:cubicBezTo>
                    <a:pt x="10" y="27"/>
                    <a:pt x="10" y="27"/>
                    <a:pt x="10" y="27"/>
                  </a:cubicBezTo>
                  <a:cubicBezTo>
                    <a:pt x="1" y="42"/>
                    <a:pt x="0" y="61"/>
                    <a:pt x="10" y="77"/>
                  </a:cubicBezTo>
                  <a:cubicBezTo>
                    <a:pt x="21" y="95"/>
                    <a:pt x="43" y="102"/>
                    <a:pt x="62" y="96"/>
                  </a:cubicBezTo>
                  <a:cubicBezTo>
                    <a:pt x="130" y="202"/>
                    <a:pt x="130" y="202"/>
                    <a:pt x="130" y="202"/>
                  </a:cubicBezTo>
                  <a:cubicBezTo>
                    <a:pt x="133" y="206"/>
                    <a:pt x="138" y="207"/>
                    <a:pt x="143" y="205"/>
                  </a:cubicBezTo>
                  <a:cubicBezTo>
                    <a:pt x="154" y="197"/>
                    <a:pt x="154" y="197"/>
                    <a:pt x="154" y="197"/>
                  </a:cubicBezTo>
                  <a:cubicBezTo>
                    <a:pt x="158" y="195"/>
                    <a:pt x="159" y="189"/>
                    <a:pt x="157" y="185"/>
                  </a:cubicBezTo>
                  <a:close/>
                  <a:moveTo>
                    <a:pt x="144" y="193"/>
                  </a:moveTo>
                  <a:cubicBezTo>
                    <a:pt x="141" y="195"/>
                    <a:pt x="136" y="195"/>
                    <a:pt x="134" y="191"/>
                  </a:cubicBezTo>
                  <a:cubicBezTo>
                    <a:pt x="132" y="188"/>
                    <a:pt x="133" y="184"/>
                    <a:pt x="137" y="182"/>
                  </a:cubicBezTo>
                  <a:cubicBezTo>
                    <a:pt x="140" y="180"/>
                    <a:pt x="144" y="181"/>
                    <a:pt x="146" y="184"/>
                  </a:cubicBezTo>
                  <a:cubicBezTo>
                    <a:pt x="148" y="187"/>
                    <a:pt x="147" y="191"/>
                    <a:pt x="144" y="19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55" name="carrie"/>
            <p:cNvSpPr>
              <a:spLocks noEditPoints="1"/>
            </p:cNvSpPr>
            <p:nvPr/>
          </p:nvSpPr>
          <p:spPr bwMode="auto">
            <a:xfrm>
              <a:off x="4994016" y="5104243"/>
              <a:ext cx="231691" cy="227954"/>
            </a:xfrm>
            <a:custGeom>
              <a:avLst/>
              <a:gdLst>
                <a:gd name="T0" fmla="*/ 91 w 105"/>
                <a:gd name="T1" fmla="*/ 26 h 103"/>
                <a:gd name="T2" fmla="*/ 97 w 105"/>
                <a:gd name="T3" fmla="*/ 20 h 103"/>
                <a:gd name="T4" fmla="*/ 84 w 105"/>
                <a:gd name="T5" fmla="*/ 7 h 103"/>
                <a:gd name="T6" fmla="*/ 78 w 105"/>
                <a:gd name="T7" fmla="*/ 13 h 103"/>
                <a:gd name="T8" fmla="*/ 62 w 105"/>
                <a:gd name="T9" fmla="*/ 7 h 103"/>
                <a:gd name="T10" fmla="*/ 62 w 105"/>
                <a:gd name="T11" fmla="*/ 0 h 103"/>
                <a:gd name="T12" fmla="*/ 43 w 105"/>
                <a:gd name="T13" fmla="*/ 0 h 103"/>
                <a:gd name="T14" fmla="*/ 43 w 105"/>
                <a:gd name="T15" fmla="*/ 7 h 103"/>
                <a:gd name="T16" fmla="*/ 28 w 105"/>
                <a:gd name="T17" fmla="*/ 13 h 103"/>
                <a:gd name="T18" fmla="*/ 22 w 105"/>
                <a:gd name="T19" fmla="*/ 7 h 103"/>
                <a:gd name="T20" fmla="*/ 8 w 105"/>
                <a:gd name="T21" fmla="*/ 20 h 103"/>
                <a:gd name="T22" fmla="*/ 15 w 105"/>
                <a:gd name="T23" fmla="*/ 27 h 103"/>
                <a:gd name="T24" fmla="*/ 8 w 105"/>
                <a:gd name="T25" fmla="*/ 42 h 103"/>
                <a:gd name="T26" fmla="*/ 0 w 105"/>
                <a:gd name="T27" fmla="*/ 42 h 103"/>
                <a:gd name="T28" fmla="*/ 0 w 105"/>
                <a:gd name="T29" fmla="*/ 61 h 103"/>
                <a:gd name="T30" fmla="*/ 9 w 105"/>
                <a:gd name="T31" fmla="*/ 61 h 103"/>
                <a:gd name="T32" fmla="*/ 15 w 105"/>
                <a:gd name="T33" fmla="*/ 76 h 103"/>
                <a:gd name="T34" fmla="*/ 9 w 105"/>
                <a:gd name="T35" fmla="*/ 82 h 103"/>
                <a:gd name="T36" fmla="*/ 22 w 105"/>
                <a:gd name="T37" fmla="*/ 95 h 103"/>
                <a:gd name="T38" fmla="*/ 28 w 105"/>
                <a:gd name="T39" fmla="*/ 89 h 103"/>
                <a:gd name="T40" fmla="*/ 43 w 105"/>
                <a:gd name="T41" fmla="*/ 95 h 103"/>
                <a:gd name="T42" fmla="*/ 43 w 105"/>
                <a:gd name="T43" fmla="*/ 103 h 103"/>
                <a:gd name="T44" fmla="*/ 62 w 105"/>
                <a:gd name="T45" fmla="*/ 103 h 103"/>
                <a:gd name="T46" fmla="*/ 62 w 105"/>
                <a:gd name="T47" fmla="*/ 95 h 103"/>
                <a:gd name="T48" fmla="*/ 77 w 105"/>
                <a:gd name="T49" fmla="*/ 89 h 103"/>
                <a:gd name="T50" fmla="*/ 83 w 105"/>
                <a:gd name="T51" fmla="*/ 95 h 103"/>
                <a:gd name="T52" fmla="*/ 96 w 105"/>
                <a:gd name="T53" fmla="*/ 82 h 103"/>
                <a:gd name="T54" fmla="*/ 91 w 105"/>
                <a:gd name="T55" fmla="*/ 76 h 103"/>
                <a:gd name="T56" fmla="*/ 97 w 105"/>
                <a:gd name="T57" fmla="*/ 61 h 103"/>
                <a:gd name="T58" fmla="*/ 105 w 105"/>
                <a:gd name="T59" fmla="*/ 61 h 103"/>
                <a:gd name="T60" fmla="*/ 105 w 105"/>
                <a:gd name="T61" fmla="*/ 42 h 103"/>
                <a:gd name="T62" fmla="*/ 97 w 105"/>
                <a:gd name="T63" fmla="*/ 42 h 103"/>
                <a:gd name="T64" fmla="*/ 91 w 105"/>
                <a:gd name="T65" fmla="*/ 26 h 103"/>
                <a:gd name="T66" fmla="*/ 53 w 105"/>
                <a:gd name="T67" fmla="*/ 83 h 103"/>
                <a:gd name="T68" fmla="*/ 21 w 105"/>
                <a:gd name="T69" fmla="*/ 51 h 103"/>
                <a:gd name="T70" fmla="*/ 53 w 105"/>
                <a:gd name="T71" fmla="*/ 19 h 103"/>
                <a:gd name="T72" fmla="*/ 85 w 105"/>
                <a:gd name="T73" fmla="*/ 51 h 103"/>
                <a:gd name="T74" fmla="*/ 53 w 105"/>
                <a:gd name="T75" fmla="*/ 8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3">
                  <a:moveTo>
                    <a:pt x="91" y="26"/>
                  </a:moveTo>
                  <a:cubicBezTo>
                    <a:pt x="97" y="20"/>
                    <a:pt x="97" y="20"/>
                    <a:pt x="97" y="20"/>
                  </a:cubicBezTo>
                  <a:cubicBezTo>
                    <a:pt x="84" y="7"/>
                    <a:pt x="84" y="7"/>
                    <a:pt x="84" y="7"/>
                  </a:cubicBezTo>
                  <a:cubicBezTo>
                    <a:pt x="78" y="13"/>
                    <a:pt x="78" y="13"/>
                    <a:pt x="78" y="13"/>
                  </a:cubicBezTo>
                  <a:cubicBezTo>
                    <a:pt x="73" y="10"/>
                    <a:pt x="67" y="8"/>
                    <a:pt x="62" y="7"/>
                  </a:cubicBezTo>
                  <a:cubicBezTo>
                    <a:pt x="62" y="0"/>
                    <a:pt x="62" y="0"/>
                    <a:pt x="62" y="0"/>
                  </a:cubicBezTo>
                  <a:cubicBezTo>
                    <a:pt x="43" y="0"/>
                    <a:pt x="43" y="0"/>
                    <a:pt x="43" y="0"/>
                  </a:cubicBezTo>
                  <a:cubicBezTo>
                    <a:pt x="43" y="7"/>
                    <a:pt x="43" y="7"/>
                    <a:pt x="43" y="7"/>
                  </a:cubicBezTo>
                  <a:cubicBezTo>
                    <a:pt x="38" y="8"/>
                    <a:pt x="33" y="10"/>
                    <a:pt x="28" y="13"/>
                  </a:cubicBezTo>
                  <a:cubicBezTo>
                    <a:pt x="22" y="7"/>
                    <a:pt x="22" y="7"/>
                    <a:pt x="22" y="7"/>
                  </a:cubicBezTo>
                  <a:cubicBezTo>
                    <a:pt x="8" y="20"/>
                    <a:pt x="8" y="20"/>
                    <a:pt x="8" y="20"/>
                  </a:cubicBezTo>
                  <a:cubicBezTo>
                    <a:pt x="15" y="27"/>
                    <a:pt x="15" y="27"/>
                    <a:pt x="15" y="27"/>
                  </a:cubicBezTo>
                  <a:cubicBezTo>
                    <a:pt x="12" y="31"/>
                    <a:pt x="10" y="36"/>
                    <a:pt x="8" y="42"/>
                  </a:cubicBezTo>
                  <a:cubicBezTo>
                    <a:pt x="0" y="42"/>
                    <a:pt x="0" y="42"/>
                    <a:pt x="0" y="42"/>
                  </a:cubicBezTo>
                  <a:cubicBezTo>
                    <a:pt x="0" y="61"/>
                    <a:pt x="0" y="61"/>
                    <a:pt x="0" y="61"/>
                  </a:cubicBezTo>
                  <a:cubicBezTo>
                    <a:pt x="9" y="61"/>
                    <a:pt x="9" y="61"/>
                    <a:pt x="9" y="61"/>
                  </a:cubicBezTo>
                  <a:cubicBezTo>
                    <a:pt x="10" y="66"/>
                    <a:pt x="12" y="71"/>
                    <a:pt x="15" y="76"/>
                  </a:cubicBezTo>
                  <a:cubicBezTo>
                    <a:pt x="9" y="82"/>
                    <a:pt x="9" y="82"/>
                    <a:pt x="9" y="82"/>
                  </a:cubicBezTo>
                  <a:cubicBezTo>
                    <a:pt x="22" y="95"/>
                    <a:pt x="22" y="95"/>
                    <a:pt x="22" y="95"/>
                  </a:cubicBezTo>
                  <a:cubicBezTo>
                    <a:pt x="28" y="89"/>
                    <a:pt x="28" y="89"/>
                    <a:pt x="28" y="89"/>
                  </a:cubicBezTo>
                  <a:cubicBezTo>
                    <a:pt x="33" y="92"/>
                    <a:pt x="38" y="94"/>
                    <a:pt x="43" y="95"/>
                  </a:cubicBezTo>
                  <a:cubicBezTo>
                    <a:pt x="43" y="103"/>
                    <a:pt x="43" y="103"/>
                    <a:pt x="43" y="103"/>
                  </a:cubicBezTo>
                  <a:cubicBezTo>
                    <a:pt x="62" y="103"/>
                    <a:pt x="62" y="103"/>
                    <a:pt x="62" y="103"/>
                  </a:cubicBezTo>
                  <a:cubicBezTo>
                    <a:pt x="62" y="95"/>
                    <a:pt x="62" y="95"/>
                    <a:pt x="62" y="95"/>
                  </a:cubicBezTo>
                  <a:cubicBezTo>
                    <a:pt x="67" y="94"/>
                    <a:pt x="73" y="92"/>
                    <a:pt x="77" y="89"/>
                  </a:cubicBezTo>
                  <a:cubicBezTo>
                    <a:pt x="83" y="95"/>
                    <a:pt x="83" y="95"/>
                    <a:pt x="83" y="95"/>
                  </a:cubicBezTo>
                  <a:cubicBezTo>
                    <a:pt x="96" y="82"/>
                    <a:pt x="96" y="82"/>
                    <a:pt x="96" y="82"/>
                  </a:cubicBezTo>
                  <a:cubicBezTo>
                    <a:pt x="91" y="76"/>
                    <a:pt x="91" y="76"/>
                    <a:pt x="91" y="76"/>
                  </a:cubicBezTo>
                  <a:cubicBezTo>
                    <a:pt x="94" y="71"/>
                    <a:pt x="96" y="66"/>
                    <a:pt x="97" y="61"/>
                  </a:cubicBezTo>
                  <a:cubicBezTo>
                    <a:pt x="105" y="61"/>
                    <a:pt x="105" y="61"/>
                    <a:pt x="105" y="61"/>
                  </a:cubicBezTo>
                  <a:cubicBezTo>
                    <a:pt x="105" y="42"/>
                    <a:pt x="105" y="42"/>
                    <a:pt x="105" y="42"/>
                  </a:cubicBezTo>
                  <a:cubicBezTo>
                    <a:pt x="97" y="42"/>
                    <a:pt x="97" y="42"/>
                    <a:pt x="97" y="42"/>
                  </a:cubicBezTo>
                  <a:cubicBezTo>
                    <a:pt x="96" y="36"/>
                    <a:pt x="94" y="31"/>
                    <a:pt x="91" y="26"/>
                  </a:cubicBezTo>
                  <a:close/>
                  <a:moveTo>
                    <a:pt x="53" y="83"/>
                  </a:moveTo>
                  <a:cubicBezTo>
                    <a:pt x="35" y="83"/>
                    <a:pt x="21" y="69"/>
                    <a:pt x="21" y="51"/>
                  </a:cubicBezTo>
                  <a:cubicBezTo>
                    <a:pt x="21" y="33"/>
                    <a:pt x="35" y="19"/>
                    <a:pt x="53" y="19"/>
                  </a:cubicBezTo>
                  <a:cubicBezTo>
                    <a:pt x="71" y="19"/>
                    <a:pt x="85" y="33"/>
                    <a:pt x="85" y="51"/>
                  </a:cubicBezTo>
                  <a:cubicBezTo>
                    <a:pt x="85" y="69"/>
                    <a:pt x="71" y="83"/>
                    <a:pt x="53" y="8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sp>
          <p:nvSpPr>
            <p:cNvPr id="56" name="Oval 150"/>
            <p:cNvSpPr>
              <a:spLocks noChangeArrowheads="1"/>
            </p:cNvSpPr>
            <p:nvPr/>
          </p:nvSpPr>
          <p:spPr bwMode="auto">
            <a:xfrm>
              <a:off x="5091176" y="5199535"/>
              <a:ext cx="37370" cy="3737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861" tIns="60931" rIns="121861" bIns="60931" numCol="1" anchor="t" anchorCtr="0" compatLnSpc="1"/>
            <a:lstStyle/>
            <a:p>
              <a:endParaRPr lang="zh-CN" altLang="en-US" sz="3200">
                <a:solidFill>
                  <a:prstClr val="black"/>
                </a:solidFill>
                <a:cs typeface="+mn-ea"/>
                <a:sym typeface="+mn-lt"/>
              </a:endParaRPr>
            </a:p>
          </p:txBody>
        </p:sp>
      </p:grpSp>
      <p:sp>
        <p:nvSpPr>
          <p:cNvPr id="57" name="carrie"/>
          <p:cNvSpPr txBox="1"/>
          <p:nvPr>
            <p:custDataLst>
              <p:tags r:id="rId9"/>
            </p:custDataLst>
          </p:nvPr>
        </p:nvSpPr>
        <p:spPr>
          <a:xfrm>
            <a:off x="9004539" y="2331341"/>
            <a:ext cx="1782339" cy="338382"/>
          </a:xfrm>
          <a:prstGeom prst="rect">
            <a:avLst/>
          </a:prstGeom>
          <a:noFill/>
        </p:spPr>
        <p:txBody>
          <a:bodyPr wrap="square" lIns="91396" tIns="45698" rIns="91396" bIns="45698" rtlCol="0">
            <a:spAutoFit/>
          </a:bodyPr>
          <a:lstStyle/>
          <a:p>
            <a:r>
              <a:rPr lang="zh-CN" altLang="en-US" sz="1600" dirty="0">
                <a:solidFill>
                  <a:schemeClr val="tx1">
                    <a:lumMod val="75000"/>
                    <a:lumOff val="25000"/>
                  </a:schemeClr>
                </a:solidFill>
                <a:cs typeface="+mn-ea"/>
                <a:sym typeface="+mn-lt"/>
              </a:rPr>
              <a:t>这是小标题</a:t>
            </a:r>
          </a:p>
        </p:txBody>
      </p:sp>
      <p:sp>
        <p:nvSpPr>
          <p:cNvPr id="58" name="carrie"/>
          <p:cNvSpPr txBox="1"/>
          <p:nvPr>
            <p:custDataLst>
              <p:tags r:id="rId10"/>
            </p:custDataLst>
          </p:nvPr>
        </p:nvSpPr>
        <p:spPr>
          <a:xfrm>
            <a:off x="8831782" y="2750647"/>
            <a:ext cx="2114147" cy="461620"/>
          </a:xfrm>
          <a:prstGeom prst="rect">
            <a:avLst/>
          </a:prstGeom>
          <a:noFill/>
        </p:spPr>
        <p:txBody>
          <a:bodyPr wrap="square" lIns="91396" tIns="45698" rIns="91396" bIns="45698" rtlCol="0">
            <a:spAutoFit/>
          </a:bodyPr>
          <a:lstStyle/>
          <a:p>
            <a:pPr algn="ctr"/>
            <a:r>
              <a:rPr lang="zh-CN" altLang="en-US" sz="1200" dirty="0">
                <a:solidFill>
                  <a:schemeClr val="tx1">
                    <a:lumMod val="50000"/>
                    <a:lumOff val="50000"/>
                  </a:schemeClr>
                </a:solidFill>
                <a:cs typeface="+mn-ea"/>
                <a:sym typeface="+mn-lt"/>
              </a:rPr>
              <a:t>文艺让生活更有范文艺让生活更有范</a:t>
            </a:r>
          </a:p>
        </p:txBody>
      </p:sp>
      <p:sp>
        <p:nvSpPr>
          <p:cNvPr id="59" name="carrie"/>
          <p:cNvSpPr txBox="1"/>
          <p:nvPr>
            <p:custDataLst>
              <p:tags r:id="rId11"/>
            </p:custDataLst>
          </p:nvPr>
        </p:nvSpPr>
        <p:spPr>
          <a:xfrm>
            <a:off x="8940709" y="4196244"/>
            <a:ext cx="1782339" cy="338382"/>
          </a:xfrm>
          <a:prstGeom prst="rect">
            <a:avLst/>
          </a:prstGeom>
          <a:noFill/>
        </p:spPr>
        <p:txBody>
          <a:bodyPr wrap="square" lIns="91396" tIns="45698" rIns="91396" bIns="45698" rtlCol="0">
            <a:spAutoFit/>
          </a:bodyPr>
          <a:lstStyle/>
          <a:p>
            <a:r>
              <a:rPr lang="zh-CN" altLang="en-US" sz="1600" dirty="0">
                <a:solidFill>
                  <a:schemeClr val="tx1">
                    <a:lumMod val="75000"/>
                    <a:lumOff val="25000"/>
                  </a:schemeClr>
                </a:solidFill>
                <a:cs typeface="+mn-ea"/>
                <a:sym typeface="+mn-lt"/>
              </a:rPr>
              <a:t>这是小标题</a:t>
            </a:r>
          </a:p>
        </p:txBody>
      </p:sp>
      <p:sp>
        <p:nvSpPr>
          <p:cNvPr id="60" name="carrie"/>
          <p:cNvSpPr txBox="1"/>
          <p:nvPr>
            <p:custDataLst>
              <p:tags r:id="rId12"/>
            </p:custDataLst>
          </p:nvPr>
        </p:nvSpPr>
        <p:spPr>
          <a:xfrm>
            <a:off x="8767951" y="4615552"/>
            <a:ext cx="2114147" cy="461620"/>
          </a:xfrm>
          <a:prstGeom prst="rect">
            <a:avLst/>
          </a:prstGeom>
          <a:noFill/>
        </p:spPr>
        <p:txBody>
          <a:bodyPr wrap="square" lIns="91396" tIns="45698" rIns="91396" bIns="45698" rtlCol="0">
            <a:spAutoFit/>
          </a:bodyPr>
          <a:lstStyle/>
          <a:p>
            <a:pPr algn="ctr"/>
            <a:r>
              <a:rPr lang="zh-CN" altLang="en-US" sz="1200" dirty="0">
                <a:solidFill>
                  <a:schemeClr val="tx1">
                    <a:lumMod val="50000"/>
                    <a:lumOff val="50000"/>
                  </a:schemeClr>
                </a:solidFill>
                <a:cs typeface="+mn-ea"/>
                <a:sym typeface="+mn-lt"/>
              </a:rPr>
              <a:t>文艺让生活更有范文艺让生活更有范</a:t>
            </a:r>
          </a:p>
        </p:txBody>
      </p:sp>
      <p:sp>
        <p:nvSpPr>
          <p:cNvPr id="61" name="carrie"/>
          <p:cNvSpPr txBox="1"/>
          <p:nvPr>
            <p:custDataLst>
              <p:tags r:id="rId13"/>
            </p:custDataLst>
          </p:nvPr>
        </p:nvSpPr>
        <p:spPr>
          <a:xfrm>
            <a:off x="1522156" y="2331341"/>
            <a:ext cx="1782339" cy="338382"/>
          </a:xfrm>
          <a:prstGeom prst="rect">
            <a:avLst/>
          </a:prstGeom>
          <a:noFill/>
        </p:spPr>
        <p:txBody>
          <a:bodyPr wrap="square" lIns="91396" tIns="45698" rIns="91396" bIns="45698" rtlCol="0">
            <a:spAutoFit/>
          </a:bodyPr>
          <a:lstStyle/>
          <a:p>
            <a:r>
              <a:rPr lang="zh-CN" altLang="en-US" sz="1600" dirty="0">
                <a:solidFill>
                  <a:schemeClr val="tx1">
                    <a:lumMod val="75000"/>
                    <a:lumOff val="25000"/>
                  </a:schemeClr>
                </a:solidFill>
                <a:cs typeface="+mn-ea"/>
                <a:sym typeface="+mn-lt"/>
              </a:rPr>
              <a:t>这是小标题</a:t>
            </a:r>
          </a:p>
        </p:txBody>
      </p:sp>
      <p:sp>
        <p:nvSpPr>
          <p:cNvPr id="62" name="carrie"/>
          <p:cNvSpPr txBox="1"/>
          <p:nvPr>
            <p:custDataLst>
              <p:tags r:id="rId14"/>
            </p:custDataLst>
          </p:nvPr>
        </p:nvSpPr>
        <p:spPr>
          <a:xfrm>
            <a:off x="1349398" y="2750647"/>
            <a:ext cx="2114147" cy="461620"/>
          </a:xfrm>
          <a:prstGeom prst="rect">
            <a:avLst/>
          </a:prstGeom>
          <a:noFill/>
        </p:spPr>
        <p:txBody>
          <a:bodyPr wrap="square" lIns="91396" tIns="45698" rIns="91396" bIns="45698" rtlCol="0">
            <a:spAutoFit/>
          </a:bodyPr>
          <a:lstStyle/>
          <a:p>
            <a:pPr algn="ctr"/>
            <a:r>
              <a:rPr lang="zh-CN" altLang="en-US" sz="1200" dirty="0">
                <a:solidFill>
                  <a:schemeClr val="tx1">
                    <a:lumMod val="50000"/>
                    <a:lumOff val="50000"/>
                  </a:schemeClr>
                </a:solidFill>
                <a:cs typeface="+mn-ea"/>
                <a:sym typeface="+mn-lt"/>
              </a:rPr>
              <a:t>文艺让生活更有范文艺让生活更有范</a:t>
            </a:r>
          </a:p>
        </p:txBody>
      </p:sp>
      <p:sp>
        <p:nvSpPr>
          <p:cNvPr id="63" name="carrie"/>
          <p:cNvSpPr txBox="1"/>
          <p:nvPr>
            <p:custDataLst>
              <p:tags r:id="rId15"/>
            </p:custDataLst>
          </p:nvPr>
        </p:nvSpPr>
        <p:spPr>
          <a:xfrm>
            <a:off x="1458325" y="4196244"/>
            <a:ext cx="1782339" cy="338382"/>
          </a:xfrm>
          <a:prstGeom prst="rect">
            <a:avLst/>
          </a:prstGeom>
          <a:noFill/>
        </p:spPr>
        <p:txBody>
          <a:bodyPr wrap="square" lIns="91396" tIns="45698" rIns="91396" bIns="45698" rtlCol="0">
            <a:spAutoFit/>
          </a:bodyPr>
          <a:lstStyle/>
          <a:p>
            <a:r>
              <a:rPr lang="zh-CN" altLang="en-US" sz="1600" dirty="0">
                <a:solidFill>
                  <a:schemeClr val="tx1">
                    <a:lumMod val="75000"/>
                    <a:lumOff val="25000"/>
                  </a:schemeClr>
                </a:solidFill>
                <a:cs typeface="+mn-ea"/>
                <a:sym typeface="+mn-lt"/>
              </a:rPr>
              <a:t>这是小标题</a:t>
            </a:r>
          </a:p>
        </p:txBody>
      </p:sp>
      <p:sp>
        <p:nvSpPr>
          <p:cNvPr id="64" name="carrie"/>
          <p:cNvSpPr txBox="1"/>
          <p:nvPr>
            <p:custDataLst>
              <p:tags r:id="rId16"/>
            </p:custDataLst>
          </p:nvPr>
        </p:nvSpPr>
        <p:spPr>
          <a:xfrm>
            <a:off x="1285568" y="4615552"/>
            <a:ext cx="2114147" cy="461620"/>
          </a:xfrm>
          <a:prstGeom prst="rect">
            <a:avLst/>
          </a:prstGeom>
          <a:noFill/>
        </p:spPr>
        <p:txBody>
          <a:bodyPr wrap="square" lIns="91396" tIns="45698" rIns="91396" bIns="45698" rtlCol="0">
            <a:spAutoFit/>
          </a:bodyPr>
          <a:lstStyle/>
          <a:p>
            <a:pPr algn="ctr"/>
            <a:r>
              <a:rPr lang="zh-CN" altLang="en-US" sz="1200" dirty="0">
                <a:solidFill>
                  <a:schemeClr val="tx1">
                    <a:lumMod val="50000"/>
                    <a:lumOff val="50000"/>
                  </a:schemeClr>
                </a:solidFill>
                <a:cs typeface="+mn-ea"/>
                <a:sym typeface="+mn-lt"/>
              </a:rPr>
              <a:t>文艺让生活更有范文艺让生活更有范</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18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210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240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nodeType="withEffect">
                                  <p:stCondLst>
                                    <p:cond delay="27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nodeType="withEffect">
                                  <p:stCondLst>
                                    <p:cond delay="30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33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grpId="0" nodeType="withEffect">
                                  <p:stCondLst>
                                    <p:cond delay="30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6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500"/>
                                        <p:tgtEl>
                                          <p:spTgt spid="58"/>
                                        </p:tgtEl>
                                      </p:cBhvr>
                                    </p:animEffect>
                                  </p:childTnLst>
                                </p:cTn>
                              </p:par>
                              <p:par>
                                <p:cTn id="36" presetID="10" presetClass="entr" presetSubtype="0" fill="hold" grpId="0" nodeType="withEffect">
                                  <p:stCondLst>
                                    <p:cond delay="900"/>
                                  </p:stCondLst>
                                  <p:childTnLst>
                                    <p:set>
                                      <p:cBhvr>
                                        <p:cTn id="37" dur="1" fill="hold">
                                          <p:stCondLst>
                                            <p:cond delay="0"/>
                                          </p:stCondLst>
                                        </p:cTn>
                                        <p:tgtEl>
                                          <p:spTgt spid="59"/>
                                        </p:tgtEl>
                                        <p:attrNameLst>
                                          <p:attrName>style.visibility</p:attrName>
                                        </p:attrNameLst>
                                      </p:cBhvr>
                                      <p:to>
                                        <p:strVal val="visible"/>
                                      </p:to>
                                    </p:set>
                                    <p:animEffect transition="in" filter="fade">
                                      <p:cBhvr>
                                        <p:cTn id="38" dur="500"/>
                                        <p:tgtEl>
                                          <p:spTgt spid="59"/>
                                        </p:tgtEl>
                                      </p:cBhvr>
                                    </p:animEffect>
                                  </p:childTnLst>
                                </p:cTn>
                              </p:par>
                              <p:par>
                                <p:cTn id="39" presetID="10" presetClass="entr" presetSubtype="0" fill="hold" grpId="0" nodeType="withEffect">
                                  <p:stCondLst>
                                    <p:cond delay="1200"/>
                                  </p:stCondLst>
                                  <p:childTnLst>
                                    <p:set>
                                      <p:cBhvr>
                                        <p:cTn id="40" dur="1" fill="hold">
                                          <p:stCondLst>
                                            <p:cond delay="0"/>
                                          </p:stCondLst>
                                        </p:cTn>
                                        <p:tgtEl>
                                          <p:spTgt spid="60"/>
                                        </p:tgtEl>
                                        <p:attrNameLst>
                                          <p:attrName>style.visibility</p:attrName>
                                        </p:attrNameLst>
                                      </p:cBhvr>
                                      <p:to>
                                        <p:strVal val="visible"/>
                                      </p:to>
                                    </p:set>
                                    <p:animEffect transition="in" filter="fade">
                                      <p:cBhvr>
                                        <p:cTn id="41" dur="500"/>
                                        <p:tgtEl>
                                          <p:spTgt spid="60"/>
                                        </p:tgtEl>
                                      </p:cBhvr>
                                    </p:animEffect>
                                  </p:childTnLst>
                                </p:cTn>
                              </p:par>
                              <p:par>
                                <p:cTn id="42" presetID="10" presetClass="entr" presetSubtype="0" fill="hold" grpId="0" nodeType="withEffect">
                                  <p:stCondLst>
                                    <p:cond delay="1500"/>
                                  </p:stCondLst>
                                  <p:childTnLst>
                                    <p:set>
                                      <p:cBhvr>
                                        <p:cTn id="43" dur="1" fill="hold">
                                          <p:stCondLst>
                                            <p:cond delay="0"/>
                                          </p:stCondLst>
                                        </p:cTn>
                                        <p:tgtEl>
                                          <p:spTgt spid="61"/>
                                        </p:tgtEl>
                                        <p:attrNameLst>
                                          <p:attrName>style.visibility</p:attrName>
                                        </p:attrNameLst>
                                      </p:cBhvr>
                                      <p:to>
                                        <p:strVal val="visible"/>
                                      </p:to>
                                    </p:set>
                                    <p:animEffect transition="in" filter="fade">
                                      <p:cBhvr>
                                        <p:cTn id="44" dur="500"/>
                                        <p:tgtEl>
                                          <p:spTgt spid="61"/>
                                        </p:tgtEl>
                                      </p:cBhvr>
                                    </p:animEffect>
                                  </p:childTnLst>
                                </p:cTn>
                              </p:par>
                              <p:par>
                                <p:cTn id="45" presetID="10" presetClass="entr" presetSubtype="0" fill="hold" grpId="0" nodeType="withEffect">
                                  <p:stCondLst>
                                    <p:cond delay="180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500"/>
                                        <p:tgtEl>
                                          <p:spTgt spid="62"/>
                                        </p:tgtEl>
                                      </p:cBhvr>
                                    </p:animEffect>
                                  </p:childTnLst>
                                </p:cTn>
                              </p:par>
                              <p:par>
                                <p:cTn id="48" presetID="10" presetClass="entr" presetSubtype="0" fill="hold" grpId="0" nodeType="withEffect">
                                  <p:stCondLst>
                                    <p:cond delay="2100"/>
                                  </p:stCondLst>
                                  <p:childTnLst>
                                    <p:set>
                                      <p:cBhvr>
                                        <p:cTn id="49" dur="1" fill="hold">
                                          <p:stCondLst>
                                            <p:cond delay="0"/>
                                          </p:stCondLst>
                                        </p:cTn>
                                        <p:tgtEl>
                                          <p:spTgt spid="63"/>
                                        </p:tgtEl>
                                        <p:attrNameLst>
                                          <p:attrName>style.visibility</p:attrName>
                                        </p:attrNameLst>
                                      </p:cBhvr>
                                      <p:to>
                                        <p:strVal val="visible"/>
                                      </p:to>
                                    </p:set>
                                    <p:animEffect transition="in" filter="fade">
                                      <p:cBhvr>
                                        <p:cTn id="50" dur="500"/>
                                        <p:tgtEl>
                                          <p:spTgt spid="63"/>
                                        </p:tgtEl>
                                      </p:cBhvr>
                                    </p:animEffect>
                                  </p:childTnLst>
                                </p:cTn>
                              </p:par>
                              <p:par>
                                <p:cTn id="51" presetID="10" presetClass="entr" presetSubtype="0" fill="hold" grpId="0" nodeType="withEffect">
                                  <p:stCondLst>
                                    <p:cond delay="2400"/>
                                  </p:stCondLst>
                                  <p:childTnLst>
                                    <p:set>
                                      <p:cBhvr>
                                        <p:cTn id="52" dur="1" fill="hold">
                                          <p:stCondLst>
                                            <p:cond delay="0"/>
                                          </p:stCondLst>
                                        </p:cTn>
                                        <p:tgtEl>
                                          <p:spTgt spid="64"/>
                                        </p:tgtEl>
                                        <p:attrNameLst>
                                          <p:attrName>style.visibility</p:attrName>
                                        </p:attrNameLst>
                                      </p:cBhvr>
                                      <p:to>
                                        <p:strVal val="visible"/>
                                      </p:to>
                                    </p:set>
                                    <p:animEffect transition="in" filter="fade">
                                      <p:cBhvr>
                                        <p:cTn id="5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39" grpId="0" animBg="1"/>
      <p:bldP spid="40" grpId="0" animBg="1"/>
      <p:bldP spid="57" grpId="0"/>
      <p:bldP spid="58" grpId="0"/>
      <p:bldP spid="59" grpId="0"/>
      <p:bldP spid="60" grpId="0"/>
      <p:bldP spid="61" grpId="0"/>
      <p:bldP spid="62" grpId="0"/>
      <p:bldP spid="63" grpId="0"/>
      <p:bldP spid="6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图片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02079" y="1780493"/>
            <a:ext cx="2918940" cy="1445877"/>
          </a:xfrm>
          <a:prstGeom prst="rect">
            <a:avLst/>
          </a:prstGeom>
        </p:spPr>
      </p:pic>
      <p:sp>
        <p:nvSpPr>
          <p:cNvPr id="57" name="文本框 3"/>
          <p:cNvSpPr txBox="1"/>
          <p:nvPr/>
        </p:nvSpPr>
        <p:spPr>
          <a:xfrm>
            <a:off x="5455610" y="916497"/>
            <a:ext cx="2893858" cy="430887"/>
          </a:xfrm>
          <a:prstGeom prst="rect">
            <a:avLst/>
          </a:prstGeom>
          <a:noFill/>
          <a:effectLst/>
        </p:spPr>
        <p:txBody>
          <a:bodyPr wrap="square" rtlCol="0">
            <a:spAutoFit/>
          </a:bodyPr>
          <a:lstStyle/>
          <a:p>
            <a:pPr algn="ctr"/>
            <a:r>
              <a:rPr lang="en-US" altLang="zh-CN" sz="2200" dirty="0">
                <a:solidFill>
                  <a:schemeClr val="tx1">
                    <a:lumMod val="65000"/>
                    <a:lumOff val="35000"/>
                  </a:schemeClr>
                </a:solidFill>
                <a:cs typeface="+mn-ea"/>
                <a:sym typeface="+mn-lt"/>
              </a:rPr>
              <a:t> </a:t>
            </a:r>
            <a:r>
              <a:rPr lang="zh-CN" altLang="en-US" sz="2200" dirty="0">
                <a:solidFill>
                  <a:schemeClr val="tx1">
                    <a:lumMod val="65000"/>
                    <a:lumOff val="35000"/>
                  </a:schemeClr>
                </a:solidFill>
                <a:cs typeface="+mn-ea"/>
                <a:sym typeface="+mn-lt"/>
              </a:rPr>
              <a:t>请添加标题内容</a:t>
            </a:r>
          </a:p>
        </p:txBody>
      </p:sp>
      <p:sp>
        <p:nvSpPr>
          <p:cNvPr id="58" name="文本框 3"/>
          <p:cNvSpPr txBox="1"/>
          <p:nvPr/>
        </p:nvSpPr>
        <p:spPr>
          <a:xfrm>
            <a:off x="5541376" y="1715543"/>
            <a:ext cx="2893858" cy="430887"/>
          </a:xfrm>
          <a:prstGeom prst="rect">
            <a:avLst/>
          </a:prstGeom>
          <a:noFill/>
          <a:effectLst/>
        </p:spPr>
        <p:txBody>
          <a:bodyPr wrap="square" rtlCol="0">
            <a:spAutoFit/>
          </a:bodyPr>
          <a:lstStyle/>
          <a:p>
            <a:pPr algn="ctr"/>
            <a:r>
              <a:rPr lang="zh-CN" altLang="en-US" sz="2200" dirty="0">
                <a:solidFill>
                  <a:schemeClr val="tx1">
                    <a:lumMod val="65000"/>
                    <a:lumOff val="35000"/>
                  </a:schemeClr>
                </a:solidFill>
                <a:cs typeface="+mn-ea"/>
                <a:sym typeface="+mn-lt"/>
              </a:rPr>
              <a:t>请添加标题内容</a:t>
            </a:r>
          </a:p>
        </p:txBody>
      </p:sp>
      <p:sp>
        <p:nvSpPr>
          <p:cNvPr id="59" name="文本框 3"/>
          <p:cNvSpPr txBox="1"/>
          <p:nvPr/>
        </p:nvSpPr>
        <p:spPr>
          <a:xfrm>
            <a:off x="5553559" y="2522390"/>
            <a:ext cx="2893858" cy="430887"/>
          </a:xfrm>
          <a:prstGeom prst="rect">
            <a:avLst/>
          </a:prstGeom>
          <a:noFill/>
          <a:effectLst/>
        </p:spPr>
        <p:txBody>
          <a:bodyPr wrap="square" rtlCol="0">
            <a:spAutoFit/>
          </a:bodyPr>
          <a:lstStyle/>
          <a:p>
            <a:pPr algn="ctr"/>
            <a:r>
              <a:rPr lang="zh-CN" altLang="en-US" sz="2200" dirty="0">
                <a:solidFill>
                  <a:schemeClr val="tx1">
                    <a:lumMod val="65000"/>
                    <a:lumOff val="35000"/>
                  </a:schemeClr>
                </a:solidFill>
                <a:cs typeface="+mn-ea"/>
                <a:sym typeface="+mn-lt"/>
              </a:rPr>
              <a:t>请添加标题内容</a:t>
            </a:r>
          </a:p>
        </p:txBody>
      </p:sp>
      <p:sp>
        <p:nvSpPr>
          <p:cNvPr id="60" name="文本框 3"/>
          <p:cNvSpPr txBox="1"/>
          <p:nvPr/>
        </p:nvSpPr>
        <p:spPr>
          <a:xfrm>
            <a:off x="5538407" y="3314478"/>
            <a:ext cx="2893858" cy="430887"/>
          </a:xfrm>
          <a:prstGeom prst="rect">
            <a:avLst/>
          </a:prstGeom>
          <a:noFill/>
          <a:effectLst/>
        </p:spPr>
        <p:txBody>
          <a:bodyPr wrap="square" rtlCol="0">
            <a:spAutoFit/>
          </a:bodyPr>
          <a:lstStyle/>
          <a:p>
            <a:pPr algn="ctr"/>
            <a:r>
              <a:rPr lang="zh-CN" altLang="en-US" sz="2200" dirty="0">
                <a:solidFill>
                  <a:schemeClr val="tx1">
                    <a:lumMod val="65000"/>
                    <a:lumOff val="35000"/>
                  </a:schemeClr>
                </a:solidFill>
                <a:cs typeface="+mn-ea"/>
                <a:sym typeface="+mn-lt"/>
              </a:rPr>
              <a:t>请添加标题内容</a:t>
            </a:r>
          </a:p>
        </p:txBody>
      </p:sp>
      <p:sp>
        <p:nvSpPr>
          <p:cNvPr id="61" name="圆角矩形 60"/>
          <p:cNvSpPr/>
          <p:nvPr/>
        </p:nvSpPr>
        <p:spPr>
          <a:xfrm>
            <a:off x="5312973" y="897799"/>
            <a:ext cx="3536634" cy="461665"/>
          </a:xfrm>
          <a:prstGeom prst="roundRect">
            <a:avLst/>
          </a:prstGeom>
          <a:noFill/>
          <a:ln>
            <a:solidFill>
              <a:srgbClr val="82B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62" name="组合 61"/>
          <p:cNvGrpSpPr/>
          <p:nvPr/>
        </p:nvGrpSpPr>
        <p:grpSpPr>
          <a:xfrm>
            <a:off x="4666415" y="1594772"/>
            <a:ext cx="582917" cy="645953"/>
            <a:chOff x="946187" y="2814803"/>
            <a:chExt cx="684075" cy="758050"/>
          </a:xfrm>
        </p:grpSpPr>
        <p:sp>
          <p:nvSpPr>
            <p:cNvPr id="63" name="Freeform 5"/>
            <p:cNvSpPr/>
            <p:nvPr/>
          </p:nvSpPr>
          <p:spPr bwMode="auto">
            <a:xfrm rot="5400000">
              <a:off x="909200" y="2851790"/>
              <a:ext cx="758050" cy="68407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rgbClr val="49A083"/>
            </a:solidFill>
            <a:ln>
              <a:solidFill>
                <a:schemeClr val="accent3">
                  <a:lumMod val="20000"/>
                  <a:lumOff val="80000"/>
                </a:schemeClr>
              </a:solidFill>
            </a:ln>
            <a:effectLst/>
          </p:spPr>
          <p:txBody>
            <a:bodyPr/>
            <a:lstStyle/>
            <a:p>
              <a:endParaRPr lang="zh-CN" altLang="en-US" sz="2000" dirty="0">
                <a:solidFill>
                  <a:schemeClr val="accent3">
                    <a:lumMod val="20000"/>
                    <a:lumOff val="80000"/>
                  </a:schemeClr>
                </a:solidFill>
                <a:cs typeface="+mn-ea"/>
                <a:sym typeface="+mn-lt"/>
              </a:endParaRPr>
            </a:p>
          </p:txBody>
        </p:sp>
        <p:sp>
          <p:nvSpPr>
            <p:cNvPr id="64" name="矩形 63"/>
            <p:cNvSpPr/>
            <p:nvPr/>
          </p:nvSpPr>
          <p:spPr>
            <a:xfrm>
              <a:off x="953099" y="2959044"/>
              <a:ext cx="619286" cy="541781"/>
            </a:xfrm>
            <a:prstGeom prst="rect">
              <a:avLst/>
            </a:prstGeom>
          </p:spPr>
          <p:txBody>
            <a:bodyPr wrap="none">
              <a:spAutoFit/>
            </a:bodyPr>
            <a:lstStyle/>
            <a:p>
              <a:r>
                <a:rPr lang="en-US" altLang="zh-CN" sz="2400" b="1" dirty="0">
                  <a:solidFill>
                    <a:schemeClr val="bg1"/>
                  </a:solidFill>
                  <a:cs typeface="+mn-ea"/>
                  <a:sym typeface="+mn-lt"/>
                </a:rPr>
                <a:t>02</a:t>
              </a:r>
              <a:endParaRPr lang="zh-CN" altLang="en-US" b="1" dirty="0">
                <a:solidFill>
                  <a:schemeClr val="bg1"/>
                </a:solidFill>
                <a:cs typeface="+mn-ea"/>
                <a:sym typeface="+mn-lt"/>
              </a:endParaRPr>
            </a:p>
          </p:txBody>
        </p:sp>
      </p:grpSp>
      <p:grpSp>
        <p:nvGrpSpPr>
          <p:cNvPr id="65" name="组合 64"/>
          <p:cNvGrpSpPr/>
          <p:nvPr/>
        </p:nvGrpSpPr>
        <p:grpSpPr>
          <a:xfrm>
            <a:off x="4666415" y="2399571"/>
            <a:ext cx="582917" cy="645953"/>
            <a:chOff x="946187" y="2814803"/>
            <a:chExt cx="684075" cy="758050"/>
          </a:xfrm>
        </p:grpSpPr>
        <p:sp>
          <p:nvSpPr>
            <p:cNvPr id="66" name="Freeform 5"/>
            <p:cNvSpPr/>
            <p:nvPr/>
          </p:nvSpPr>
          <p:spPr bwMode="auto">
            <a:xfrm rot="5400000">
              <a:off x="909200" y="2851790"/>
              <a:ext cx="758050" cy="68407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rgbClr val="49A083"/>
            </a:solidFill>
            <a:ln>
              <a:solidFill>
                <a:schemeClr val="accent3">
                  <a:lumMod val="20000"/>
                  <a:lumOff val="80000"/>
                </a:schemeClr>
              </a:solidFill>
            </a:ln>
            <a:effectLst/>
          </p:spPr>
          <p:txBody>
            <a:bodyPr/>
            <a:lstStyle/>
            <a:p>
              <a:endParaRPr lang="zh-CN" altLang="en-US" sz="2000" dirty="0">
                <a:solidFill>
                  <a:schemeClr val="accent3">
                    <a:lumMod val="20000"/>
                    <a:lumOff val="80000"/>
                  </a:schemeClr>
                </a:solidFill>
                <a:cs typeface="+mn-ea"/>
                <a:sym typeface="+mn-lt"/>
              </a:endParaRPr>
            </a:p>
          </p:txBody>
        </p:sp>
        <p:sp>
          <p:nvSpPr>
            <p:cNvPr id="67" name="矩形 66"/>
            <p:cNvSpPr/>
            <p:nvPr/>
          </p:nvSpPr>
          <p:spPr>
            <a:xfrm>
              <a:off x="966767" y="2936688"/>
              <a:ext cx="619286" cy="541781"/>
            </a:xfrm>
            <a:prstGeom prst="rect">
              <a:avLst/>
            </a:prstGeom>
          </p:spPr>
          <p:txBody>
            <a:bodyPr wrap="none">
              <a:spAutoFit/>
            </a:bodyPr>
            <a:lstStyle/>
            <a:p>
              <a:r>
                <a:rPr lang="en-US" altLang="zh-CN" sz="2400" b="1" dirty="0">
                  <a:solidFill>
                    <a:schemeClr val="bg1"/>
                  </a:solidFill>
                  <a:cs typeface="+mn-ea"/>
                  <a:sym typeface="+mn-lt"/>
                </a:rPr>
                <a:t>03</a:t>
              </a:r>
              <a:endParaRPr lang="zh-CN" altLang="en-US" b="1" dirty="0">
                <a:solidFill>
                  <a:schemeClr val="bg1"/>
                </a:solidFill>
                <a:cs typeface="+mn-ea"/>
                <a:sym typeface="+mn-lt"/>
              </a:endParaRPr>
            </a:p>
          </p:txBody>
        </p:sp>
      </p:grpSp>
      <p:grpSp>
        <p:nvGrpSpPr>
          <p:cNvPr id="68" name="组合 67"/>
          <p:cNvGrpSpPr/>
          <p:nvPr/>
        </p:nvGrpSpPr>
        <p:grpSpPr>
          <a:xfrm>
            <a:off x="4666415" y="3204370"/>
            <a:ext cx="582917" cy="645953"/>
            <a:chOff x="946187" y="2814803"/>
            <a:chExt cx="684075" cy="758050"/>
          </a:xfrm>
        </p:grpSpPr>
        <p:sp>
          <p:nvSpPr>
            <p:cNvPr id="69" name="Freeform 5"/>
            <p:cNvSpPr/>
            <p:nvPr/>
          </p:nvSpPr>
          <p:spPr bwMode="auto">
            <a:xfrm rot="5400000">
              <a:off x="909200" y="2851790"/>
              <a:ext cx="758050" cy="68407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rgbClr val="49A083"/>
            </a:solidFill>
            <a:ln>
              <a:solidFill>
                <a:schemeClr val="accent3">
                  <a:lumMod val="20000"/>
                  <a:lumOff val="80000"/>
                </a:schemeClr>
              </a:solidFill>
            </a:ln>
            <a:effectLst/>
          </p:spPr>
          <p:txBody>
            <a:bodyPr/>
            <a:lstStyle/>
            <a:p>
              <a:endParaRPr lang="zh-CN" altLang="en-US" sz="2000" dirty="0">
                <a:solidFill>
                  <a:schemeClr val="accent3">
                    <a:lumMod val="20000"/>
                    <a:lumOff val="80000"/>
                  </a:schemeClr>
                </a:solidFill>
                <a:cs typeface="+mn-ea"/>
                <a:sym typeface="+mn-lt"/>
              </a:endParaRPr>
            </a:p>
          </p:txBody>
        </p:sp>
        <p:sp>
          <p:nvSpPr>
            <p:cNvPr id="70" name="矩形 69"/>
            <p:cNvSpPr/>
            <p:nvPr/>
          </p:nvSpPr>
          <p:spPr>
            <a:xfrm>
              <a:off x="961761" y="2936688"/>
              <a:ext cx="619286" cy="541781"/>
            </a:xfrm>
            <a:prstGeom prst="rect">
              <a:avLst/>
            </a:prstGeom>
          </p:spPr>
          <p:txBody>
            <a:bodyPr wrap="none">
              <a:spAutoFit/>
            </a:bodyPr>
            <a:lstStyle/>
            <a:p>
              <a:r>
                <a:rPr lang="en-US" altLang="zh-CN" sz="2400" b="1" dirty="0">
                  <a:solidFill>
                    <a:schemeClr val="bg1"/>
                  </a:solidFill>
                  <a:cs typeface="+mn-ea"/>
                  <a:sym typeface="+mn-lt"/>
                </a:rPr>
                <a:t>04</a:t>
              </a:r>
              <a:endParaRPr lang="zh-CN" altLang="en-US" b="1" dirty="0">
                <a:solidFill>
                  <a:schemeClr val="bg1"/>
                </a:solidFill>
                <a:cs typeface="+mn-ea"/>
                <a:sym typeface="+mn-lt"/>
              </a:endParaRPr>
            </a:p>
          </p:txBody>
        </p:sp>
      </p:grpSp>
      <p:sp>
        <p:nvSpPr>
          <p:cNvPr id="71" name="圆角矩形 70"/>
          <p:cNvSpPr/>
          <p:nvPr/>
        </p:nvSpPr>
        <p:spPr>
          <a:xfrm>
            <a:off x="5338328" y="1696493"/>
            <a:ext cx="3536634" cy="461665"/>
          </a:xfrm>
          <a:prstGeom prst="roundRect">
            <a:avLst/>
          </a:prstGeom>
          <a:noFill/>
          <a:ln>
            <a:solidFill>
              <a:srgbClr val="82B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2" name="圆角矩形 71"/>
          <p:cNvSpPr/>
          <p:nvPr/>
        </p:nvSpPr>
        <p:spPr>
          <a:xfrm>
            <a:off x="5338328" y="2503432"/>
            <a:ext cx="3536634" cy="461665"/>
          </a:xfrm>
          <a:prstGeom prst="roundRect">
            <a:avLst/>
          </a:prstGeom>
          <a:noFill/>
          <a:ln>
            <a:solidFill>
              <a:srgbClr val="82B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3" name="圆角矩形 72"/>
          <p:cNvSpPr/>
          <p:nvPr/>
        </p:nvSpPr>
        <p:spPr>
          <a:xfrm>
            <a:off x="5344633" y="3299812"/>
            <a:ext cx="3536634" cy="461665"/>
          </a:xfrm>
          <a:prstGeom prst="roundRect">
            <a:avLst/>
          </a:prstGeom>
          <a:noFill/>
          <a:ln>
            <a:solidFill>
              <a:srgbClr val="82B8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grpSp>
        <p:nvGrpSpPr>
          <p:cNvPr id="74" name="组合 73"/>
          <p:cNvGrpSpPr/>
          <p:nvPr/>
        </p:nvGrpSpPr>
        <p:grpSpPr>
          <a:xfrm>
            <a:off x="4664765" y="789973"/>
            <a:ext cx="584566" cy="645953"/>
            <a:chOff x="944252" y="2814803"/>
            <a:chExt cx="686010" cy="758050"/>
          </a:xfrm>
        </p:grpSpPr>
        <p:sp>
          <p:nvSpPr>
            <p:cNvPr id="75" name="Freeform 5"/>
            <p:cNvSpPr/>
            <p:nvPr/>
          </p:nvSpPr>
          <p:spPr bwMode="auto">
            <a:xfrm rot="5400000">
              <a:off x="909200" y="2851790"/>
              <a:ext cx="758050" cy="684075"/>
            </a:xfrm>
            <a:custGeom>
              <a:avLst/>
              <a:gdLst>
                <a:gd name="T0" fmla="*/ 1136760 w 2740"/>
                <a:gd name="T1" fmla="*/ 1235640 h 2446"/>
                <a:gd name="T2" fmla="*/ 1086026 w 2740"/>
                <a:gd name="T3" fmla="*/ 1286347 h 2446"/>
                <a:gd name="T4" fmla="*/ 1013624 w 2740"/>
                <a:gd name="T5" fmla="*/ 1305028 h 2446"/>
                <a:gd name="T6" fmla="*/ 431239 w 2740"/>
                <a:gd name="T7" fmla="*/ 1305028 h 2446"/>
                <a:gd name="T8" fmla="*/ 362009 w 2740"/>
                <a:gd name="T9" fmla="*/ 1286347 h 2446"/>
                <a:gd name="T10" fmla="*/ 311274 w 2740"/>
                <a:gd name="T11" fmla="*/ 1235107 h 2446"/>
                <a:gd name="T12" fmla="*/ 19025 w 2740"/>
                <a:gd name="T13" fmla="*/ 723770 h 2446"/>
                <a:gd name="T14" fmla="*/ 0 w 2740"/>
                <a:gd name="T15" fmla="*/ 652781 h 2446"/>
                <a:gd name="T16" fmla="*/ 19025 w 2740"/>
                <a:gd name="T17" fmla="*/ 581258 h 2446"/>
                <a:gd name="T18" fmla="*/ 310218 w 2740"/>
                <a:gd name="T19" fmla="*/ 72057 h 2446"/>
                <a:gd name="T20" fmla="*/ 362009 w 2740"/>
                <a:gd name="T21" fmla="*/ 19749 h 2446"/>
                <a:gd name="T22" fmla="*/ 428068 w 2740"/>
                <a:gd name="T23" fmla="*/ 534 h 2446"/>
                <a:gd name="T24" fmla="*/ 1012567 w 2740"/>
                <a:gd name="T25" fmla="*/ 534 h 2446"/>
                <a:gd name="T26" fmla="*/ 1086026 w 2740"/>
                <a:gd name="T27" fmla="*/ 19749 h 2446"/>
                <a:gd name="T28" fmla="*/ 1136760 w 2740"/>
                <a:gd name="T29" fmla="*/ 70456 h 2446"/>
                <a:gd name="T30" fmla="*/ 1427952 w 2740"/>
                <a:gd name="T31" fmla="*/ 579657 h 2446"/>
                <a:gd name="T32" fmla="*/ 1448034 w 2740"/>
                <a:gd name="T33" fmla="*/ 652781 h 2446"/>
                <a:gd name="T34" fmla="*/ 1427423 w 2740"/>
                <a:gd name="T35" fmla="*/ 726439 h 2446"/>
                <a:gd name="T36" fmla="*/ 1136760 w 2740"/>
                <a:gd name="T37" fmla="*/ 1235640 h 24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40"/>
                <a:gd name="T58" fmla="*/ 0 h 2446"/>
                <a:gd name="T59" fmla="*/ 2740 w 2740"/>
                <a:gd name="T60" fmla="*/ 2446 h 24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40" h="2446">
                  <a:moveTo>
                    <a:pt x="2151" y="2315"/>
                  </a:moveTo>
                  <a:cubicBezTo>
                    <a:pt x="2128" y="2353"/>
                    <a:pt x="2096" y="2386"/>
                    <a:pt x="2055" y="2410"/>
                  </a:cubicBezTo>
                  <a:cubicBezTo>
                    <a:pt x="2012" y="2435"/>
                    <a:pt x="1965" y="2446"/>
                    <a:pt x="1918" y="2445"/>
                  </a:cubicBezTo>
                  <a:lnTo>
                    <a:pt x="816" y="2445"/>
                  </a:lnTo>
                  <a:cubicBezTo>
                    <a:pt x="772" y="2445"/>
                    <a:pt x="726" y="2434"/>
                    <a:pt x="685" y="2410"/>
                  </a:cubicBezTo>
                  <a:cubicBezTo>
                    <a:pt x="644" y="2386"/>
                    <a:pt x="611" y="2353"/>
                    <a:pt x="589" y="2314"/>
                  </a:cubicBezTo>
                  <a:lnTo>
                    <a:pt x="36" y="1356"/>
                  </a:lnTo>
                  <a:cubicBezTo>
                    <a:pt x="13" y="1317"/>
                    <a:pt x="0" y="1272"/>
                    <a:pt x="0" y="1223"/>
                  </a:cubicBezTo>
                  <a:cubicBezTo>
                    <a:pt x="0" y="1174"/>
                    <a:pt x="13" y="1129"/>
                    <a:pt x="36" y="1089"/>
                  </a:cubicBezTo>
                  <a:lnTo>
                    <a:pt x="587" y="135"/>
                  </a:lnTo>
                  <a:cubicBezTo>
                    <a:pt x="610" y="96"/>
                    <a:pt x="643" y="61"/>
                    <a:pt x="685" y="37"/>
                  </a:cubicBezTo>
                  <a:cubicBezTo>
                    <a:pt x="724" y="14"/>
                    <a:pt x="767" y="2"/>
                    <a:pt x="810" y="1"/>
                  </a:cubicBezTo>
                  <a:lnTo>
                    <a:pt x="1916" y="1"/>
                  </a:lnTo>
                  <a:cubicBezTo>
                    <a:pt x="1963" y="0"/>
                    <a:pt x="2011" y="11"/>
                    <a:pt x="2055" y="37"/>
                  </a:cubicBezTo>
                  <a:cubicBezTo>
                    <a:pt x="2096" y="60"/>
                    <a:pt x="2129" y="93"/>
                    <a:pt x="2151" y="132"/>
                  </a:cubicBezTo>
                  <a:lnTo>
                    <a:pt x="2702" y="1086"/>
                  </a:lnTo>
                  <a:cubicBezTo>
                    <a:pt x="2726" y="1126"/>
                    <a:pt x="2740" y="1173"/>
                    <a:pt x="2740" y="1223"/>
                  </a:cubicBezTo>
                  <a:cubicBezTo>
                    <a:pt x="2740" y="1274"/>
                    <a:pt x="2726" y="1321"/>
                    <a:pt x="2701" y="1361"/>
                  </a:cubicBezTo>
                  <a:lnTo>
                    <a:pt x="2151" y="2315"/>
                  </a:lnTo>
                  <a:close/>
                </a:path>
              </a:pathLst>
            </a:custGeom>
            <a:solidFill>
              <a:srgbClr val="49A083"/>
            </a:solidFill>
            <a:ln>
              <a:solidFill>
                <a:schemeClr val="accent3">
                  <a:lumMod val="20000"/>
                  <a:lumOff val="80000"/>
                </a:schemeClr>
              </a:solidFill>
            </a:ln>
            <a:effectLst/>
          </p:spPr>
          <p:txBody>
            <a:bodyPr/>
            <a:lstStyle/>
            <a:p>
              <a:endParaRPr lang="zh-CN" altLang="en-US" sz="2000" dirty="0">
                <a:solidFill>
                  <a:schemeClr val="accent3">
                    <a:lumMod val="20000"/>
                    <a:lumOff val="80000"/>
                  </a:schemeClr>
                </a:solidFill>
                <a:cs typeface="+mn-ea"/>
                <a:sym typeface="+mn-lt"/>
              </a:endParaRPr>
            </a:p>
          </p:txBody>
        </p:sp>
        <p:sp>
          <p:nvSpPr>
            <p:cNvPr id="76" name="矩形 75"/>
            <p:cNvSpPr/>
            <p:nvPr/>
          </p:nvSpPr>
          <p:spPr>
            <a:xfrm>
              <a:off x="944252" y="2959044"/>
              <a:ext cx="619286" cy="541781"/>
            </a:xfrm>
            <a:prstGeom prst="rect">
              <a:avLst/>
            </a:prstGeom>
          </p:spPr>
          <p:txBody>
            <a:bodyPr wrap="none">
              <a:spAutoFit/>
            </a:bodyPr>
            <a:lstStyle/>
            <a:p>
              <a:r>
                <a:rPr lang="en-US" altLang="zh-CN" sz="2400" b="1" dirty="0">
                  <a:solidFill>
                    <a:schemeClr val="bg1"/>
                  </a:solidFill>
                  <a:cs typeface="+mn-ea"/>
                  <a:sym typeface="+mn-lt"/>
                </a:rPr>
                <a:t>01</a:t>
              </a:r>
              <a:endParaRPr lang="zh-CN" altLang="en-US" b="1" dirty="0">
                <a:solidFill>
                  <a:schemeClr val="bg1"/>
                </a:solidFill>
                <a:cs typeface="+mn-ea"/>
                <a:sym typeface="+mn-lt"/>
              </a:endParaRPr>
            </a:p>
          </p:txBody>
        </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p:cTn id="7" dur="500" fill="hold"/>
                                        <p:tgtEl>
                                          <p:spTgt spid="56"/>
                                        </p:tgtEl>
                                        <p:attrNameLst>
                                          <p:attrName>ppt_w</p:attrName>
                                        </p:attrNameLst>
                                      </p:cBhvr>
                                      <p:tavLst>
                                        <p:tav tm="0">
                                          <p:val>
                                            <p:fltVal val="0"/>
                                          </p:val>
                                        </p:tav>
                                        <p:tav tm="100000">
                                          <p:val>
                                            <p:strVal val="#ppt_w"/>
                                          </p:val>
                                        </p:tav>
                                      </p:tavLst>
                                    </p:anim>
                                    <p:anim calcmode="lin" valueType="num">
                                      <p:cBhvr>
                                        <p:cTn id="8" dur="500" fill="hold"/>
                                        <p:tgtEl>
                                          <p:spTgt spid="56"/>
                                        </p:tgtEl>
                                        <p:attrNameLst>
                                          <p:attrName>ppt_h</p:attrName>
                                        </p:attrNameLst>
                                      </p:cBhvr>
                                      <p:tavLst>
                                        <p:tav tm="0">
                                          <p:val>
                                            <p:fltVal val="0"/>
                                          </p:val>
                                        </p:tav>
                                        <p:tav tm="100000">
                                          <p:val>
                                            <p:strVal val="#ppt_h"/>
                                          </p:val>
                                        </p:tav>
                                      </p:tavLst>
                                    </p:anim>
                                    <p:animEffect transition="in" filter="fade">
                                      <p:cBhvr>
                                        <p:cTn id="9" dur="500"/>
                                        <p:tgtEl>
                                          <p:spTgt spid="56"/>
                                        </p:tgtEl>
                                      </p:cBhvr>
                                    </p:animEffect>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74"/>
                                        </p:tgtEl>
                                        <p:attrNameLst>
                                          <p:attrName>style.visibility</p:attrName>
                                        </p:attrNameLst>
                                      </p:cBhvr>
                                      <p:to>
                                        <p:strVal val="visible"/>
                                      </p:to>
                                    </p:set>
                                    <p:anim calcmode="lin" valueType="num">
                                      <p:cBhvr additive="base">
                                        <p:cTn id="13" dur="500"/>
                                        <p:tgtEl>
                                          <p:spTgt spid="74"/>
                                        </p:tgtEl>
                                        <p:attrNameLst>
                                          <p:attrName>ppt_x</p:attrName>
                                        </p:attrNameLst>
                                      </p:cBhvr>
                                      <p:tavLst>
                                        <p:tav tm="0">
                                          <p:val>
                                            <p:strVal val="#ppt_x-#ppt_w*1.125000"/>
                                          </p:val>
                                        </p:tav>
                                        <p:tav tm="100000">
                                          <p:val>
                                            <p:strVal val="#ppt_x"/>
                                          </p:val>
                                        </p:tav>
                                      </p:tavLst>
                                    </p:anim>
                                    <p:animEffect transition="in" filter="wipe(right)">
                                      <p:cBhvr>
                                        <p:cTn id="14" dur="500"/>
                                        <p:tgtEl>
                                          <p:spTgt spid="74"/>
                                        </p:tgtEl>
                                      </p:cBhvr>
                                    </p:animEffect>
                                  </p:childTnLst>
                                </p:cTn>
                              </p:par>
                              <p:par>
                                <p:cTn id="15" presetID="12" presetClass="entr" presetSubtype="2"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anim calcmode="lin" valueType="num">
                                      <p:cBhvr additive="base">
                                        <p:cTn id="17" dur="500"/>
                                        <p:tgtEl>
                                          <p:spTgt spid="61"/>
                                        </p:tgtEl>
                                        <p:attrNameLst>
                                          <p:attrName>ppt_x</p:attrName>
                                        </p:attrNameLst>
                                      </p:cBhvr>
                                      <p:tavLst>
                                        <p:tav tm="0">
                                          <p:val>
                                            <p:strVal val="#ppt_x+#ppt_w*1.125000"/>
                                          </p:val>
                                        </p:tav>
                                        <p:tav tm="100000">
                                          <p:val>
                                            <p:strVal val="#ppt_x"/>
                                          </p:val>
                                        </p:tav>
                                      </p:tavLst>
                                    </p:anim>
                                    <p:animEffect transition="in" filter="wipe(left)">
                                      <p:cBhvr>
                                        <p:cTn id="18" dur="500"/>
                                        <p:tgtEl>
                                          <p:spTgt spid="61"/>
                                        </p:tgtEl>
                                      </p:cBhvr>
                                    </p:animEffect>
                                  </p:childTnLst>
                                </p:cTn>
                              </p:par>
                            </p:childTnLst>
                          </p:cTn>
                        </p:par>
                        <p:par>
                          <p:cTn id="19" fill="hold">
                            <p:stCondLst>
                              <p:cond delay="1000"/>
                            </p:stCondLst>
                            <p:childTnLst>
                              <p:par>
                                <p:cTn id="20" presetID="12" presetClass="entr" presetSubtype="2" fill="hold" grpId="0" nodeType="afterEffect">
                                  <p:stCondLst>
                                    <p:cond delay="0"/>
                                  </p:stCondLst>
                                  <p:iterate type="lt">
                                    <p:tmPct val="10000"/>
                                  </p:iterate>
                                  <p:childTnLst>
                                    <p:set>
                                      <p:cBhvr>
                                        <p:cTn id="21" dur="1" fill="hold">
                                          <p:stCondLst>
                                            <p:cond delay="0"/>
                                          </p:stCondLst>
                                        </p:cTn>
                                        <p:tgtEl>
                                          <p:spTgt spid="57"/>
                                        </p:tgtEl>
                                        <p:attrNameLst>
                                          <p:attrName>style.visibility</p:attrName>
                                        </p:attrNameLst>
                                      </p:cBhvr>
                                      <p:to>
                                        <p:strVal val="visible"/>
                                      </p:to>
                                    </p:set>
                                    <p:anim calcmode="lin" valueType="num">
                                      <p:cBhvr additive="base">
                                        <p:cTn id="22" dur="750"/>
                                        <p:tgtEl>
                                          <p:spTgt spid="57"/>
                                        </p:tgtEl>
                                        <p:attrNameLst>
                                          <p:attrName>ppt_x</p:attrName>
                                        </p:attrNameLst>
                                      </p:cBhvr>
                                      <p:tavLst>
                                        <p:tav tm="0">
                                          <p:val>
                                            <p:strVal val="#ppt_x+#ppt_w*1.125000"/>
                                          </p:val>
                                        </p:tav>
                                        <p:tav tm="100000">
                                          <p:val>
                                            <p:strVal val="#ppt_x"/>
                                          </p:val>
                                        </p:tav>
                                      </p:tavLst>
                                    </p:anim>
                                    <p:animEffect transition="in" filter="wipe(left)">
                                      <p:cBhvr>
                                        <p:cTn id="23" dur="750"/>
                                        <p:tgtEl>
                                          <p:spTgt spid="57"/>
                                        </p:tgtEl>
                                      </p:cBhvr>
                                    </p:animEffect>
                                  </p:childTnLst>
                                </p:cTn>
                              </p:par>
                            </p:childTnLst>
                          </p:cTn>
                        </p:par>
                        <p:par>
                          <p:cTn id="24" fill="hold">
                            <p:stCondLst>
                              <p:cond delay="2275"/>
                            </p:stCondLst>
                            <p:childTnLst>
                              <p:par>
                                <p:cTn id="25" presetID="12" presetClass="entr" presetSubtype="8" fill="hold" nodeType="afterEffect">
                                  <p:stCondLst>
                                    <p:cond delay="0"/>
                                  </p:stCondLst>
                                  <p:childTnLst>
                                    <p:set>
                                      <p:cBhvr>
                                        <p:cTn id="26" dur="1" fill="hold">
                                          <p:stCondLst>
                                            <p:cond delay="0"/>
                                          </p:stCondLst>
                                        </p:cTn>
                                        <p:tgtEl>
                                          <p:spTgt spid="62"/>
                                        </p:tgtEl>
                                        <p:attrNameLst>
                                          <p:attrName>style.visibility</p:attrName>
                                        </p:attrNameLst>
                                      </p:cBhvr>
                                      <p:to>
                                        <p:strVal val="visible"/>
                                      </p:to>
                                    </p:set>
                                    <p:anim calcmode="lin" valueType="num">
                                      <p:cBhvr additive="base">
                                        <p:cTn id="27" dur="500"/>
                                        <p:tgtEl>
                                          <p:spTgt spid="62"/>
                                        </p:tgtEl>
                                        <p:attrNameLst>
                                          <p:attrName>ppt_x</p:attrName>
                                        </p:attrNameLst>
                                      </p:cBhvr>
                                      <p:tavLst>
                                        <p:tav tm="0">
                                          <p:val>
                                            <p:strVal val="#ppt_x-#ppt_w*1.125000"/>
                                          </p:val>
                                        </p:tav>
                                        <p:tav tm="100000">
                                          <p:val>
                                            <p:strVal val="#ppt_x"/>
                                          </p:val>
                                        </p:tav>
                                      </p:tavLst>
                                    </p:anim>
                                    <p:animEffect transition="in" filter="wipe(right)">
                                      <p:cBhvr>
                                        <p:cTn id="28" dur="500"/>
                                        <p:tgtEl>
                                          <p:spTgt spid="62"/>
                                        </p:tgtEl>
                                      </p:cBhvr>
                                    </p:animEffect>
                                  </p:childTnLst>
                                </p:cTn>
                              </p:par>
                              <p:par>
                                <p:cTn id="29" presetID="12" presetClass="entr" presetSubtype="2" fill="hold" grpId="0" nodeType="withEffect">
                                  <p:stCondLst>
                                    <p:cond delay="0"/>
                                  </p:stCondLst>
                                  <p:childTnLst>
                                    <p:set>
                                      <p:cBhvr>
                                        <p:cTn id="30" dur="1" fill="hold">
                                          <p:stCondLst>
                                            <p:cond delay="0"/>
                                          </p:stCondLst>
                                        </p:cTn>
                                        <p:tgtEl>
                                          <p:spTgt spid="71"/>
                                        </p:tgtEl>
                                        <p:attrNameLst>
                                          <p:attrName>style.visibility</p:attrName>
                                        </p:attrNameLst>
                                      </p:cBhvr>
                                      <p:to>
                                        <p:strVal val="visible"/>
                                      </p:to>
                                    </p:set>
                                    <p:anim calcmode="lin" valueType="num">
                                      <p:cBhvr additive="base">
                                        <p:cTn id="31" dur="500"/>
                                        <p:tgtEl>
                                          <p:spTgt spid="71"/>
                                        </p:tgtEl>
                                        <p:attrNameLst>
                                          <p:attrName>ppt_x</p:attrName>
                                        </p:attrNameLst>
                                      </p:cBhvr>
                                      <p:tavLst>
                                        <p:tav tm="0">
                                          <p:val>
                                            <p:strVal val="#ppt_x+#ppt_w*1.125000"/>
                                          </p:val>
                                        </p:tav>
                                        <p:tav tm="100000">
                                          <p:val>
                                            <p:strVal val="#ppt_x"/>
                                          </p:val>
                                        </p:tav>
                                      </p:tavLst>
                                    </p:anim>
                                    <p:animEffect transition="in" filter="wipe(left)">
                                      <p:cBhvr>
                                        <p:cTn id="32" dur="500"/>
                                        <p:tgtEl>
                                          <p:spTgt spid="71"/>
                                        </p:tgtEl>
                                      </p:cBhvr>
                                    </p:animEffect>
                                  </p:childTnLst>
                                </p:cTn>
                              </p:par>
                            </p:childTnLst>
                          </p:cTn>
                        </p:par>
                        <p:par>
                          <p:cTn id="33" fill="hold">
                            <p:stCondLst>
                              <p:cond delay="2775"/>
                            </p:stCondLst>
                            <p:childTnLst>
                              <p:par>
                                <p:cTn id="34" presetID="12" presetClass="entr" presetSubtype="2" fill="hold" grpId="0" nodeType="afterEffect">
                                  <p:stCondLst>
                                    <p:cond delay="0"/>
                                  </p:stCondLst>
                                  <p:iterate type="lt">
                                    <p:tmPct val="10000"/>
                                  </p:iterate>
                                  <p:childTnLst>
                                    <p:set>
                                      <p:cBhvr>
                                        <p:cTn id="35" dur="1" fill="hold">
                                          <p:stCondLst>
                                            <p:cond delay="0"/>
                                          </p:stCondLst>
                                        </p:cTn>
                                        <p:tgtEl>
                                          <p:spTgt spid="58"/>
                                        </p:tgtEl>
                                        <p:attrNameLst>
                                          <p:attrName>style.visibility</p:attrName>
                                        </p:attrNameLst>
                                      </p:cBhvr>
                                      <p:to>
                                        <p:strVal val="visible"/>
                                      </p:to>
                                    </p:set>
                                    <p:anim calcmode="lin" valueType="num">
                                      <p:cBhvr additive="base">
                                        <p:cTn id="36" dur="750"/>
                                        <p:tgtEl>
                                          <p:spTgt spid="58"/>
                                        </p:tgtEl>
                                        <p:attrNameLst>
                                          <p:attrName>ppt_x</p:attrName>
                                        </p:attrNameLst>
                                      </p:cBhvr>
                                      <p:tavLst>
                                        <p:tav tm="0">
                                          <p:val>
                                            <p:strVal val="#ppt_x+#ppt_w*1.125000"/>
                                          </p:val>
                                        </p:tav>
                                        <p:tav tm="100000">
                                          <p:val>
                                            <p:strVal val="#ppt_x"/>
                                          </p:val>
                                        </p:tav>
                                      </p:tavLst>
                                    </p:anim>
                                    <p:animEffect transition="in" filter="wipe(left)">
                                      <p:cBhvr>
                                        <p:cTn id="37" dur="750"/>
                                        <p:tgtEl>
                                          <p:spTgt spid="58"/>
                                        </p:tgtEl>
                                      </p:cBhvr>
                                    </p:animEffect>
                                  </p:childTnLst>
                                </p:cTn>
                              </p:par>
                            </p:childTnLst>
                          </p:cTn>
                        </p:par>
                        <p:par>
                          <p:cTn id="38" fill="hold">
                            <p:stCondLst>
                              <p:cond delay="3974"/>
                            </p:stCondLst>
                            <p:childTnLst>
                              <p:par>
                                <p:cTn id="39" presetID="12" presetClass="entr" presetSubtype="8" fill="hold" nodeType="after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additive="base">
                                        <p:cTn id="41" dur="500"/>
                                        <p:tgtEl>
                                          <p:spTgt spid="65"/>
                                        </p:tgtEl>
                                        <p:attrNameLst>
                                          <p:attrName>ppt_x</p:attrName>
                                        </p:attrNameLst>
                                      </p:cBhvr>
                                      <p:tavLst>
                                        <p:tav tm="0">
                                          <p:val>
                                            <p:strVal val="#ppt_x-#ppt_w*1.125000"/>
                                          </p:val>
                                        </p:tav>
                                        <p:tav tm="100000">
                                          <p:val>
                                            <p:strVal val="#ppt_x"/>
                                          </p:val>
                                        </p:tav>
                                      </p:tavLst>
                                    </p:anim>
                                    <p:animEffect transition="in" filter="wipe(right)">
                                      <p:cBhvr>
                                        <p:cTn id="42" dur="500"/>
                                        <p:tgtEl>
                                          <p:spTgt spid="65"/>
                                        </p:tgtEl>
                                      </p:cBhvr>
                                    </p:animEffect>
                                  </p:childTnLst>
                                </p:cTn>
                              </p:par>
                              <p:par>
                                <p:cTn id="43" presetID="12" presetClass="entr" presetSubtype="2"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anim calcmode="lin" valueType="num">
                                      <p:cBhvr additive="base">
                                        <p:cTn id="45" dur="500"/>
                                        <p:tgtEl>
                                          <p:spTgt spid="72"/>
                                        </p:tgtEl>
                                        <p:attrNameLst>
                                          <p:attrName>ppt_x</p:attrName>
                                        </p:attrNameLst>
                                      </p:cBhvr>
                                      <p:tavLst>
                                        <p:tav tm="0">
                                          <p:val>
                                            <p:strVal val="#ppt_x+#ppt_w*1.125000"/>
                                          </p:val>
                                        </p:tav>
                                        <p:tav tm="100000">
                                          <p:val>
                                            <p:strVal val="#ppt_x"/>
                                          </p:val>
                                        </p:tav>
                                      </p:tavLst>
                                    </p:anim>
                                    <p:animEffect transition="in" filter="wipe(left)">
                                      <p:cBhvr>
                                        <p:cTn id="46" dur="500"/>
                                        <p:tgtEl>
                                          <p:spTgt spid="72"/>
                                        </p:tgtEl>
                                      </p:cBhvr>
                                    </p:animEffect>
                                  </p:childTnLst>
                                </p:cTn>
                              </p:par>
                            </p:childTnLst>
                          </p:cTn>
                        </p:par>
                        <p:par>
                          <p:cTn id="47" fill="hold">
                            <p:stCondLst>
                              <p:cond delay="4474"/>
                            </p:stCondLst>
                            <p:childTnLst>
                              <p:par>
                                <p:cTn id="48" presetID="12" presetClass="entr" presetSubtype="2" fill="hold" grpId="0" nodeType="afterEffect">
                                  <p:stCondLst>
                                    <p:cond delay="0"/>
                                  </p:stCondLst>
                                  <p:iterate type="lt">
                                    <p:tmPct val="10000"/>
                                  </p:iterate>
                                  <p:childTnLst>
                                    <p:set>
                                      <p:cBhvr>
                                        <p:cTn id="49" dur="1" fill="hold">
                                          <p:stCondLst>
                                            <p:cond delay="0"/>
                                          </p:stCondLst>
                                        </p:cTn>
                                        <p:tgtEl>
                                          <p:spTgt spid="59"/>
                                        </p:tgtEl>
                                        <p:attrNameLst>
                                          <p:attrName>style.visibility</p:attrName>
                                        </p:attrNameLst>
                                      </p:cBhvr>
                                      <p:to>
                                        <p:strVal val="visible"/>
                                      </p:to>
                                    </p:set>
                                    <p:anim calcmode="lin" valueType="num">
                                      <p:cBhvr additive="base">
                                        <p:cTn id="50" dur="750"/>
                                        <p:tgtEl>
                                          <p:spTgt spid="59"/>
                                        </p:tgtEl>
                                        <p:attrNameLst>
                                          <p:attrName>ppt_x</p:attrName>
                                        </p:attrNameLst>
                                      </p:cBhvr>
                                      <p:tavLst>
                                        <p:tav tm="0">
                                          <p:val>
                                            <p:strVal val="#ppt_x+#ppt_w*1.125000"/>
                                          </p:val>
                                        </p:tav>
                                        <p:tav tm="100000">
                                          <p:val>
                                            <p:strVal val="#ppt_x"/>
                                          </p:val>
                                        </p:tav>
                                      </p:tavLst>
                                    </p:anim>
                                    <p:animEffect transition="in" filter="wipe(left)">
                                      <p:cBhvr>
                                        <p:cTn id="51" dur="750"/>
                                        <p:tgtEl>
                                          <p:spTgt spid="59"/>
                                        </p:tgtEl>
                                      </p:cBhvr>
                                    </p:animEffect>
                                  </p:childTnLst>
                                </p:cTn>
                              </p:par>
                            </p:childTnLst>
                          </p:cTn>
                        </p:par>
                        <p:par>
                          <p:cTn id="52" fill="hold">
                            <p:stCondLst>
                              <p:cond delay="5675"/>
                            </p:stCondLst>
                            <p:childTnLst>
                              <p:par>
                                <p:cTn id="53" presetID="12" presetClass="entr" presetSubtype="8" fill="hold" nodeType="afterEffect">
                                  <p:stCondLst>
                                    <p:cond delay="0"/>
                                  </p:stCondLst>
                                  <p:childTnLst>
                                    <p:set>
                                      <p:cBhvr>
                                        <p:cTn id="54" dur="1" fill="hold">
                                          <p:stCondLst>
                                            <p:cond delay="0"/>
                                          </p:stCondLst>
                                        </p:cTn>
                                        <p:tgtEl>
                                          <p:spTgt spid="68"/>
                                        </p:tgtEl>
                                        <p:attrNameLst>
                                          <p:attrName>style.visibility</p:attrName>
                                        </p:attrNameLst>
                                      </p:cBhvr>
                                      <p:to>
                                        <p:strVal val="visible"/>
                                      </p:to>
                                    </p:set>
                                    <p:anim calcmode="lin" valueType="num">
                                      <p:cBhvr additive="base">
                                        <p:cTn id="55" dur="500"/>
                                        <p:tgtEl>
                                          <p:spTgt spid="68"/>
                                        </p:tgtEl>
                                        <p:attrNameLst>
                                          <p:attrName>ppt_x</p:attrName>
                                        </p:attrNameLst>
                                      </p:cBhvr>
                                      <p:tavLst>
                                        <p:tav tm="0">
                                          <p:val>
                                            <p:strVal val="#ppt_x-#ppt_w*1.125000"/>
                                          </p:val>
                                        </p:tav>
                                        <p:tav tm="100000">
                                          <p:val>
                                            <p:strVal val="#ppt_x"/>
                                          </p:val>
                                        </p:tav>
                                      </p:tavLst>
                                    </p:anim>
                                    <p:animEffect transition="in" filter="wipe(right)">
                                      <p:cBhvr>
                                        <p:cTn id="56" dur="500"/>
                                        <p:tgtEl>
                                          <p:spTgt spid="68"/>
                                        </p:tgtEl>
                                      </p:cBhvr>
                                    </p:animEffect>
                                  </p:childTnLst>
                                </p:cTn>
                              </p:par>
                              <p:par>
                                <p:cTn id="57" presetID="12" presetClass="entr" presetSubtype="2" fill="hold" grpId="0" nodeType="withEffect">
                                  <p:stCondLst>
                                    <p:cond delay="0"/>
                                  </p:stCondLst>
                                  <p:childTnLst>
                                    <p:set>
                                      <p:cBhvr>
                                        <p:cTn id="58" dur="1" fill="hold">
                                          <p:stCondLst>
                                            <p:cond delay="0"/>
                                          </p:stCondLst>
                                        </p:cTn>
                                        <p:tgtEl>
                                          <p:spTgt spid="73"/>
                                        </p:tgtEl>
                                        <p:attrNameLst>
                                          <p:attrName>style.visibility</p:attrName>
                                        </p:attrNameLst>
                                      </p:cBhvr>
                                      <p:to>
                                        <p:strVal val="visible"/>
                                      </p:to>
                                    </p:set>
                                    <p:anim calcmode="lin" valueType="num">
                                      <p:cBhvr additive="base">
                                        <p:cTn id="59" dur="500"/>
                                        <p:tgtEl>
                                          <p:spTgt spid="73"/>
                                        </p:tgtEl>
                                        <p:attrNameLst>
                                          <p:attrName>ppt_x</p:attrName>
                                        </p:attrNameLst>
                                      </p:cBhvr>
                                      <p:tavLst>
                                        <p:tav tm="0">
                                          <p:val>
                                            <p:strVal val="#ppt_x+#ppt_w*1.125000"/>
                                          </p:val>
                                        </p:tav>
                                        <p:tav tm="100000">
                                          <p:val>
                                            <p:strVal val="#ppt_x"/>
                                          </p:val>
                                        </p:tav>
                                      </p:tavLst>
                                    </p:anim>
                                    <p:animEffect transition="in" filter="wipe(left)">
                                      <p:cBhvr>
                                        <p:cTn id="60" dur="500"/>
                                        <p:tgtEl>
                                          <p:spTgt spid="73"/>
                                        </p:tgtEl>
                                      </p:cBhvr>
                                    </p:animEffect>
                                  </p:childTnLst>
                                </p:cTn>
                              </p:par>
                            </p:childTnLst>
                          </p:cTn>
                        </p:par>
                        <p:par>
                          <p:cTn id="61" fill="hold">
                            <p:stCondLst>
                              <p:cond delay="6175"/>
                            </p:stCondLst>
                            <p:childTnLst>
                              <p:par>
                                <p:cTn id="62" presetID="12" presetClass="entr" presetSubtype="2" fill="hold" grpId="0" nodeType="afterEffect">
                                  <p:stCondLst>
                                    <p:cond delay="0"/>
                                  </p:stCondLst>
                                  <p:iterate type="lt">
                                    <p:tmPct val="10000"/>
                                  </p:iterate>
                                  <p:childTnLst>
                                    <p:set>
                                      <p:cBhvr>
                                        <p:cTn id="63" dur="1" fill="hold">
                                          <p:stCondLst>
                                            <p:cond delay="0"/>
                                          </p:stCondLst>
                                        </p:cTn>
                                        <p:tgtEl>
                                          <p:spTgt spid="60"/>
                                        </p:tgtEl>
                                        <p:attrNameLst>
                                          <p:attrName>style.visibility</p:attrName>
                                        </p:attrNameLst>
                                      </p:cBhvr>
                                      <p:to>
                                        <p:strVal val="visible"/>
                                      </p:to>
                                    </p:set>
                                    <p:anim calcmode="lin" valueType="num">
                                      <p:cBhvr additive="base">
                                        <p:cTn id="64" dur="750"/>
                                        <p:tgtEl>
                                          <p:spTgt spid="60"/>
                                        </p:tgtEl>
                                        <p:attrNameLst>
                                          <p:attrName>ppt_x</p:attrName>
                                        </p:attrNameLst>
                                      </p:cBhvr>
                                      <p:tavLst>
                                        <p:tav tm="0">
                                          <p:val>
                                            <p:strVal val="#ppt_x+#ppt_w*1.125000"/>
                                          </p:val>
                                        </p:tav>
                                        <p:tav tm="100000">
                                          <p:val>
                                            <p:strVal val="#ppt_x"/>
                                          </p:val>
                                        </p:tav>
                                      </p:tavLst>
                                    </p:anim>
                                    <p:animEffect transition="in" filter="wipe(left)">
                                      <p:cBhvr>
                                        <p:cTn id="65" dur="7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0" grpId="0"/>
      <p:bldP spid="61" grpId="0" animBg="1"/>
      <p:bldP spid="71" grpId="0" animBg="1"/>
      <p:bldP spid="72" grpId="0" animBg="1"/>
      <p:bldP spid="7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69"/>
          <p:cNvSpPr>
            <a:spLocks noChangeArrowheads="1"/>
          </p:cNvSpPr>
          <p:nvPr/>
        </p:nvSpPr>
        <p:spPr bwMode="auto">
          <a:xfrm>
            <a:off x="3317412" y="2258460"/>
            <a:ext cx="5376597" cy="111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r>
              <a:rPr lang="zh-CN" altLang="en-US" sz="6665" dirty="0" smtClean="0">
                <a:solidFill>
                  <a:srgbClr val="82B864"/>
                </a:solidFill>
                <a:latin typeface="+mn-lt"/>
                <a:ea typeface="+mn-ea"/>
                <a:cs typeface="+mn-ea"/>
                <a:sym typeface="+mn-lt"/>
              </a:rPr>
              <a:t>添加标题内容</a:t>
            </a:r>
            <a:endParaRPr lang="en-US" altLang="zh-CN" sz="6665" dirty="0">
              <a:solidFill>
                <a:srgbClr val="82B864"/>
              </a:solidFill>
              <a:latin typeface="+mn-lt"/>
              <a:ea typeface="+mn-ea"/>
              <a:cs typeface="+mn-ea"/>
              <a:sym typeface="+mn-lt"/>
            </a:endParaRPr>
          </a:p>
        </p:txBody>
      </p:sp>
      <p:sp>
        <p:nvSpPr>
          <p:cNvPr id="10" name="矩形 70"/>
          <p:cNvSpPr>
            <a:spLocks noChangeArrowheads="1"/>
          </p:cNvSpPr>
          <p:nvPr/>
        </p:nvSpPr>
        <p:spPr bwMode="auto">
          <a:xfrm>
            <a:off x="3557438" y="3376779"/>
            <a:ext cx="4896544"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zh-CN" altLang="en-US" sz="1465" dirty="0">
                <a:solidFill>
                  <a:srgbClr val="82B864"/>
                </a:solidFill>
                <a:latin typeface="+mn-lt"/>
                <a:ea typeface="+mn-ea"/>
                <a:cs typeface="+mn-ea"/>
                <a:sym typeface="+mn-lt"/>
              </a:rPr>
              <a:t>在此处添加文字，在此处添加文字，在此处添加文字</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6240" y="656692"/>
            <a:ext cx="2918940" cy="1445877"/>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089856" y="2132856"/>
            <a:ext cx="453970" cy="410177"/>
          </a:xfrm>
          <a:prstGeom prst="rect">
            <a:avLst/>
          </a:prstGeom>
          <a:noFill/>
        </p:spPr>
        <p:txBody>
          <a:bodyPr wrap="none" rtlCol="0">
            <a:spAutoFit/>
          </a:bodyPr>
          <a:lstStyle/>
          <a:p>
            <a:pPr algn="just">
              <a:lnSpc>
                <a:spcPct val="120000"/>
              </a:lnSpc>
            </a:pPr>
            <a:r>
              <a:rPr lang="en-US" sz="1895">
                <a:solidFill>
                  <a:schemeClr val="tx1">
                    <a:lumMod val="75000"/>
                    <a:lumOff val="25000"/>
                  </a:schemeClr>
                </a:solidFill>
                <a:cs typeface="+mn-ea"/>
                <a:sym typeface="+mn-lt"/>
              </a:rPr>
              <a:t>01</a:t>
            </a:r>
            <a:endParaRPr lang="en-GB" sz="1895">
              <a:solidFill>
                <a:schemeClr val="tx1">
                  <a:lumMod val="75000"/>
                  <a:lumOff val="25000"/>
                </a:schemeClr>
              </a:solidFill>
              <a:cs typeface="+mn-ea"/>
              <a:sym typeface="+mn-lt"/>
            </a:endParaRPr>
          </a:p>
        </p:txBody>
      </p:sp>
      <p:grpSp>
        <p:nvGrpSpPr>
          <p:cNvPr id="2" name="Group 17"/>
          <p:cNvGrpSpPr/>
          <p:nvPr/>
        </p:nvGrpSpPr>
        <p:grpSpPr>
          <a:xfrm>
            <a:off x="1459305" y="2132850"/>
            <a:ext cx="2257999" cy="814126"/>
            <a:chOff x="509993" y="4146958"/>
            <a:chExt cx="2041329" cy="814468"/>
          </a:xfrm>
        </p:grpSpPr>
        <p:sp>
          <p:nvSpPr>
            <p:cNvPr id="19" name="TextBox 18"/>
            <p:cNvSpPr txBox="1"/>
            <p:nvPr/>
          </p:nvSpPr>
          <p:spPr>
            <a:xfrm>
              <a:off x="515135" y="4146958"/>
              <a:ext cx="1285716" cy="316566"/>
            </a:xfrm>
            <a:prstGeom prst="rect">
              <a:avLst/>
            </a:prstGeom>
            <a:noFill/>
          </p:spPr>
          <p:txBody>
            <a:bodyPr wrap="none" rtlCol="0">
              <a:spAutoFit/>
            </a:bodyPr>
            <a:lstStyle/>
            <a:p>
              <a:pPr>
                <a:lnSpc>
                  <a:spcPct val="120000"/>
                </a:lnSpc>
              </a:pPr>
              <a:r>
                <a:rPr lang="zh-CN" altLang="en-US" sz="1330">
                  <a:solidFill>
                    <a:schemeClr val="tx1">
                      <a:lumMod val="75000"/>
                      <a:lumOff val="25000"/>
                    </a:schemeClr>
                  </a:solidFill>
                  <a:cs typeface="+mn-ea"/>
                  <a:sym typeface="+mn-lt"/>
                </a:rPr>
                <a:t>请替换文字内容 </a:t>
              </a:r>
              <a:endParaRPr lang="en-GB" sz="1330" dirty="0">
                <a:solidFill>
                  <a:schemeClr val="tx1">
                    <a:lumMod val="75000"/>
                    <a:lumOff val="25000"/>
                  </a:schemeClr>
                </a:solidFill>
                <a:cs typeface="+mn-ea"/>
                <a:sym typeface="+mn-lt"/>
              </a:endParaRPr>
            </a:p>
          </p:txBody>
        </p:sp>
        <p:sp>
          <p:nvSpPr>
            <p:cNvPr id="20" name="Rectangle 19"/>
            <p:cNvSpPr/>
            <p:nvPr/>
          </p:nvSpPr>
          <p:spPr>
            <a:xfrm>
              <a:off x="509993" y="4448955"/>
              <a:ext cx="2041329" cy="512471"/>
            </a:xfrm>
            <a:prstGeom prst="rect">
              <a:avLst/>
            </a:prstGeom>
          </p:spPr>
          <p:txBody>
            <a:bodyPr wrap="square">
              <a:spAutoFit/>
            </a:bodyPr>
            <a:lstStyle/>
            <a:p>
              <a:pPr algn="just">
                <a:lnSpc>
                  <a:spcPct val="120000"/>
                </a:lnSpc>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GB" sz="760" dirty="0">
                <a:solidFill>
                  <a:schemeClr val="tx1">
                    <a:lumMod val="75000"/>
                    <a:lumOff val="25000"/>
                  </a:schemeClr>
                </a:solidFill>
                <a:cs typeface="+mn-ea"/>
                <a:sym typeface="+mn-lt"/>
              </a:endParaRPr>
            </a:p>
          </p:txBody>
        </p:sp>
      </p:grpSp>
      <p:sp>
        <p:nvSpPr>
          <p:cNvPr id="21" name="TextBox 20"/>
          <p:cNvSpPr txBox="1"/>
          <p:nvPr/>
        </p:nvSpPr>
        <p:spPr>
          <a:xfrm>
            <a:off x="1089856" y="3256216"/>
            <a:ext cx="453970" cy="410177"/>
          </a:xfrm>
          <a:prstGeom prst="rect">
            <a:avLst/>
          </a:prstGeom>
          <a:noFill/>
        </p:spPr>
        <p:txBody>
          <a:bodyPr wrap="none" rtlCol="0">
            <a:spAutoFit/>
          </a:bodyPr>
          <a:lstStyle/>
          <a:p>
            <a:pPr algn="just">
              <a:lnSpc>
                <a:spcPct val="120000"/>
              </a:lnSpc>
            </a:pPr>
            <a:r>
              <a:rPr lang="en-US" sz="1895">
                <a:solidFill>
                  <a:schemeClr val="tx1">
                    <a:lumMod val="75000"/>
                    <a:lumOff val="25000"/>
                  </a:schemeClr>
                </a:solidFill>
                <a:cs typeface="+mn-ea"/>
                <a:sym typeface="+mn-lt"/>
              </a:rPr>
              <a:t>02</a:t>
            </a:r>
            <a:endParaRPr lang="en-GB" sz="1895">
              <a:solidFill>
                <a:schemeClr val="tx1">
                  <a:lumMod val="75000"/>
                  <a:lumOff val="25000"/>
                </a:schemeClr>
              </a:solidFill>
              <a:cs typeface="+mn-ea"/>
              <a:sym typeface="+mn-lt"/>
            </a:endParaRPr>
          </a:p>
        </p:txBody>
      </p:sp>
      <p:sp>
        <p:nvSpPr>
          <p:cNvPr id="25" name="TextBox 24"/>
          <p:cNvSpPr txBox="1"/>
          <p:nvPr/>
        </p:nvSpPr>
        <p:spPr>
          <a:xfrm>
            <a:off x="1089856" y="4379575"/>
            <a:ext cx="453970" cy="410177"/>
          </a:xfrm>
          <a:prstGeom prst="rect">
            <a:avLst/>
          </a:prstGeom>
          <a:noFill/>
        </p:spPr>
        <p:txBody>
          <a:bodyPr wrap="none" rtlCol="0">
            <a:spAutoFit/>
          </a:bodyPr>
          <a:lstStyle/>
          <a:p>
            <a:pPr algn="just">
              <a:lnSpc>
                <a:spcPct val="120000"/>
              </a:lnSpc>
            </a:pPr>
            <a:r>
              <a:rPr lang="en-US" sz="1895">
                <a:solidFill>
                  <a:schemeClr val="tx1">
                    <a:lumMod val="75000"/>
                    <a:lumOff val="25000"/>
                  </a:schemeClr>
                </a:solidFill>
                <a:cs typeface="+mn-ea"/>
                <a:sym typeface="+mn-lt"/>
              </a:rPr>
              <a:t>03</a:t>
            </a:r>
            <a:endParaRPr lang="en-GB" sz="1895">
              <a:solidFill>
                <a:schemeClr val="tx1">
                  <a:lumMod val="75000"/>
                  <a:lumOff val="25000"/>
                </a:schemeClr>
              </a:solidFill>
              <a:cs typeface="+mn-ea"/>
              <a:sym typeface="+mn-lt"/>
            </a:endParaRPr>
          </a:p>
        </p:txBody>
      </p:sp>
      <p:grpSp>
        <p:nvGrpSpPr>
          <p:cNvPr id="3" name="Group 32"/>
          <p:cNvGrpSpPr/>
          <p:nvPr/>
        </p:nvGrpSpPr>
        <p:grpSpPr>
          <a:xfrm>
            <a:off x="1459305" y="4379569"/>
            <a:ext cx="2257999" cy="814126"/>
            <a:chOff x="509993" y="4146958"/>
            <a:chExt cx="2041329" cy="814468"/>
          </a:xfrm>
        </p:grpSpPr>
        <p:sp>
          <p:nvSpPr>
            <p:cNvPr id="34" name="TextBox 33"/>
            <p:cNvSpPr txBox="1"/>
            <p:nvPr/>
          </p:nvSpPr>
          <p:spPr>
            <a:xfrm>
              <a:off x="515135" y="4146958"/>
              <a:ext cx="1285716" cy="316566"/>
            </a:xfrm>
            <a:prstGeom prst="rect">
              <a:avLst/>
            </a:prstGeom>
            <a:noFill/>
          </p:spPr>
          <p:txBody>
            <a:bodyPr wrap="none" rtlCol="0">
              <a:spAutoFit/>
            </a:bodyPr>
            <a:lstStyle/>
            <a:p>
              <a:pPr>
                <a:lnSpc>
                  <a:spcPct val="120000"/>
                </a:lnSpc>
              </a:pPr>
              <a:r>
                <a:rPr lang="zh-CN" altLang="en-US" sz="1330">
                  <a:solidFill>
                    <a:schemeClr val="tx1">
                      <a:lumMod val="75000"/>
                      <a:lumOff val="25000"/>
                    </a:schemeClr>
                  </a:solidFill>
                  <a:cs typeface="+mn-ea"/>
                  <a:sym typeface="+mn-lt"/>
                </a:rPr>
                <a:t>请替换文字内容 </a:t>
              </a:r>
              <a:endParaRPr lang="en-GB" sz="1330" dirty="0">
                <a:solidFill>
                  <a:schemeClr val="tx1">
                    <a:lumMod val="75000"/>
                    <a:lumOff val="25000"/>
                  </a:schemeClr>
                </a:solidFill>
                <a:cs typeface="+mn-ea"/>
                <a:sym typeface="+mn-lt"/>
              </a:endParaRPr>
            </a:p>
          </p:txBody>
        </p:sp>
        <p:sp>
          <p:nvSpPr>
            <p:cNvPr id="35" name="Rectangle 34"/>
            <p:cNvSpPr/>
            <p:nvPr/>
          </p:nvSpPr>
          <p:spPr>
            <a:xfrm>
              <a:off x="509993" y="4448955"/>
              <a:ext cx="2041329" cy="512471"/>
            </a:xfrm>
            <a:prstGeom prst="rect">
              <a:avLst/>
            </a:prstGeom>
          </p:spPr>
          <p:txBody>
            <a:bodyPr wrap="square">
              <a:spAutoFit/>
            </a:bodyPr>
            <a:lstStyle/>
            <a:p>
              <a:pPr algn="just">
                <a:lnSpc>
                  <a:spcPct val="120000"/>
                </a:lnSpc>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GB" sz="760" dirty="0">
                <a:solidFill>
                  <a:schemeClr val="tx1">
                    <a:lumMod val="75000"/>
                    <a:lumOff val="25000"/>
                  </a:schemeClr>
                </a:solidFill>
                <a:cs typeface="+mn-ea"/>
                <a:sym typeface="+mn-lt"/>
              </a:endParaRPr>
            </a:p>
          </p:txBody>
        </p:sp>
      </p:grpSp>
      <p:grpSp>
        <p:nvGrpSpPr>
          <p:cNvPr id="4" name="Group 35"/>
          <p:cNvGrpSpPr/>
          <p:nvPr/>
        </p:nvGrpSpPr>
        <p:grpSpPr>
          <a:xfrm>
            <a:off x="1459305" y="3256209"/>
            <a:ext cx="2257999" cy="814126"/>
            <a:chOff x="509993" y="4146958"/>
            <a:chExt cx="2041329" cy="814468"/>
          </a:xfrm>
        </p:grpSpPr>
        <p:sp>
          <p:nvSpPr>
            <p:cNvPr id="37" name="TextBox 36"/>
            <p:cNvSpPr txBox="1"/>
            <p:nvPr/>
          </p:nvSpPr>
          <p:spPr>
            <a:xfrm>
              <a:off x="515135" y="4146958"/>
              <a:ext cx="1285716" cy="316566"/>
            </a:xfrm>
            <a:prstGeom prst="rect">
              <a:avLst/>
            </a:prstGeom>
            <a:noFill/>
          </p:spPr>
          <p:txBody>
            <a:bodyPr wrap="none" rtlCol="0">
              <a:spAutoFit/>
            </a:bodyPr>
            <a:lstStyle/>
            <a:p>
              <a:pPr>
                <a:lnSpc>
                  <a:spcPct val="120000"/>
                </a:lnSpc>
              </a:pPr>
              <a:r>
                <a:rPr lang="zh-CN" altLang="en-US" sz="1330">
                  <a:solidFill>
                    <a:schemeClr val="tx1">
                      <a:lumMod val="75000"/>
                      <a:lumOff val="25000"/>
                    </a:schemeClr>
                  </a:solidFill>
                  <a:cs typeface="+mn-ea"/>
                  <a:sym typeface="+mn-lt"/>
                </a:rPr>
                <a:t>请替换文字内容 </a:t>
              </a:r>
              <a:endParaRPr lang="en-GB" sz="1330" dirty="0">
                <a:solidFill>
                  <a:schemeClr val="tx1">
                    <a:lumMod val="75000"/>
                    <a:lumOff val="25000"/>
                  </a:schemeClr>
                </a:solidFill>
                <a:cs typeface="+mn-ea"/>
                <a:sym typeface="+mn-lt"/>
              </a:endParaRPr>
            </a:p>
          </p:txBody>
        </p:sp>
        <p:sp>
          <p:nvSpPr>
            <p:cNvPr id="38" name="Rectangle 37"/>
            <p:cNvSpPr/>
            <p:nvPr/>
          </p:nvSpPr>
          <p:spPr>
            <a:xfrm>
              <a:off x="509993" y="4448955"/>
              <a:ext cx="2041329" cy="512471"/>
            </a:xfrm>
            <a:prstGeom prst="rect">
              <a:avLst/>
            </a:prstGeom>
          </p:spPr>
          <p:txBody>
            <a:bodyPr wrap="square">
              <a:spAutoFit/>
            </a:bodyPr>
            <a:lstStyle/>
            <a:p>
              <a:pPr algn="just">
                <a:lnSpc>
                  <a:spcPct val="120000"/>
                </a:lnSpc>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GB" sz="760" dirty="0">
                <a:solidFill>
                  <a:schemeClr val="tx1">
                    <a:lumMod val="75000"/>
                    <a:lumOff val="25000"/>
                  </a:schemeClr>
                </a:solidFill>
                <a:cs typeface="+mn-ea"/>
                <a:sym typeface="+mn-lt"/>
              </a:endParaRPr>
            </a:p>
          </p:txBody>
        </p:sp>
      </p:grpSp>
      <p:grpSp>
        <p:nvGrpSpPr>
          <p:cNvPr id="5" name="Group 38"/>
          <p:cNvGrpSpPr/>
          <p:nvPr/>
        </p:nvGrpSpPr>
        <p:grpSpPr>
          <a:xfrm>
            <a:off x="3684171" y="1799163"/>
            <a:ext cx="3982897" cy="3963402"/>
            <a:chOff x="3685337" y="1514384"/>
            <a:chExt cx="4821324" cy="4797721"/>
          </a:xfrm>
        </p:grpSpPr>
        <p:sp>
          <p:nvSpPr>
            <p:cNvPr id="40" name="Freeform 39"/>
            <p:cNvSpPr/>
            <p:nvPr/>
          </p:nvSpPr>
          <p:spPr>
            <a:xfrm>
              <a:off x="4112274" y="1770540"/>
              <a:ext cx="4137890" cy="4137892"/>
            </a:xfrm>
            <a:custGeom>
              <a:avLst/>
              <a:gdLst>
                <a:gd name="connsiteX0" fmla="*/ 2275840 w 4551680"/>
                <a:gd name="connsiteY0" fmla="*/ 0 h 4551680"/>
                <a:gd name="connsiteX1" fmla="*/ 4246775 w 4551680"/>
                <a:gd name="connsiteY1" fmla="*/ 1137920 h 4551680"/>
                <a:gd name="connsiteX2" fmla="*/ 4246775 w 4551680"/>
                <a:gd name="connsiteY2" fmla="*/ 3413760 h 4551680"/>
                <a:gd name="connsiteX3" fmla="*/ 2275840 w 4551680"/>
                <a:gd name="connsiteY3" fmla="*/ 2275840 h 4551680"/>
                <a:gd name="connsiteX4" fmla="*/ 2275840 w 4551680"/>
                <a:gd name="connsiteY4" fmla="*/ 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2275840" y="0"/>
                  </a:moveTo>
                  <a:cubicBezTo>
                    <a:pt x="3088919" y="0"/>
                    <a:pt x="3840236" y="433773"/>
                    <a:pt x="4246775" y="1137920"/>
                  </a:cubicBezTo>
                  <a:cubicBezTo>
                    <a:pt x="4653315" y="1842067"/>
                    <a:pt x="4653315" y="2709613"/>
                    <a:pt x="4246775" y="3413760"/>
                  </a:cubicBezTo>
                  <a:lnTo>
                    <a:pt x="2275840" y="2275840"/>
                  </a:lnTo>
                  <a:lnTo>
                    <a:pt x="2275840" y="0"/>
                  </a:lnTo>
                  <a:close/>
                </a:path>
              </a:pathLst>
            </a:custGeom>
            <a:solidFill>
              <a:srgbClr val="86BD7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63853" tIns="1030131" rIns="593028" bIns="2297570" numCol="1" spcCol="1270" anchor="ctr" anchorCtr="0">
              <a:noAutofit/>
            </a:bodyPr>
            <a:lstStyle/>
            <a:p>
              <a:pPr algn="just" defTabSz="2310130">
                <a:lnSpc>
                  <a:spcPct val="120000"/>
                </a:lnSpc>
                <a:spcAft>
                  <a:spcPct val="35000"/>
                </a:spcAft>
              </a:pPr>
              <a:endParaRPr lang="en-GB" sz="900">
                <a:cs typeface="+mn-ea"/>
                <a:sym typeface="+mn-lt"/>
              </a:endParaRPr>
            </a:p>
          </p:txBody>
        </p:sp>
        <p:sp>
          <p:nvSpPr>
            <p:cNvPr id="41" name="Freeform 40"/>
            <p:cNvSpPr/>
            <p:nvPr/>
          </p:nvSpPr>
          <p:spPr>
            <a:xfrm>
              <a:off x="4027053" y="1918321"/>
              <a:ext cx="4137890" cy="4137892"/>
            </a:xfrm>
            <a:custGeom>
              <a:avLst/>
              <a:gdLst>
                <a:gd name="connsiteX0" fmla="*/ 4246775 w 4551680"/>
                <a:gd name="connsiteY0" fmla="*/ 3413760 h 4551680"/>
                <a:gd name="connsiteX1" fmla="*/ 2275840 w 4551680"/>
                <a:gd name="connsiteY1" fmla="*/ 4551680 h 4551680"/>
                <a:gd name="connsiteX2" fmla="*/ 304905 w 4551680"/>
                <a:gd name="connsiteY2" fmla="*/ 3413760 h 4551680"/>
                <a:gd name="connsiteX3" fmla="*/ 2275840 w 4551680"/>
                <a:gd name="connsiteY3" fmla="*/ 2275840 h 4551680"/>
                <a:gd name="connsiteX4" fmla="*/ 4246775 w 4551680"/>
                <a:gd name="connsiteY4" fmla="*/ 341376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4246775" y="3413760"/>
                  </a:moveTo>
                  <a:cubicBezTo>
                    <a:pt x="3840235" y="4117907"/>
                    <a:pt x="3088919" y="4551680"/>
                    <a:pt x="2275840" y="4551680"/>
                  </a:cubicBezTo>
                  <a:cubicBezTo>
                    <a:pt x="1462761" y="4551680"/>
                    <a:pt x="711444" y="4117907"/>
                    <a:pt x="304905" y="3413760"/>
                  </a:cubicBezTo>
                  <a:lnTo>
                    <a:pt x="2275840" y="2275840"/>
                  </a:lnTo>
                  <a:lnTo>
                    <a:pt x="4246775" y="3413760"/>
                  </a:lnTo>
                  <a:close/>
                </a:path>
              </a:pathLst>
            </a:custGeom>
            <a:solidFill>
              <a:srgbClr val="82B86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65796" tIns="3034453" rIns="1111630" bIns="488746" numCol="1" spcCol="1270" anchor="ctr" anchorCtr="0">
              <a:noAutofit/>
            </a:bodyPr>
            <a:lstStyle/>
            <a:p>
              <a:pPr algn="just" defTabSz="2887345">
                <a:lnSpc>
                  <a:spcPct val="120000"/>
                </a:lnSpc>
                <a:spcAft>
                  <a:spcPct val="35000"/>
                </a:spcAft>
              </a:pPr>
              <a:endParaRPr lang="en-GB" sz="900">
                <a:cs typeface="+mn-ea"/>
                <a:sym typeface="+mn-lt"/>
              </a:endParaRPr>
            </a:p>
          </p:txBody>
        </p:sp>
        <p:sp>
          <p:nvSpPr>
            <p:cNvPr id="42" name="Freeform 41"/>
            <p:cNvSpPr/>
            <p:nvPr/>
          </p:nvSpPr>
          <p:spPr>
            <a:xfrm>
              <a:off x="3941832" y="1770540"/>
              <a:ext cx="4137890" cy="4137892"/>
            </a:xfrm>
            <a:custGeom>
              <a:avLst/>
              <a:gdLst>
                <a:gd name="connsiteX0" fmla="*/ 304905 w 4551680"/>
                <a:gd name="connsiteY0" fmla="*/ 3413760 h 4551680"/>
                <a:gd name="connsiteX1" fmla="*/ 304905 w 4551680"/>
                <a:gd name="connsiteY1" fmla="*/ 1137920 h 4551680"/>
                <a:gd name="connsiteX2" fmla="*/ 2275840 w 4551680"/>
                <a:gd name="connsiteY2" fmla="*/ 0 h 4551680"/>
                <a:gd name="connsiteX3" fmla="*/ 2275840 w 4551680"/>
                <a:gd name="connsiteY3" fmla="*/ 2275840 h 4551680"/>
                <a:gd name="connsiteX4" fmla="*/ 304905 w 4551680"/>
                <a:gd name="connsiteY4" fmla="*/ 3413760 h 4551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680" h="4551680">
                  <a:moveTo>
                    <a:pt x="304905" y="3413760"/>
                  </a:moveTo>
                  <a:cubicBezTo>
                    <a:pt x="-101635" y="2709613"/>
                    <a:pt x="-101635" y="1842067"/>
                    <a:pt x="304905" y="1137920"/>
                  </a:cubicBezTo>
                  <a:cubicBezTo>
                    <a:pt x="711445" y="433773"/>
                    <a:pt x="1462761" y="0"/>
                    <a:pt x="2275840" y="0"/>
                  </a:cubicBezTo>
                  <a:lnTo>
                    <a:pt x="2275840" y="2275840"/>
                  </a:lnTo>
                  <a:lnTo>
                    <a:pt x="304905" y="3413760"/>
                  </a:lnTo>
                  <a:close/>
                </a:path>
              </a:pathLst>
            </a:custGeom>
            <a:solidFill>
              <a:srgbClr val="82B86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93030" tIns="1030131" rIns="2463852" bIns="2297570" numCol="1" spcCol="1270" anchor="ctr" anchorCtr="0">
              <a:noAutofit/>
            </a:bodyPr>
            <a:lstStyle/>
            <a:p>
              <a:pPr algn="just" defTabSz="2310130">
                <a:lnSpc>
                  <a:spcPct val="120000"/>
                </a:lnSpc>
                <a:spcAft>
                  <a:spcPct val="35000"/>
                </a:spcAft>
              </a:pPr>
              <a:endParaRPr lang="en-GB" sz="900">
                <a:cs typeface="+mn-ea"/>
                <a:sym typeface="+mn-lt"/>
              </a:endParaRPr>
            </a:p>
          </p:txBody>
        </p:sp>
        <p:sp>
          <p:nvSpPr>
            <p:cNvPr id="43" name="Circular Arrow 42"/>
            <p:cNvSpPr/>
            <p:nvPr/>
          </p:nvSpPr>
          <p:spPr>
            <a:xfrm>
              <a:off x="3856462" y="1514384"/>
              <a:ext cx="4650199" cy="4650202"/>
            </a:xfrm>
            <a:prstGeom prst="circularArrow">
              <a:avLst>
                <a:gd name="adj1" fmla="val 5085"/>
                <a:gd name="adj2" fmla="val 327528"/>
                <a:gd name="adj3" fmla="val 1472472"/>
                <a:gd name="adj4" fmla="val 16199432"/>
                <a:gd name="adj5" fmla="val 5932"/>
              </a:avLst>
            </a:prstGeom>
            <a:solidFill>
              <a:schemeClr val="bg1">
                <a:lumMod val="9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just">
                <a:lnSpc>
                  <a:spcPct val="120000"/>
                </a:lnSpc>
              </a:pPr>
              <a:endParaRPr lang="zh-CN" altLang="en-US" sz="900">
                <a:cs typeface="+mn-ea"/>
                <a:sym typeface="+mn-lt"/>
              </a:endParaRPr>
            </a:p>
          </p:txBody>
        </p:sp>
        <p:sp>
          <p:nvSpPr>
            <p:cNvPr id="44" name="Circular Arrow 43"/>
            <p:cNvSpPr/>
            <p:nvPr/>
          </p:nvSpPr>
          <p:spPr>
            <a:xfrm>
              <a:off x="3770899" y="1661904"/>
              <a:ext cx="4650199" cy="4650201"/>
            </a:xfrm>
            <a:prstGeom prst="circularArrow">
              <a:avLst>
                <a:gd name="adj1" fmla="val 5085"/>
                <a:gd name="adj2" fmla="val 327528"/>
                <a:gd name="adj3" fmla="val 8671970"/>
                <a:gd name="adj4" fmla="val 1800502"/>
                <a:gd name="adj5" fmla="val 5932"/>
              </a:avLst>
            </a:prstGeom>
            <a:solidFill>
              <a:schemeClr val="bg1">
                <a:lumMod val="9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just">
                <a:lnSpc>
                  <a:spcPct val="120000"/>
                </a:lnSpc>
              </a:pPr>
              <a:endParaRPr lang="zh-CN" altLang="en-US" sz="900">
                <a:cs typeface="+mn-ea"/>
                <a:sym typeface="+mn-lt"/>
              </a:endParaRPr>
            </a:p>
          </p:txBody>
        </p:sp>
        <p:sp>
          <p:nvSpPr>
            <p:cNvPr id="45" name="Circular Arrow 44"/>
            <p:cNvSpPr/>
            <p:nvPr/>
          </p:nvSpPr>
          <p:spPr>
            <a:xfrm>
              <a:off x="3685337" y="1514384"/>
              <a:ext cx="4650199" cy="4650202"/>
            </a:xfrm>
            <a:prstGeom prst="circularArrow">
              <a:avLst>
                <a:gd name="adj1" fmla="val 5085"/>
                <a:gd name="adj2" fmla="val 327528"/>
                <a:gd name="adj3" fmla="val 15873039"/>
                <a:gd name="adj4" fmla="val 9000000"/>
                <a:gd name="adj5" fmla="val 5932"/>
              </a:avLst>
            </a:prstGeom>
            <a:solidFill>
              <a:schemeClr val="bg1">
                <a:lumMod val="9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lgn="just">
                <a:lnSpc>
                  <a:spcPct val="120000"/>
                </a:lnSpc>
              </a:pPr>
              <a:endParaRPr lang="zh-CN" altLang="en-US" sz="900">
                <a:cs typeface="+mn-ea"/>
                <a:sym typeface="+mn-lt"/>
              </a:endParaRPr>
            </a:p>
          </p:txBody>
        </p:sp>
      </p:grpSp>
      <p:sp>
        <p:nvSpPr>
          <p:cNvPr id="46" name="Freeform 45"/>
          <p:cNvSpPr>
            <a:spLocks noEditPoints="1"/>
          </p:cNvSpPr>
          <p:nvPr/>
        </p:nvSpPr>
        <p:spPr bwMode="auto">
          <a:xfrm>
            <a:off x="5301828" y="4578097"/>
            <a:ext cx="747581" cy="437000"/>
          </a:xfrm>
          <a:custGeom>
            <a:avLst/>
            <a:gdLst>
              <a:gd name="T0" fmla="*/ 232 w 316"/>
              <a:gd name="T1" fmla="*/ 27 h 172"/>
              <a:gd name="T2" fmla="*/ 221 w 316"/>
              <a:gd name="T3" fmla="*/ 20 h 172"/>
              <a:gd name="T4" fmla="*/ 157 w 316"/>
              <a:gd name="T5" fmla="*/ 10 h 172"/>
              <a:gd name="T6" fmla="*/ 92 w 316"/>
              <a:gd name="T7" fmla="*/ 9 h 172"/>
              <a:gd name="T8" fmla="*/ 84 w 316"/>
              <a:gd name="T9" fmla="*/ 13 h 172"/>
              <a:gd name="T10" fmla="*/ 0 w 316"/>
              <a:gd name="T11" fmla="*/ 121 h 172"/>
              <a:gd name="T12" fmla="*/ 78 w 316"/>
              <a:gd name="T13" fmla="*/ 109 h 172"/>
              <a:gd name="T14" fmla="*/ 84 w 316"/>
              <a:gd name="T15" fmla="*/ 113 h 172"/>
              <a:gd name="T16" fmla="*/ 120 w 316"/>
              <a:gd name="T17" fmla="*/ 142 h 172"/>
              <a:gd name="T18" fmla="*/ 159 w 316"/>
              <a:gd name="T19" fmla="*/ 163 h 172"/>
              <a:gd name="T20" fmla="*/ 163 w 316"/>
              <a:gd name="T21" fmla="*/ 165 h 172"/>
              <a:gd name="T22" fmla="*/ 190 w 316"/>
              <a:gd name="T23" fmla="*/ 164 h 172"/>
              <a:gd name="T24" fmla="*/ 217 w 316"/>
              <a:gd name="T25" fmla="*/ 153 h 172"/>
              <a:gd name="T26" fmla="*/ 233 w 316"/>
              <a:gd name="T27" fmla="*/ 146 h 172"/>
              <a:gd name="T28" fmla="*/ 265 w 316"/>
              <a:gd name="T29" fmla="*/ 162 h 172"/>
              <a:gd name="T30" fmla="*/ 288 w 316"/>
              <a:gd name="T31" fmla="*/ 14 h 172"/>
              <a:gd name="T32" fmla="*/ 225 w 316"/>
              <a:gd name="T33" fmla="*/ 129 h 172"/>
              <a:gd name="T34" fmla="*/ 225 w 316"/>
              <a:gd name="T35" fmla="*/ 139 h 172"/>
              <a:gd name="T36" fmla="*/ 216 w 316"/>
              <a:gd name="T37" fmla="*/ 142 h 172"/>
              <a:gd name="T38" fmla="*/ 207 w 316"/>
              <a:gd name="T39" fmla="*/ 142 h 172"/>
              <a:gd name="T40" fmla="*/ 189 w 316"/>
              <a:gd name="T41" fmla="*/ 153 h 172"/>
              <a:gd name="T42" fmla="*/ 185 w 316"/>
              <a:gd name="T43" fmla="*/ 153 h 172"/>
              <a:gd name="T44" fmla="*/ 180 w 316"/>
              <a:gd name="T45" fmla="*/ 156 h 172"/>
              <a:gd name="T46" fmla="*/ 157 w 316"/>
              <a:gd name="T47" fmla="*/ 149 h 172"/>
              <a:gd name="T48" fmla="*/ 130 w 316"/>
              <a:gd name="T49" fmla="*/ 128 h 172"/>
              <a:gd name="T50" fmla="*/ 88 w 316"/>
              <a:gd name="T51" fmla="*/ 103 h 172"/>
              <a:gd name="T52" fmla="*/ 71 w 316"/>
              <a:gd name="T53" fmla="*/ 91 h 172"/>
              <a:gd name="T54" fmla="*/ 71 w 316"/>
              <a:gd name="T55" fmla="*/ 90 h 172"/>
              <a:gd name="T56" fmla="*/ 72 w 316"/>
              <a:gd name="T57" fmla="*/ 88 h 172"/>
              <a:gd name="T58" fmla="*/ 93 w 316"/>
              <a:gd name="T59" fmla="*/ 20 h 172"/>
              <a:gd name="T60" fmla="*/ 132 w 316"/>
              <a:gd name="T61" fmla="*/ 24 h 172"/>
              <a:gd name="T62" fmla="*/ 127 w 316"/>
              <a:gd name="T63" fmla="*/ 72 h 172"/>
              <a:gd name="T64" fmla="*/ 185 w 316"/>
              <a:gd name="T65" fmla="*/ 54 h 172"/>
              <a:gd name="T66" fmla="*/ 241 w 316"/>
              <a:gd name="T67" fmla="*/ 11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 h="172">
                <a:moveTo>
                  <a:pt x="288" y="14"/>
                </a:moveTo>
                <a:cubicBezTo>
                  <a:pt x="232" y="27"/>
                  <a:pt x="232" y="27"/>
                  <a:pt x="232" y="27"/>
                </a:cubicBezTo>
                <a:cubicBezTo>
                  <a:pt x="233" y="31"/>
                  <a:pt x="233" y="31"/>
                  <a:pt x="233" y="31"/>
                </a:cubicBezTo>
                <a:cubicBezTo>
                  <a:pt x="228" y="22"/>
                  <a:pt x="221" y="20"/>
                  <a:pt x="221" y="20"/>
                </a:cubicBezTo>
                <a:cubicBezTo>
                  <a:pt x="178" y="7"/>
                  <a:pt x="178" y="7"/>
                  <a:pt x="178" y="7"/>
                </a:cubicBezTo>
                <a:cubicBezTo>
                  <a:pt x="173" y="5"/>
                  <a:pt x="165" y="7"/>
                  <a:pt x="157" y="10"/>
                </a:cubicBezTo>
                <a:cubicBezTo>
                  <a:pt x="156" y="9"/>
                  <a:pt x="156" y="9"/>
                  <a:pt x="156" y="9"/>
                </a:cubicBezTo>
                <a:cubicBezTo>
                  <a:pt x="92" y="9"/>
                  <a:pt x="92" y="9"/>
                  <a:pt x="92" y="9"/>
                </a:cubicBezTo>
                <a:cubicBezTo>
                  <a:pt x="92" y="9"/>
                  <a:pt x="92" y="9"/>
                  <a:pt x="92" y="9"/>
                </a:cubicBezTo>
                <a:cubicBezTo>
                  <a:pt x="91" y="9"/>
                  <a:pt x="87" y="10"/>
                  <a:pt x="84" y="13"/>
                </a:cubicBezTo>
                <a:cubicBezTo>
                  <a:pt x="50" y="0"/>
                  <a:pt x="50" y="0"/>
                  <a:pt x="50" y="0"/>
                </a:cubicBezTo>
                <a:cubicBezTo>
                  <a:pt x="0" y="121"/>
                  <a:pt x="0" y="121"/>
                  <a:pt x="0" y="121"/>
                </a:cubicBezTo>
                <a:cubicBezTo>
                  <a:pt x="54" y="148"/>
                  <a:pt x="54" y="148"/>
                  <a:pt x="54" y="148"/>
                </a:cubicBezTo>
                <a:cubicBezTo>
                  <a:pt x="69" y="144"/>
                  <a:pt x="76" y="120"/>
                  <a:pt x="78" y="109"/>
                </a:cubicBezTo>
                <a:cubicBezTo>
                  <a:pt x="82" y="112"/>
                  <a:pt x="82" y="112"/>
                  <a:pt x="82" y="112"/>
                </a:cubicBezTo>
                <a:cubicBezTo>
                  <a:pt x="84" y="113"/>
                  <a:pt x="84" y="113"/>
                  <a:pt x="84" y="113"/>
                </a:cubicBezTo>
                <a:cubicBezTo>
                  <a:pt x="84" y="120"/>
                  <a:pt x="85" y="130"/>
                  <a:pt x="99" y="127"/>
                </a:cubicBezTo>
                <a:cubicBezTo>
                  <a:pt x="99" y="127"/>
                  <a:pt x="100" y="157"/>
                  <a:pt x="120" y="142"/>
                </a:cubicBezTo>
                <a:cubicBezTo>
                  <a:pt x="120" y="142"/>
                  <a:pt x="120" y="161"/>
                  <a:pt x="138" y="155"/>
                </a:cubicBezTo>
                <a:cubicBezTo>
                  <a:pt x="138" y="155"/>
                  <a:pt x="141" y="172"/>
                  <a:pt x="159" y="163"/>
                </a:cubicBezTo>
                <a:cubicBezTo>
                  <a:pt x="162" y="165"/>
                  <a:pt x="162" y="165"/>
                  <a:pt x="162" y="165"/>
                </a:cubicBezTo>
                <a:cubicBezTo>
                  <a:pt x="163" y="165"/>
                  <a:pt x="163" y="165"/>
                  <a:pt x="163" y="165"/>
                </a:cubicBezTo>
                <a:cubicBezTo>
                  <a:pt x="164" y="165"/>
                  <a:pt x="173" y="168"/>
                  <a:pt x="181" y="167"/>
                </a:cubicBezTo>
                <a:cubicBezTo>
                  <a:pt x="185" y="167"/>
                  <a:pt x="188" y="166"/>
                  <a:pt x="190" y="164"/>
                </a:cubicBezTo>
                <a:cubicBezTo>
                  <a:pt x="196" y="163"/>
                  <a:pt x="208" y="161"/>
                  <a:pt x="214" y="153"/>
                </a:cubicBezTo>
                <a:cubicBezTo>
                  <a:pt x="215" y="153"/>
                  <a:pt x="216" y="153"/>
                  <a:pt x="217" y="153"/>
                </a:cubicBezTo>
                <a:cubicBezTo>
                  <a:pt x="217" y="153"/>
                  <a:pt x="217" y="153"/>
                  <a:pt x="217" y="153"/>
                </a:cubicBezTo>
                <a:cubicBezTo>
                  <a:pt x="224" y="153"/>
                  <a:pt x="230" y="150"/>
                  <a:pt x="233" y="146"/>
                </a:cubicBezTo>
                <a:cubicBezTo>
                  <a:pt x="235" y="143"/>
                  <a:pt x="236" y="140"/>
                  <a:pt x="236" y="136"/>
                </a:cubicBezTo>
                <a:cubicBezTo>
                  <a:pt x="236" y="136"/>
                  <a:pt x="248" y="160"/>
                  <a:pt x="265" y="162"/>
                </a:cubicBezTo>
                <a:cubicBezTo>
                  <a:pt x="316" y="137"/>
                  <a:pt x="316" y="137"/>
                  <a:pt x="316" y="137"/>
                </a:cubicBezTo>
                <a:lnTo>
                  <a:pt x="288" y="14"/>
                </a:lnTo>
                <a:close/>
                <a:moveTo>
                  <a:pt x="230" y="127"/>
                </a:moveTo>
                <a:cubicBezTo>
                  <a:pt x="225" y="129"/>
                  <a:pt x="225" y="129"/>
                  <a:pt x="225" y="129"/>
                </a:cubicBezTo>
                <a:cubicBezTo>
                  <a:pt x="226" y="133"/>
                  <a:pt x="226" y="133"/>
                  <a:pt x="226" y="133"/>
                </a:cubicBezTo>
                <a:cubicBezTo>
                  <a:pt x="226" y="137"/>
                  <a:pt x="225" y="139"/>
                  <a:pt x="225" y="139"/>
                </a:cubicBezTo>
                <a:cubicBezTo>
                  <a:pt x="223" y="141"/>
                  <a:pt x="220" y="142"/>
                  <a:pt x="216" y="142"/>
                </a:cubicBezTo>
                <a:cubicBezTo>
                  <a:pt x="216" y="142"/>
                  <a:pt x="216" y="142"/>
                  <a:pt x="216" y="142"/>
                </a:cubicBezTo>
                <a:cubicBezTo>
                  <a:pt x="214" y="143"/>
                  <a:pt x="212" y="142"/>
                  <a:pt x="211" y="142"/>
                </a:cubicBezTo>
                <a:cubicBezTo>
                  <a:pt x="207" y="142"/>
                  <a:pt x="207" y="142"/>
                  <a:pt x="207" y="142"/>
                </a:cubicBezTo>
                <a:cubicBezTo>
                  <a:pt x="206" y="146"/>
                  <a:pt x="206" y="146"/>
                  <a:pt x="206" y="146"/>
                </a:cubicBezTo>
                <a:cubicBezTo>
                  <a:pt x="204" y="150"/>
                  <a:pt x="196" y="153"/>
                  <a:pt x="189" y="153"/>
                </a:cubicBezTo>
                <a:cubicBezTo>
                  <a:pt x="188" y="153"/>
                  <a:pt x="188" y="153"/>
                  <a:pt x="188" y="153"/>
                </a:cubicBezTo>
                <a:cubicBezTo>
                  <a:pt x="185" y="153"/>
                  <a:pt x="185" y="153"/>
                  <a:pt x="185" y="153"/>
                </a:cubicBezTo>
                <a:cubicBezTo>
                  <a:pt x="184" y="155"/>
                  <a:pt x="184" y="155"/>
                  <a:pt x="184" y="155"/>
                </a:cubicBezTo>
                <a:cubicBezTo>
                  <a:pt x="183" y="156"/>
                  <a:pt x="182" y="156"/>
                  <a:pt x="180" y="156"/>
                </a:cubicBezTo>
                <a:cubicBezTo>
                  <a:pt x="175" y="157"/>
                  <a:pt x="169" y="155"/>
                  <a:pt x="167" y="155"/>
                </a:cubicBezTo>
                <a:cubicBezTo>
                  <a:pt x="157" y="149"/>
                  <a:pt x="157" y="149"/>
                  <a:pt x="157" y="149"/>
                </a:cubicBezTo>
                <a:cubicBezTo>
                  <a:pt x="156" y="144"/>
                  <a:pt x="154" y="140"/>
                  <a:pt x="149" y="140"/>
                </a:cubicBezTo>
                <a:cubicBezTo>
                  <a:pt x="149" y="140"/>
                  <a:pt x="147" y="116"/>
                  <a:pt x="130" y="128"/>
                </a:cubicBezTo>
                <a:cubicBezTo>
                  <a:pt x="130" y="128"/>
                  <a:pt x="125" y="108"/>
                  <a:pt x="109" y="117"/>
                </a:cubicBezTo>
                <a:cubicBezTo>
                  <a:pt x="88" y="103"/>
                  <a:pt x="88" y="103"/>
                  <a:pt x="88" y="103"/>
                </a:cubicBezTo>
                <a:cubicBezTo>
                  <a:pt x="72" y="91"/>
                  <a:pt x="72" y="91"/>
                  <a:pt x="72" y="91"/>
                </a:cubicBezTo>
                <a:cubicBezTo>
                  <a:pt x="71" y="91"/>
                  <a:pt x="71" y="91"/>
                  <a:pt x="71" y="91"/>
                </a:cubicBezTo>
                <a:cubicBezTo>
                  <a:pt x="71" y="91"/>
                  <a:pt x="71" y="91"/>
                  <a:pt x="71" y="91"/>
                </a:cubicBezTo>
                <a:cubicBezTo>
                  <a:pt x="71" y="90"/>
                  <a:pt x="71" y="90"/>
                  <a:pt x="71" y="90"/>
                </a:cubicBezTo>
                <a:cubicBezTo>
                  <a:pt x="72" y="89"/>
                  <a:pt x="72" y="89"/>
                  <a:pt x="72" y="89"/>
                </a:cubicBezTo>
                <a:cubicBezTo>
                  <a:pt x="72" y="88"/>
                  <a:pt x="72" y="88"/>
                  <a:pt x="72" y="88"/>
                </a:cubicBezTo>
                <a:cubicBezTo>
                  <a:pt x="72" y="87"/>
                  <a:pt x="90" y="26"/>
                  <a:pt x="91" y="21"/>
                </a:cubicBezTo>
                <a:cubicBezTo>
                  <a:pt x="91" y="21"/>
                  <a:pt x="93" y="20"/>
                  <a:pt x="93" y="20"/>
                </a:cubicBezTo>
                <a:cubicBezTo>
                  <a:pt x="138" y="20"/>
                  <a:pt x="138" y="20"/>
                  <a:pt x="138" y="20"/>
                </a:cubicBezTo>
                <a:cubicBezTo>
                  <a:pt x="134" y="22"/>
                  <a:pt x="132" y="24"/>
                  <a:pt x="132" y="24"/>
                </a:cubicBezTo>
                <a:cubicBezTo>
                  <a:pt x="125" y="30"/>
                  <a:pt x="122" y="60"/>
                  <a:pt x="122" y="60"/>
                </a:cubicBezTo>
                <a:cubicBezTo>
                  <a:pt x="119" y="67"/>
                  <a:pt x="127" y="72"/>
                  <a:pt x="127" y="72"/>
                </a:cubicBezTo>
                <a:cubicBezTo>
                  <a:pt x="140" y="81"/>
                  <a:pt x="154" y="47"/>
                  <a:pt x="154" y="47"/>
                </a:cubicBezTo>
                <a:cubicBezTo>
                  <a:pt x="161" y="41"/>
                  <a:pt x="172" y="45"/>
                  <a:pt x="185" y="54"/>
                </a:cubicBezTo>
                <a:cubicBezTo>
                  <a:pt x="206" y="76"/>
                  <a:pt x="232" y="102"/>
                  <a:pt x="239" y="111"/>
                </a:cubicBezTo>
                <a:cubicBezTo>
                  <a:pt x="241" y="114"/>
                  <a:pt x="242" y="117"/>
                  <a:pt x="241" y="119"/>
                </a:cubicBezTo>
                <a:cubicBezTo>
                  <a:pt x="240" y="123"/>
                  <a:pt x="233" y="126"/>
                  <a:pt x="230" y="127"/>
                </a:cubicBezTo>
                <a:close/>
              </a:path>
            </a:pathLst>
          </a:custGeom>
          <a:solidFill>
            <a:schemeClr val="bg1"/>
          </a:solidFill>
          <a:ln>
            <a:noFill/>
          </a:ln>
        </p:spPr>
        <p:txBody>
          <a:bodyPr vert="horz" wrap="square" lIns="91401" tIns="45702" rIns="91401" bIns="45702" numCol="1" anchor="t" anchorCtr="0" compatLnSpc="1"/>
          <a:lstStyle/>
          <a:p>
            <a:pPr algn="just">
              <a:lnSpc>
                <a:spcPct val="120000"/>
              </a:lnSpc>
            </a:pPr>
            <a:endParaRPr lang="en-GB" sz="900">
              <a:cs typeface="+mn-ea"/>
              <a:sym typeface="+mn-lt"/>
            </a:endParaRPr>
          </a:p>
        </p:txBody>
      </p:sp>
      <p:grpSp>
        <p:nvGrpSpPr>
          <p:cNvPr id="6" name="Group 46"/>
          <p:cNvGrpSpPr/>
          <p:nvPr/>
        </p:nvGrpSpPr>
        <p:grpSpPr>
          <a:xfrm>
            <a:off x="4470807" y="3038433"/>
            <a:ext cx="657510" cy="515380"/>
            <a:chOff x="7200839" y="1790292"/>
            <a:chExt cx="795921" cy="623870"/>
          </a:xfrm>
          <a:solidFill>
            <a:schemeClr val="bg1"/>
          </a:solidFill>
        </p:grpSpPr>
        <p:sp>
          <p:nvSpPr>
            <p:cNvPr id="48" name="Freeform 47"/>
            <p:cNvSpPr/>
            <p:nvPr/>
          </p:nvSpPr>
          <p:spPr bwMode="auto">
            <a:xfrm>
              <a:off x="7235971" y="1790292"/>
              <a:ext cx="760789" cy="434110"/>
            </a:xfrm>
            <a:custGeom>
              <a:avLst/>
              <a:gdLst>
                <a:gd name="T0" fmla="*/ 295 w 628"/>
                <a:gd name="T1" fmla="*/ 232 h 334"/>
                <a:gd name="T2" fmla="*/ 295 w 628"/>
                <a:gd name="T3" fmla="*/ 232 h 334"/>
                <a:gd name="T4" fmla="*/ 295 w 628"/>
                <a:gd name="T5" fmla="*/ 232 h 334"/>
                <a:gd name="T6" fmla="*/ 295 w 628"/>
                <a:gd name="T7" fmla="*/ 232 h 334"/>
                <a:gd name="T8" fmla="*/ 430 w 628"/>
                <a:gd name="T9" fmla="*/ 334 h 334"/>
                <a:gd name="T10" fmla="*/ 628 w 628"/>
                <a:gd name="T11" fmla="*/ 218 h 334"/>
                <a:gd name="T12" fmla="*/ 494 w 628"/>
                <a:gd name="T13" fmla="*/ 114 h 334"/>
                <a:gd name="T14" fmla="*/ 305 w 628"/>
                <a:gd name="T15" fmla="*/ 225 h 334"/>
                <a:gd name="T16" fmla="*/ 305 w 628"/>
                <a:gd name="T17" fmla="*/ 3 h 334"/>
                <a:gd name="T18" fmla="*/ 494 w 628"/>
                <a:gd name="T19" fmla="*/ 114 h 334"/>
                <a:gd name="T20" fmla="*/ 600 w 628"/>
                <a:gd name="T21" fmla="*/ 102 h 334"/>
                <a:gd name="T22" fmla="*/ 437 w 628"/>
                <a:gd name="T23" fmla="*/ 7 h 334"/>
                <a:gd name="T24" fmla="*/ 305 w 628"/>
                <a:gd name="T25" fmla="*/ 0 h 334"/>
                <a:gd name="T26" fmla="*/ 305 w 628"/>
                <a:gd name="T27" fmla="*/ 0 h 334"/>
                <a:gd name="T28" fmla="*/ 302 w 628"/>
                <a:gd name="T29" fmla="*/ 0 h 334"/>
                <a:gd name="T30" fmla="*/ 300 w 628"/>
                <a:gd name="T31" fmla="*/ 0 h 334"/>
                <a:gd name="T32" fmla="*/ 295 w 628"/>
                <a:gd name="T33" fmla="*/ 0 h 334"/>
                <a:gd name="T34" fmla="*/ 295 w 628"/>
                <a:gd name="T35" fmla="*/ 0 h 334"/>
                <a:gd name="T36" fmla="*/ 165 w 628"/>
                <a:gd name="T37" fmla="*/ 7 h 334"/>
                <a:gd name="T38" fmla="*/ 0 w 628"/>
                <a:gd name="T39" fmla="*/ 102 h 334"/>
                <a:gd name="T40" fmla="*/ 108 w 628"/>
                <a:gd name="T41" fmla="*/ 114 h 334"/>
                <a:gd name="T42" fmla="*/ 295 w 628"/>
                <a:gd name="T43" fmla="*/ 3 h 334"/>
                <a:gd name="T44" fmla="*/ 295 w 628"/>
                <a:gd name="T45" fmla="*/ 232 h 334"/>
                <a:gd name="T46" fmla="*/ 295 w 628"/>
                <a:gd name="T47" fmla="*/ 23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8" h="334">
                  <a:moveTo>
                    <a:pt x="295" y="232"/>
                  </a:moveTo>
                  <a:lnTo>
                    <a:pt x="295" y="232"/>
                  </a:lnTo>
                  <a:lnTo>
                    <a:pt x="295" y="232"/>
                  </a:lnTo>
                  <a:lnTo>
                    <a:pt x="295" y="232"/>
                  </a:lnTo>
                  <a:lnTo>
                    <a:pt x="430" y="334"/>
                  </a:lnTo>
                  <a:lnTo>
                    <a:pt x="628" y="218"/>
                  </a:lnTo>
                  <a:lnTo>
                    <a:pt x="494" y="114"/>
                  </a:lnTo>
                  <a:lnTo>
                    <a:pt x="305" y="225"/>
                  </a:lnTo>
                  <a:lnTo>
                    <a:pt x="305" y="3"/>
                  </a:lnTo>
                  <a:lnTo>
                    <a:pt x="494" y="114"/>
                  </a:lnTo>
                  <a:lnTo>
                    <a:pt x="600" y="102"/>
                  </a:lnTo>
                  <a:lnTo>
                    <a:pt x="437" y="7"/>
                  </a:lnTo>
                  <a:lnTo>
                    <a:pt x="305" y="0"/>
                  </a:lnTo>
                  <a:lnTo>
                    <a:pt x="305" y="0"/>
                  </a:lnTo>
                  <a:lnTo>
                    <a:pt x="302" y="0"/>
                  </a:lnTo>
                  <a:lnTo>
                    <a:pt x="300" y="0"/>
                  </a:lnTo>
                  <a:lnTo>
                    <a:pt x="295" y="0"/>
                  </a:lnTo>
                  <a:lnTo>
                    <a:pt x="295" y="0"/>
                  </a:lnTo>
                  <a:lnTo>
                    <a:pt x="165" y="7"/>
                  </a:lnTo>
                  <a:lnTo>
                    <a:pt x="0" y="102"/>
                  </a:lnTo>
                  <a:lnTo>
                    <a:pt x="108" y="114"/>
                  </a:lnTo>
                  <a:lnTo>
                    <a:pt x="295" y="3"/>
                  </a:lnTo>
                  <a:lnTo>
                    <a:pt x="295" y="232"/>
                  </a:lnTo>
                  <a:lnTo>
                    <a:pt x="295" y="2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01" tIns="45702" rIns="91401" bIns="45702" numCol="1" anchor="t" anchorCtr="0" compatLnSpc="1"/>
            <a:lstStyle/>
            <a:p>
              <a:pPr algn="just">
                <a:lnSpc>
                  <a:spcPct val="120000"/>
                </a:lnSpc>
              </a:pPr>
              <a:endParaRPr lang="en-GB" sz="900">
                <a:cs typeface="+mn-ea"/>
                <a:sym typeface="+mn-lt"/>
              </a:endParaRPr>
            </a:p>
          </p:txBody>
        </p:sp>
        <p:sp>
          <p:nvSpPr>
            <p:cNvPr id="49" name="Freeform 48"/>
            <p:cNvSpPr/>
            <p:nvPr/>
          </p:nvSpPr>
          <p:spPr bwMode="auto">
            <a:xfrm>
              <a:off x="7200839" y="1941061"/>
              <a:ext cx="392509" cy="289840"/>
            </a:xfrm>
            <a:custGeom>
              <a:avLst/>
              <a:gdLst>
                <a:gd name="T0" fmla="*/ 0 w 324"/>
                <a:gd name="T1" fmla="*/ 100 h 223"/>
                <a:gd name="T2" fmla="*/ 187 w 324"/>
                <a:gd name="T3" fmla="*/ 223 h 223"/>
                <a:gd name="T4" fmla="*/ 324 w 324"/>
                <a:gd name="T5" fmla="*/ 116 h 223"/>
                <a:gd name="T6" fmla="*/ 130 w 324"/>
                <a:gd name="T7" fmla="*/ 0 h 223"/>
                <a:gd name="T8" fmla="*/ 0 w 324"/>
                <a:gd name="T9" fmla="*/ 100 h 223"/>
              </a:gdLst>
              <a:ahLst/>
              <a:cxnLst>
                <a:cxn ang="0">
                  <a:pos x="T0" y="T1"/>
                </a:cxn>
                <a:cxn ang="0">
                  <a:pos x="T2" y="T3"/>
                </a:cxn>
                <a:cxn ang="0">
                  <a:pos x="T4" y="T5"/>
                </a:cxn>
                <a:cxn ang="0">
                  <a:pos x="T6" y="T7"/>
                </a:cxn>
                <a:cxn ang="0">
                  <a:pos x="T8" y="T9"/>
                </a:cxn>
              </a:cxnLst>
              <a:rect l="0" t="0" r="r" b="b"/>
              <a:pathLst>
                <a:path w="324" h="223">
                  <a:moveTo>
                    <a:pt x="0" y="100"/>
                  </a:moveTo>
                  <a:lnTo>
                    <a:pt x="187" y="223"/>
                  </a:lnTo>
                  <a:lnTo>
                    <a:pt x="324" y="116"/>
                  </a:lnTo>
                  <a:lnTo>
                    <a:pt x="130" y="0"/>
                  </a:lnTo>
                  <a:lnTo>
                    <a:pt x="0" y="10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01" tIns="45702" rIns="91401" bIns="45702" numCol="1" anchor="t" anchorCtr="0" compatLnSpc="1"/>
            <a:lstStyle/>
            <a:p>
              <a:pPr algn="just">
                <a:lnSpc>
                  <a:spcPct val="120000"/>
                </a:lnSpc>
              </a:pPr>
              <a:endParaRPr lang="en-GB" sz="900">
                <a:cs typeface="+mn-ea"/>
                <a:sym typeface="+mn-lt"/>
              </a:endParaRPr>
            </a:p>
          </p:txBody>
        </p:sp>
        <p:sp>
          <p:nvSpPr>
            <p:cNvPr id="50" name="Freeform 49"/>
            <p:cNvSpPr/>
            <p:nvPr/>
          </p:nvSpPr>
          <p:spPr bwMode="auto">
            <a:xfrm>
              <a:off x="7353482" y="2116524"/>
              <a:ext cx="477310" cy="297638"/>
            </a:xfrm>
            <a:custGeom>
              <a:avLst/>
              <a:gdLst>
                <a:gd name="T0" fmla="*/ 198 w 394"/>
                <a:gd name="T1" fmla="*/ 0 h 229"/>
                <a:gd name="T2" fmla="*/ 61 w 394"/>
                <a:gd name="T3" fmla="*/ 109 h 229"/>
                <a:gd name="T4" fmla="*/ 0 w 394"/>
                <a:gd name="T5" fmla="*/ 71 h 229"/>
                <a:gd name="T6" fmla="*/ 0 w 394"/>
                <a:gd name="T7" fmla="*/ 114 h 229"/>
                <a:gd name="T8" fmla="*/ 198 w 394"/>
                <a:gd name="T9" fmla="*/ 229 h 229"/>
                <a:gd name="T10" fmla="*/ 394 w 394"/>
                <a:gd name="T11" fmla="*/ 116 h 229"/>
                <a:gd name="T12" fmla="*/ 394 w 394"/>
                <a:gd name="T13" fmla="*/ 64 h 229"/>
                <a:gd name="T14" fmla="*/ 335 w 394"/>
                <a:gd name="T15" fmla="*/ 104 h 229"/>
                <a:gd name="T16" fmla="*/ 198 w 394"/>
                <a:gd name="T17"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4" h="229">
                  <a:moveTo>
                    <a:pt x="198" y="0"/>
                  </a:moveTo>
                  <a:lnTo>
                    <a:pt x="61" y="109"/>
                  </a:lnTo>
                  <a:lnTo>
                    <a:pt x="0" y="71"/>
                  </a:lnTo>
                  <a:lnTo>
                    <a:pt x="0" y="114"/>
                  </a:lnTo>
                  <a:lnTo>
                    <a:pt x="198" y="229"/>
                  </a:lnTo>
                  <a:lnTo>
                    <a:pt x="394" y="116"/>
                  </a:lnTo>
                  <a:lnTo>
                    <a:pt x="394" y="64"/>
                  </a:lnTo>
                  <a:lnTo>
                    <a:pt x="335" y="104"/>
                  </a:lnTo>
                  <a:lnTo>
                    <a:pt x="198"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01" tIns="45702" rIns="91401" bIns="45702" numCol="1" anchor="t" anchorCtr="0" compatLnSpc="1"/>
            <a:lstStyle/>
            <a:p>
              <a:pPr algn="just">
                <a:lnSpc>
                  <a:spcPct val="120000"/>
                </a:lnSpc>
              </a:pPr>
              <a:endParaRPr lang="en-GB" sz="900">
                <a:cs typeface="+mn-ea"/>
                <a:sym typeface="+mn-lt"/>
              </a:endParaRPr>
            </a:p>
          </p:txBody>
        </p:sp>
      </p:grpSp>
      <p:sp>
        <p:nvSpPr>
          <p:cNvPr id="51" name="Freeform 50"/>
          <p:cNvSpPr/>
          <p:nvPr/>
        </p:nvSpPr>
        <p:spPr bwMode="auto">
          <a:xfrm>
            <a:off x="6219770" y="2906983"/>
            <a:ext cx="487379" cy="721532"/>
          </a:xfrm>
          <a:custGeom>
            <a:avLst/>
            <a:gdLst>
              <a:gd name="T0" fmla="*/ 25 w 206"/>
              <a:gd name="T1" fmla="*/ 112 h 284"/>
              <a:gd name="T2" fmla="*/ 25 w 206"/>
              <a:gd name="T3" fmla="*/ 64 h 284"/>
              <a:gd name="T4" fmla="*/ 5 w 206"/>
              <a:gd name="T5" fmla="*/ 64 h 284"/>
              <a:gd name="T6" fmla="*/ 4 w 206"/>
              <a:gd name="T7" fmla="*/ 60 h 284"/>
              <a:gd name="T8" fmla="*/ 104 w 206"/>
              <a:gd name="T9" fmla="*/ 2 h 284"/>
              <a:gd name="T10" fmla="*/ 117 w 206"/>
              <a:gd name="T11" fmla="*/ 2 h 284"/>
              <a:gd name="T12" fmla="*/ 145 w 206"/>
              <a:gd name="T13" fmla="*/ 25 h 284"/>
              <a:gd name="T14" fmla="*/ 145 w 206"/>
              <a:gd name="T15" fmla="*/ 2 h 284"/>
              <a:gd name="T16" fmla="*/ 168 w 206"/>
              <a:gd name="T17" fmla="*/ 2 h 284"/>
              <a:gd name="T18" fmla="*/ 168 w 206"/>
              <a:gd name="T19" fmla="*/ 40 h 284"/>
              <a:gd name="T20" fmla="*/ 184 w 206"/>
              <a:gd name="T21" fmla="*/ 49 h 284"/>
              <a:gd name="T22" fmla="*/ 184 w 206"/>
              <a:gd name="T23" fmla="*/ 49 h 284"/>
              <a:gd name="T24" fmla="*/ 184 w 206"/>
              <a:gd name="T25" fmla="*/ 49 h 284"/>
              <a:gd name="T26" fmla="*/ 202 w 206"/>
              <a:gd name="T27" fmla="*/ 60 h 284"/>
              <a:gd name="T28" fmla="*/ 201 w 206"/>
              <a:gd name="T29" fmla="*/ 64 h 284"/>
              <a:gd name="T30" fmla="*/ 184 w 206"/>
              <a:gd name="T31" fmla="*/ 64 h 284"/>
              <a:gd name="T32" fmla="*/ 184 w 206"/>
              <a:gd name="T33" fmla="*/ 117 h 284"/>
              <a:gd name="T34" fmla="*/ 169 w 206"/>
              <a:gd name="T35" fmla="*/ 134 h 284"/>
              <a:gd name="T36" fmla="*/ 136 w 206"/>
              <a:gd name="T37" fmla="*/ 134 h 284"/>
              <a:gd name="T38" fmla="*/ 129 w 206"/>
              <a:gd name="T39" fmla="*/ 137 h 284"/>
              <a:gd name="T40" fmla="*/ 140 w 206"/>
              <a:gd name="T41" fmla="*/ 155 h 284"/>
              <a:gd name="T42" fmla="*/ 139 w 206"/>
              <a:gd name="T43" fmla="*/ 160 h 284"/>
              <a:gd name="T44" fmla="*/ 118 w 206"/>
              <a:gd name="T45" fmla="*/ 161 h 284"/>
              <a:gd name="T46" fmla="*/ 119 w 206"/>
              <a:gd name="T47" fmla="*/ 168 h 284"/>
              <a:gd name="T48" fmla="*/ 130 w 206"/>
              <a:gd name="T49" fmla="*/ 179 h 284"/>
              <a:gd name="T50" fmla="*/ 115 w 206"/>
              <a:gd name="T51" fmla="*/ 195 h 284"/>
              <a:gd name="T52" fmla="*/ 129 w 206"/>
              <a:gd name="T53" fmla="*/ 211 h 284"/>
              <a:gd name="T54" fmla="*/ 129 w 206"/>
              <a:gd name="T55" fmla="*/ 220 h 284"/>
              <a:gd name="T56" fmla="*/ 115 w 206"/>
              <a:gd name="T57" fmla="*/ 235 h 284"/>
              <a:gd name="T58" fmla="*/ 124 w 206"/>
              <a:gd name="T59" fmla="*/ 248 h 284"/>
              <a:gd name="T60" fmla="*/ 124 w 206"/>
              <a:gd name="T61" fmla="*/ 260 h 284"/>
              <a:gd name="T62" fmla="*/ 102 w 206"/>
              <a:gd name="T63" fmla="*/ 284 h 284"/>
              <a:gd name="T64" fmla="*/ 86 w 206"/>
              <a:gd name="T65" fmla="*/ 264 h 284"/>
              <a:gd name="T66" fmla="*/ 85 w 206"/>
              <a:gd name="T67" fmla="*/ 163 h 284"/>
              <a:gd name="T68" fmla="*/ 83 w 206"/>
              <a:gd name="T69" fmla="*/ 160 h 284"/>
              <a:gd name="T70" fmla="*/ 71 w 206"/>
              <a:gd name="T71" fmla="*/ 159 h 284"/>
              <a:gd name="T72" fmla="*/ 68 w 206"/>
              <a:gd name="T73" fmla="*/ 152 h 284"/>
              <a:gd name="T74" fmla="*/ 77 w 206"/>
              <a:gd name="T75" fmla="*/ 140 h 284"/>
              <a:gd name="T76" fmla="*/ 78 w 206"/>
              <a:gd name="T77" fmla="*/ 136 h 284"/>
              <a:gd name="T78" fmla="*/ 73 w 206"/>
              <a:gd name="T79" fmla="*/ 134 h 284"/>
              <a:gd name="T80" fmla="*/ 40 w 206"/>
              <a:gd name="T81" fmla="*/ 134 h 284"/>
              <a:gd name="T82" fmla="*/ 25 w 206"/>
              <a:gd name="T83" fmla="*/ 11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6" h="284">
                <a:moveTo>
                  <a:pt x="25" y="112"/>
                </a:moveTo>
                <a:cubicBezTo>
                  <a:pt x="25" y="64"/>
                  <a:pt x="25" y="64"/>
                  <a:pt x="25" y="64"/>
                </a:cubicBezTo>
                <a:cubicBezTo>
                  <a:pt x="5" y="64"/>
                  <a:pt x="5" y="64"/>
                  <a:pt x="5" y="64"/>
                </a:cubicBezTo>
                <a:cubicBezTo>
                  <a:pt x="1" y="64"/>
                  <a:pt x="0" y="62"/>
                  <a:pt x="4" y="60"/>
                </a:cubicBezTo>
                <a:cubicBezTo>
                  <a:pt x="104" y="2"/>
                  <a:pt x="104" y="2"/>
                  <a:pt x="104" y="2"/>
                </a:cubicBezTo>
                <a:cubicBezTo>
                  <a:pt x="107" y="0"/>
                  <a:pt x="113" y="0"/>
                  <a:pt x="117" y="2"/>
                </a:cubicBezTo>
                <a:cubicBezTo>
                  <a:pt x="145" y="25"/>
                  <a:pt x="145" y="25"/>
                  <a:pt x="145" y="25"/>
                </a:cubicBezTo>
                <a:cubicBezTo>
                  <a:pt x="145" y="2"/>
                  <a:pt x="145" y="2"/>
                  <a:pt x="145" y="2"/>
                </a:cubicBezTo>
                <a:cubicBezTo>
                  <a:pt x="168" y="2"/>
                  <a:pt x="168" y="2"/>
                  <a:pt x="168" y="2"/>
                </a:cubicBezTo>
                <a:cubicBezTo>
                  <a:pt x="168" y="40"/>
                  <a:pt x="168" y="40"/>
                  <a:pt x="168" y="40"/>
                </a:cubicBezTo>
                <a:cubicBezTo>
                  <a:pt x="184" y="49"/>
                  <a:pt x="184" y="49"/>
                  <a:pt x="184" y="49"/>
                </a:cubicBezTo>
                <a:cubicBezTo>
                  <a:pt x="184" y="49"/>
                  <a:pt x="184" y="49"/>
                  <a:pt x="184" y="49"/>
                </a:cubicBezTo>
                <a:cubicBezTo>
                  <a:pt x="184" y="49"/>
                  <a:pt x="184" y="49"/>
                  <a:pt x="184" y="49"/>
                </a:cubicBezTo>
                <a:cubicBezTo>
                  <a:pt x="202" y="60"/>
                  <a:pt x="202" y="60"/>
                  <a:pt x="202" y="60"/>
                </a:cubicBezTo>
                <a:cubicBezTo>
                  <a:pt x="206" y="62"/>
                  <a:pt x="205" y="64"/>
                  <a:pt x="201" y="64"/>
                </a:cubicBezTo>
                <a:cubicBezTo>
                  <a:pt x="184" y="64"/>
                  <a:pt x="184" y="64"/>
                  <a:pt x="184" y="64"/>
                </a:cubicBezTo>
                <a:cubicBezTo>
                  <a:pt x="184" y="117"/>
                  <a:pt x="184" y="117"/>
                  <a:pt x="184" y="117"/>
                </a:cubicBezTo>
                <a:cubicBezTo>
                  <a:pt x="184" y="117"/>
                  <a:pt x="185" y="134"/>
                  <a:pt x="169" y="134"/>
                </a:cubicBezTo>
                <a:cubicBezTo>
                  <a:pt x="136" y="134"/>
                  <a:pt x="136" y="134"/>
                  <a:pt x="136" y="134"/>
                </a:cubicBezTo>
                <a:cubicBezTo>
                  <a:pt x="134" y="135"/>
                  <a:pt x="131" y="136"/>
                  <a:pt x="129" y="137"/>
                </a:cubicBezTo>
                <a:cubicBezTo>
                  <a:pt x="140" y="155"/>
                  <a:pt x="140" y="155"/>
                  <a:pt x="140" y="155"/>
                </a:cubicBezTo>
                <a:cubicBezTo>
                  <a:pt x="142" y="159"/>
                  <a:pt x="139" y="160"/>
                  <a:pt x="139" y="160"/>
                </a:cubicBezTo>
                <a:cubicBezTo>
                  <a:pt x="118" y="161"/>
                  <a:pt x="118" y="161"/>
                  <a:pt x="118" y="161"/>
                </a:cubicBezTo>
                <a:cubicBezTo>
                  <a:pt x="119" y="168"/>
                  <a:pt x="119" y="168"/>
                  <a:pt x="119" y="168"/>
                </a:cubicBezTo>
                <a:cubicBezTo>
                  <a:pt x="130" y="179"/>
                  <a:pt x="130" y="179"/>
                  <a:pt x="130" y="179"/>
                </a:cubicBezTo>
                <a:cubicBezTo>
                  <a:pt x="115" y="195"/>
                  <a:pt x="115" y="195"/>
                  <a:pt x="115" y="195"/>
                </a:cubicBezTo>
                <a:cubicBezTo>
                  <a:pt x="129" y="211"/>
                  <a:pt x="129" y="211"/>
                  <a:pt x="129" y="211"/>
                </a:cubicBezTo>
                <a:cubicBezTo>
                  <a:pt x="129" y="220"/>
                  <a:pt x="129" y="220"/>
                  <a:pt x="129" y="220"/>
                </a:cubicBezTo>
                <a:cubicBezTo>
                  <a:pt x="115" y="235"/>
                  <a:pt x="115" y="235"/>
                  <a:pt x="115" y="235"/>
                </a:cubicBezTo>
                <a:cubicBezTo>
                  <a:pt x="124" y="248"/>
                  <a:pt x="124" y="248"/>
                  <a:pt x="124" y="248"/>
                </a:cubicBezTo>
                <a:cubicBezTo>
                  <a:pt x="124" y="260"/>
                  <a:pt x="124" y="260"/>
                  <a:pt x="124" y="260"/>
                </a:cubicBezTo>
                <a:cubicBezTo>
                  <a:pt x="102" y="284"/>
                  <a:pt x="102" y="284"/>
                  <a:pt x="102" y="284"/>
                </a:cubicBezTo>
                <a:cubicBezTo>
                  <a:pt x="94" y="283"/>
                  <a:pt x="86" y="264"/>
                  <a:pt x="86" y="264"/>
                </a:cubicBezTo>
                <a:cubicBezTo>
                  <a:pt x="85" y="163"/>
                  <a:pt x="85" y="163"/>
                  <a:pt x="85" y="163"/>
                </a:cubicBezTo>
                <a:cubicBezTo>
                  <a:pt x="85" y="160"/>
                  <a:pt x="83" y="160"/>
                  <a:pt x="83" y="160"/>
                </a:cubicBezTo>
                <a:cubicBezTo>
                  <a:pt x="71" y="159"/>
                  <a:pt x="71" y="159"/>
                  <a:pt x="71" y="159"/>
                </a:cubicBezTo>
                <a:cubicBezTo>
                  <a:pt x="64" y="159"/>
                  <a:pt x="68" y="152"/>
                  <a:pt x="68" y="152"/>
                </a:cubicBezTo>
                <a:cubicBezTo>
                  <a:pt x="77" y="140"/>
                  <a:pt x="77" y="140"/>
                  <a:pt x="77" y="140"/>
                </a:cubicBezTo>
                <a:cubicBezTo>
                  <a:pt x="78" y="139"/>
                  <a:pt x="78" y="137"/>
                  <a:pt x="78" y="136"/>
                </a:cubicBezTo>
                <a:cubicBezTo>
                  <a:pt x="76" y="136"/>
                  <a:pt x="74" y="135"/>
                  <a:pt x="73" y="134"/>
                </a:cubicBezTo>
                <a:cubicBezTo>
                  <a:pt x="40" y="134"/>
                  <a:pt x="40" y="134"/>
                  <a:pt x="40" y="134"/>
                </a:cubicBezTo>
                <a:cubicBezTo>
                  <a:pt x="40" y="134"/>
                  <a:pt x="25" y="133"/>
                  <a:pt x="25" y="112"/>
                </a:cubicBezTo>
                <a:close/>
              </a:path>
            </a:pathLst>
          </a:custGeom>
          <a:solidFill>
            <a:schemeClr val="bg1"/>
          </a:solidFill>
          <a:ln>
            <a:noFill/>
          </a:ln>
        </p:spPr>
        <p:txBody>
          <a:bodyPr vert="horz" wrap="square" lIns="91401" tIns="45702" rIns="91401" bIns="45702" numCol="1" anchor="t" anchorCtr="0" compatLnSpc="1"/>
          <a:lstStyle/>
          <a:p>
            <a:pPr algn="just">
              <a:lnSpc>
                <a:spcPct val="120000"/>
              </a:lnSpc>
            </a:pPr>
            <a:endParaRPr lang="en-GB" sz="900">
              <a:cs typeface="+mn-ea"/>
              <a:sym typeface="+mn-lt"/>
            </a:endParaRPr>
          </a:p>
        </p:txBody>
      </p:sp>
      <p:grpSp>
        <p:nvGrpSpPr>
          <p:cNvPr id="7" name="Group 3"/>
          <p:cNvGrpSpPr/>
          <p:nvPr/>
        </p:nvGrpSpPr>
        <p:grpSpPr>
          <a:xfrm>
            <a:off x="7699215" y="2099987"/>
            <a:ext cx="2913429" cy="1613999"/>
            <a:chOff x="8461641" y="1680432"/>
            <a:chExt cx="2914647" cy="1614675"/>
          </a:xfrm>
        </p:grpSpPr>
        <p:sp>
          <p:nvSpPr>
            <p:cNvPr id="60" name="Rectangle 59"/>
            <p:cNvSpPr/>
            <p:nvPr/>
          </p:nvSpPr>
          <p:spPr>
            <a:xfrm>
              <a:off x="8461641" y="1680432"/>
              <a:ext cx="2914647" cy="1614675"/>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760">
                <a:solidFill>
                  <a:schemeClr val="tx1">
                    <a:lumMod val="75000"/>
                    <a:lumOff val="25000"/>
                  </a:schemeClr>
                </a:solidFill>
                <a:cs typeface="+mn-ea"/>
                <a:sym typeface="+mn-lt"/>
              </a:endParaRPr>
            </a:p>
          </p:txBody>
        </p:sp>
        <p:sp>
          <p:nvSpPr>
            <p:cNvPr id="61" name="TextBox 60"/>
            <p:cNvSpPr txBox="1"/>
            <p:nvPr/>
          </p:nvSpPr>
          <p:spPr>
            <a:xfrm>
              <a:off x="8706533" y="1912547"/>
              <a:ext cx="1422779" cy="316566"/>
            </a:xfrm>
            <a:prstGeom prst="rect">
              <a:avLst/>
            </a:prstGeom>
            <a:noFill/>
          </p:spPr>
          <p:txBody>
            <a:bodyPr wrap="none" rtlCol="0">
              <a:spAutoFit/>
            </a:bodyPr>
            <a:lstStyle/>
            <a:p>
              <a:pPr>
                <a:lnSpc>
                  <a:spcPct val="120000"/>
                </a:lnSpc>
              </a:pPr>
              <a:r>
                <a:rPr lang="zh-CN" altLang="en-US" sz="1330">
                  <a:solidFill>
                    <a:schemeClr val="tx1">
                      <a:lumMod val="75000"/>
                      <a:lumOff val="25000"/>
                    </a:schemeClr>
                  </a:solidFill>
                  <a:cs typeface="+mn-ea"/>
                  <a:sym typeface="+mn-lt"/>
                </a:rPr>
                <a:t>请替换文字内容 </a:t>
              </a:r>
              <a:endParaRPr lang="en-GB" sz="1330" dirty="0">
                <a:solidFill>
                  <a:schemeClr val="tx1">
                    <a:lumMod val="75000"/>
                    <a:lumOff val="25000"/>
                  </a:schemeClr>
                </a:solidFill>
                <a:cs typeface="+mn-ea"/>
                <a:sym typeface="+mn-lt"/>
              </a:endParaRPr>
            </a:p>
          </p:txBody>
        </p:sp>
        <p:sp>
          <p:nvSpPr>
            <p:cNvPr id="62" name="Rectangle 61"/>
            <p:cNvSpPr/>
            <p:nvPr/>
          </p:nvSpPr>
          <p:spPr>
            <a:xfrm>
              <a:off x="8701390" y="2281878"/>
              <a:ext cx="2482638" cy="512471"/>
            </a:xfrm>
            <a:prstGeom prst="rect">
              <a:avLst/>
            </a:prstGeom>
          </p:spPr>
          <p:txBody>
            <a:bodyPr wrap="square">
              <a:spAutoFit/>
            </a:bodyPr>
            <a:lstStyle/>
            <a:p>
              <a:pPr algn="just">
                <a:lnSpc>
                  <a:spcPct val="120000"/>
                </a:lnSpc>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r>
                <a:rPr lang="zh-CN" altLang="en-US" sz="760" dirty="0">
                  <a:solidFill>
                    <a:schemeClr val="tx1">
                      <a:lumMod val="75000"/>
                      <a:lumOff val="25000"/>
                    </a:schemeClr>
                  </a:solidFill>
                  <a:cs typeface="+mn-ea"/>
                  <a:sym typeface="+mn-lt"/>
                </a:rPr>
                <a:t>。</a:t>
              </a:r>
              <a:endParaRPr lang="en-GB" sz="760" dirty="0">
                <a:solidFill>
                  <a:schemeClr val="tx1">
                    <a:lumMod val="75000"/>
                    <a:lumOff val="25000"/>
                  </a:schemeClr>
                </a:solidFill>
                <a:cs typeface="+mn-ea"/>
                <a:sym typeface="+mn-lt"/>
              </a:endParaRPr>
            </a:p>
          </p:txBody>
        </p:sp>
      </p:grpSp>
      <p:grpSp>
        <p:nvGrpSpPr>
          <p:cNvPr id="8" name="Group 62"/>
          <p:cNvGrpSpPr/>
          <p:nvPr/>
        </p:nvGrpSpPr>
        <p:grpSpPr>
          <a:xfrm>
            <a:off x="8039038" y="4812290"/>
            <a:ext cx="755388" cy="755388"/>
            <a:chOff x="6895745" y="6076124"/>
            <a:chExt cx="755703" cy="755703"/>
          </a:xfrm>
        </p:grpSpPr>
        <p:sp>
          <p:nvSpPr>
            <p:cNvPr id="64" name="Oval 63"/>
            <p:cNvSpPr/>
            <p:nvPr/>
          </p:nvSpPr>
          <p:spPr>
            <a:xfrm>
              <a:off x="6895745" y="6076124"/>
              <a:ext cx="755703" cy="755703"/>
            </a:xfrm>
            <a:prstGeom prst="ellipse">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00">
                <a:solidFill>
                  <a:schemeClr val="tx1">
                    <a:lumMod val="75000"/>
                    <a:lumOff val="25000"/>
                  </a:schemeClr>
                </a:solidFill>
                <a:cs typeface="+mn-ea"/>
                <a:sym typeface="+mn-lt"/>
              </a:endParaRPr>
            </a:p>
          </p:txBody>
        </p:sp>
        <p:grpSp>
          <p:nvGrpSpPr>
            <p:cNvPr id="9" name="Group 64"/>
            <p:cNvGrpSpPr/>
            <p:nvPr/>
          </p:nvGrpSpPr>
          <p:grpSpPr>
            <a:xfrm>
              <a:off x="7162147" y="6226696"/>
              <a:ext cx="212181" cy="457727"/>
              <a:chOff x="4395788" y="2198688"/>
              <a:chExt cx="344488" cy="742951"/>
            </a:xfrm>
            <a:solidFill>
              <a:schemeClr val="bg2"/>
            </a:solidFill>
          </p:grpSpPr>
          <p:sp>
            <p:nvSpPr>
              <p:cNvPr id="66" name="Oval 65"/>
              <p:cNvSpPr>
                <a:spLocks noChangeArrowheads="1"/>
              </p:cNvSpPr>
              <p:nvPr/>
            </p:nvSpPr>
            <p:spPr bwMode="auto">
              <a:xfrm>
                <a:off x="4511675" y="2198688"/>
                <a:ext cx="109538" cy="112713"/>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45702" tIns="22850" rIns="45702" bIns="22850" numCol="1" anchor="t" anchorCtr="0" compatLnSpc="1"/>
              <a:lstStyle/>
              <a:p>
                <a:pPr algn="just">
                  <a:lnSpc>
                    <a:spcPct val="120000"/>
                  </a:lnSpc>
                </a:pPr>
                <a:endParaRPr lang="en-US" sz="900" dirty="0">
                  <a:solidFill>
                    <a:schemeClr val="tx1">
                      <a:lumMod val="75000"/>
                      <a:lumOff val="25000"/>
                    </a:schemeClr>
                  </a:solidFill>
                  <a:cs typeface="+mn-ea"/>
                  <a:sym typeface="+mn-lt"/>
                </a:endParaRPr>
              </a:p>
            </p:txBody>
          </p:sp>
          <p:sp>
            <p:nvSpPr>
              <p:cNvPr id="67" name="Freeform 7"/>
              <p:cNvSpPr/>
              <p:nvPr/>
            </p:nvSpPr>
            <p:spPr bwMode="auto">
              <a:xfrm>
                <a:off x="4395788" y="2333626"/>
                <a:ext cx="344488" cy="608013"/>
              </a:xfrm>
              <a:custGeom>
                <a:avLst/>
                <a:gdLst>
                  <a:gd name="T0" fmla="*/ 91 w 92"/>
                  <a:gd name="T1" fmla="*/ 60 h 162"/>
                  <a:gd name="T2" fmla="*/ 75 w 92"/>
                  <a:gd name="T3" fmla="*/ 10 h 162"/>
                  <a:gd name="T4" fmla="*/ 64 w 92"/>
                  <a:gd name="T5" fmla="*/ 0 h 162"/>
                  <a:gd name="T6" fmla="*/ 28 w 92"/>
                  <a:gd name="T7" fmla="*/ 0 h 162"/>
                  <a:gd name="T8" fmla="*/ 19 w 92"/>
                  <a:gd name="T9" fmla="*/ 5 h 162"/>
                  <a:gd name="T10" fmla="*/ 18 w 92"/>
                  <a:gd name="T11" fmla="*/ 7 h 162"/>
                  <a:gd name="T12" fmla="*/ 18 w 92"/>
                  <a:gd name="T13" fmla="*/ 7 h 162"/>
                  <a:gd name="T14" fmla="*/ 17 w 92"/>
                  <a:gd name="T15" fmla="*/ 8 h 162"/>
                  <a:gd name="T16" fmla="*/ 1 w 92"/>
                  <a:gd name="T17" fmla="*/ 60 h 162"/>
                  <a:gd name="T18" fmla="*/ 5 w 92"/>
                  <a:gd name="T19" fmla="*/ 68 h 162"/>
                  <a:gd name="T20" fmla="*/ 14 w 92"/>
                  <a:gd name="T21" fmla="*/ 64 h 162"/>
                  <a:gd name="T22" fmla="*/ 26 w 92"/>
                  <a:gd name="T23" fmla="*/ 23 h 162"/>
                  <a:gd name="T24" fmla="*/ 28 w 92"/>
                  <a:gd name="T25" fmla="*/ 23 h 162"/>
                  <a:gd name="T26" fmla="*/ 29 w 92"/>
                  <a:gd name="T27" fmla="*/ 23 h 162"/>
                  <a:gd name="T28" fmla="*/ 9 w 92"/>
                  <a:gd name="T29" fmla="*/ 96 h 162"/>
                  <a:gd name="T30" fmla="*/ 29 w 92"/>
                  <a:gd name="T31" fmla="*/ 96 h 162"/>
                  <a:gd name="T32" fmla="*/ 29 w 92"/>
                  <a:gd name="T33" fmla="*/ 154 h 162"/>
                  <a:gd name="T34" fmla="*/ 37 w 92"/>
                  <a:gd name="T35" fmla="*/ 162 h 162"/>
                  <a:gd name="T36" fmla="*/ 44 w 92"/>
                  <a:gd name="T37" fmla="*/ 154 h 162"/>
                  <a:gd name="T38" fmla="*/ 44 w 92"/>
                  <a:gd name="T39" fmla="*/ 96 h 162"/>
                  <a:gd name="T40" fmla="*/ 49 w 92"/>
                  <a:gd name="T41" fmla="*/ 96 h 162"/>
                  <a:gd name="T42" fmla="*/ 49 w 92"/>
                  <a:gd name="T43" fmla="*/ 154 h 162"/>
                  <a:gd name="T44" fmla="*/ 56 w 92"/>
                  <a:gd name="T45" fmla="*/ 162 h 162"/>
                  <a:gd name="T46" fmla="*/ 64 w 92"/>
                  <a:gd name="T47" fmla="*/ 154 h 162"/>
                  <a:gd name="T48" fmla="*/ 64 w 92"/>
                  <a:gd name="T49" fmla="*/ 96 h 162"/>
                  <a:gd name="T50" fmla="*/ 83 w 92"/>
                  <a:gd name="T51" fmla="*/ 96 h 162"/>
                  <a:gd name="T52" fmla="*/ 63 w 92"/>
                  <a:gd name="T53" fmla="*/ 23 h 162"/>
                  <a:gd name="T54" fmla="*/ 64 w 92"/>
                  <a:gd name="T55" fmla="*/ 23 h 162"/>
                  <a:gd name="T56" fmla="*/ 65 w 92"/>
                  <a:gd name="T57" fmla="*/ 23 h 162"/>
                  <a:gd name="T58" fmla="*/ 79 w 92"/>
                  <a:gd name="T59" fmla="*/ 64 h 162"/>
                  <a:gd name="T60" fmla="*/ 87 w 92"/>
                  <a:gd name="T61" fmla="*/ 68 h 162"/>
                  <a:gd name="T62" fmla="*/ 91 w 92"/>
                  <a:gd name="T63" fmla="*/ 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162">
                    <a:moveTo>
                      <a:pt x="91" y="60"/>
                    </a:moveTo>
                    <a:cubicBezTo>
                      <a:pt x="75" y="10"/>
                      <a:pt x="75" y="10"/>
                      <a:pt x="75" y="10"/>
                    </a:cubicBezTo>
                    <a:cubicBezTo>
                      <a:pt x="74" y="4"/>
                      <a:pt x="70" y="0"/>
                      <a:pt x="64" y="0"/>
                    </a:cubicBezTo>
                    <a:cubicBezTo>
                      <a:pt x="28" y="0"/>
                      <a:pt x="28" y="0"/>
                      <a:pt x="28" y="0"/>
                    </a:cubicBezTo>
                    <a:cubicBezTo>
                      <a:pt x="24" y="0"/>
                      <a:pt x="21" y="2"/>
                      <a:pt x="19" y="5"/>
                    </a:cubicBezTo>
                    <a:cubicBezTo>
                      <a:pt x="18" y="5"/>
                      <a:pt x="18" y="6"/>
                      <a:pt x="18" y="7"/>
                    </a:cubicBezTo>
                    <a:cubicBezTo>
                      <a:pt x="18" y="7"/>
                      <a:pt x="18" y="7"/>
                      <a:pt x="18" y="7"/>
                    </a:cubicBezTo>
                    <a:cubicBezTo>
                      <a:pt x="18" y="7"/>
                      <a:pt x="17" y="8"/>
                      <a:pt x="17" y="8"/>
                    </a:cubicBezTo>
                    <a:cubicBezTo>
                      <a:pt x="1" y="60"/>
                      <a:pt x="1" y="60"/>
                      <a:pt x="1" y="60"/>
                    </a:cubicBezTo>
                    <a:cubicBezTo>
                      <a:pt x="0" y="63"/>
                      <a:pt x="2" y="67"/>
                      <a:pt x="5" y="68"/>
                    </a:cubicBezTo>
                    <a:cubicBezTo>
                      <a:pt x="9" y="69"/>
                      <a:pt x="13" y="67"/>
                      <a:pt x="14" y="64"/>
                    </a:cubicBezTo>
                    <a:cubicBezTo>
                      <a:pt x="26" y="23"/>
                      <a:pt x="26" y="23"/>
                      <a:pt x="26" y="23"/>
                    </a:cubicBezTo>
                    <a:cubicBezTo>
                      <a:pt x="27" y="23"/>
                      <a:pt x="27" y="23"/>
                      <a:pt x="28" y="23"/>
                    </a:cubicBezTo>
                    <a:cubicBezTo>
                      <a:pt x="29" y="23"/>
                      <a:pt x="29" y="23"/>
                      <a:pt x="29" y="23"/>
                    </a:cubicBezTo>
                    <a:cubicBezTo>
                      <a:pt x="9" y="96"/>
                      <a:pt x="9" y="96"/>
                      <a:pt x="9" y="96"/>
                    </a:cubicBezTo>
                    <a:cubicBezTo>
                      <a:pt x="29" y="96"/>
                      <a:pt x="29" y="96"/>
                      <a:pt x="29" y="96"/>
                    </a:cubicBezTo>
                    <a:cubicBezTo>
                      <a:pt x="29" y="154"/>
                      <a:pt x="29" y="154"/>
                      <a:pt x="29" y="154"/>
                    </a:cubicBezTo>
                    <a:cubicBezTo>
                      <a:pt x="29" y="159"/>
                      <a:pt x="33" y="162"/>
                      <a:pt x="37" y="162"/>
                    </a:cubicBezTo>
                    <a:cubicBezTo>
                      <a:pt x="41" y="162"/>
                      <a:pt x="44" y="159"/>
                      <a:pt x="44" y="154"/>
                    </a:cubicBezTo>
                    <a:cubicBezTo>
                      <a:pt x="44" y="96"/>
                      <a:pt x="44" y="96"/>
                      <a:pt x="44" y="96"/>
                    </a:cubicBezTo>
                    <a:cubicBezTo>
                      <a:pt x="49" y="96"/>
                      <a:pt x="49" y="96"/>
                      <a:pt x="49" y="96"/>
                    </a:cubicBezTo>
                    <a:cubicBezTo>
                      <a:pt x="49" y="154"/>
                      <a:pt x="49" y="154"/>
                      <a:pt x="49" y="154"/>
                    </a:cubicBezTo>
                    <a:cubicBezTo>
                      <a:pt x="49" y="159"/>
                      <a:pt x="52" y="162"/>
                      <a:pt x="56" y="162"/>
                    </a:cubicBezTo>
                    <a:cubicBezTo>
                      <a:pt x="60" y="162"/>
                      <a:pt x="64" y="159"/>
                      <a:pt x="64" y="154"/>
                    </a:cubicBezTo>
                    <a:cubicBezTo>
                      <a:pt x="64" y="96"/>
                      <a:pt x="64" y="96"/>
                      <a:pt x="64" y="96"/>
                    </a:cubicBezTo>
                    <a:cubicBezTo>
                      <a:pt x="83" y="96"/>
                      <a:pt x="83" y="96"/>
                      <a:pt x="83" y="96"/>
                    </a:cubicBezTo>
                    <a:cubicBezTo>
                      <a:pt x="63" y="23"/>
                      <a:pt x="63" y="23"/>
                      <a:pt x="63" y="23"/>
                    </a:cubicBezTo>
                    <a:cubicBezTo>
                      <a:pt x="64" y="23"/>
                      <a:pt x="64" y="23"/>
                      <a:pt x="64" y="23"/>
                    </a:cubicBezTo>
                    <a:cubicBezTo>
                      <a:pt x="65" y="23"/>
                      <a:pt x="65" y="23"/>
                      <a:pt x="65" y="23"/>
                    </a:cubicBezTo>
                    <a:cubicBezTo>
                      <a:pt x="79" y="64"/>
                      <a:pt x="79" y="64"/>
                      <a:pt x="79" y="64"/>
                    </a:cubicBezTo>
                    <a:cubicBezTo>
                      <a:pt x="80" y="67"/>
                      <a:pt x="84" y="69"/>
                      <a:pt x="87" y="68"/>
                    </a:cubicBezTo>
                    <a:cubicBezTo>
                      <a:pt x="91" y="67"/>
                      <a:pt x="92" y="63"/>
                      <a:pt x="91" y="6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45702" tIns="22850" rIns="45702" bIns="22850" numCol="1" anchor="t" anchorCtr="0" compatLnSpc="1"/>
              <a:lstStyle/>
              <a:p>
                <a:pPr algn="just">
                  <a:lnSpc>
                    <a:spcPct val="120000"/>
                  </a:lnSpc>
                </a:pPr>
                <a:endParaRPr lang="en-US" sz="900" dirty="0">
                  <a:solidFill>
                    <a:schemeClr val="tx1">
                      <a:lumMod val="75000"/>
                      <a:lumOff val="25000"/>
                    </a:schemeClr>
                  </a:solidFill>
                  <a:cs typeface="+mn-ea"/>
                  <a:sym typeface="+mn-lt"/>
                </a:endParaRPr>
              </a:p>
            </p:txBody>
          </p:sp>
        </p:grpSp>
      </p:grpSp>
      <p:grpSp>
        <p:nvGrpSpPr>
          <p:cNvPr id="10" name="Group 67"/>
          <p:cNvGrpSpPr/>
          <p:nvPr/>
        </p:nvGrpSpPr>
        <p:grpSpPr>
          <a:xfrm>
            <a:off x="8029671" y="3919198"/>
            <a:ext cx="755388" cy="755388"/>
            <a:chOff x="1354194" y="5911456"/>
            <a:chExt cx="755703" cy="755703"/>
          </a:xfrm>
        </p:grpSpPr>
        <p:sp>
          <p:nvSpPr>
            <p:cNvPr id="69" name="Oval 68"/>
            <p:cNvSpPr/>
            <p:nvPr/>
          </p:nvSpPr>
          <p:spPr>
            <a:xfrm>
              <a:off x="1354194" y="5911456"/>
              <a:ext cx="755703" cy="755703"/>
            </a:xfrm>
            <a:prstGeom prst="ellipse">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GB" sz="900">
                <a:solidFill>
                  <a:schemeClr val="tx1">
                    <a:lumMod val="75000"/>
                    <a:lumOff val="25000"/>
                  </a:schemeClr>
                </a:solidFill>
                <a:cs typeface="+mn-ea"/>
                <a:sym typeface="+mn-lt"/>
              </a:endParaRPr>
            </a:p>
          </p:txBody>
        </p:sp>
        <p:grpSp>
          <p:nvGrpSpPr>
            <p:cNvPr id="11" name="Group 69"/>
            <p:cNvGrpSpPr/>
            <p:nvPr/>
          </p:nvGrpSpPr>
          <p:grpSpPr>
            <a:xfrm>
              <a:off x="1639245" y="6058413"/>
              <a:ext cx="185600" cy="472193"/>
              <a:chOff x="4422775" y="2198688"/>
              <a:chExt cx="292100" cy="742950"/>
            </a:xfrm>
            <a:solidFill>
              <a:schemeClr val="bg2"/>
            </a:solidFill>
          </p:grpSpPr>
          <p:sp>
            <p:nvSpPr>
              <p:cNvPr id="71" name="Freeform 12"/>
              <p:cNvSpPr/>
              <p:nvPr/>
            </p:nvSpPr>
            <p:spPr bwMode="auto">
              <a:xfrm>
                <a:off x="4422775" y="2325688"/>
                <a:ext cx="292100" cy="615950"/>
              </a:xfrm>
              <a:custGeom>
                <a:avLst/>
                <a:gdLst>
                  <a:gd name="T0" fmla="*/ 59 w 78"/>
                  <a:gd name="T1" fmla="*/ 0 h 164"/>
                  <a:gd name="T2" fmla="*/ 20 w 78"/>
                  <a:gd name="T3" fmla="*/ 0 h 164"/>
                  <a:gd name="T4" fmla="*/ 0 w 78"/>
                  <a:gd name="T5" fmla="*/ 16 h 164"/>
                  <a:gd name="T6" fmla="*/ 0 w 78"/>
                  <a:gd name="T7" fmla="*/ 16 h 164"/>
                  <a:gd name="T8" fmla="*/ 0 w 78"/>
                  <a:gd name="T9" fmla="*/ 19 h 164"/>
                  <a:gd name="T10" fmla="*/ 0 w 78"/>
                  <a:gd name="T11" fmla="*/ 74 h 164"/>
                  <a:gd name="T12" fmla="*/ 7 w 78"/>
                  <a:gd name="T13" fmla="*/ 80 h 164"/>
                  <a:gd name="T14" fmla="*/ 13 w 78"/>
                  <a:gd name="T15" fmla="*/ 74 h 164"/>
                  <a:gd name="T16" fmla="*/ 13 w 78"/>
                  <a:gd name="T17" fmla="*/ 26 h 164"/>
                  <a:gd name="T18" fmla="*/ 19 w 78"/>
                  <a:gd name="T19" fmla="*/ 26 h 164"/>
                  <a:gd name="T20" fmla="*/ 19 w 78"/>
                  <a:gd name="T21" fmla="*/ 72 h 164"/>
                  <a:gd name="T22" fmla="*/ 19 w 78"/>
                  <a:gd name="T23" fmla="*/ 73 h 164"/>
                  <a:gd name="T24" fmla="*/ 19 w 78"/>
                  <a:gd name="T25" fmla="*/ 154 h 164"/>
                  <a:gd name="T26" fmla="*/ 28 w 78"/>
                  <a:gd name="T27" fmla="*/ 164 h 164"/>
                  <a:gd name="T28" fmla="*/ 37 w 78"/>
                  <a:gd name="T29" fmla="*/ 154 h 164"/>
                  <a:gd name="T30" fmla="*/ 37 w 78"/>
                  <a:gd name="T31" fmla="*/ 83 h 164"/>
                  <a:gd name="T32" fmla="*/ 41 w 78"/>
                  <a:gd name="T33" fmla="*/ 83 h 164"/>
                  <a:gd name="T34" fmla="*/ 41 w 78"/>
                  <a:gd name="T35" fmla="*/ 154 h 164"/>
                  <a:gd name="T36" fmla="*/ 50 w 78"/>
                  <a:gd name="T37" fmla="*/ 164 h 164"/>
                  <a:gd name="T38" fmla="*/ 59 w 78"/>
                  <a:gd name="T39" fmla="*/ 154 h 164"/>
                  <a:gd name="T40" fmla="*/ 59 w 78"/>
                  <a:gd name="T41" fmla="*/ 72 h 164"/>
                  <a:gd name="T42" fmla="*/ 59 w 78"/>
                  <a:gd name="T43" fmla="*/ 71 h 164"/>
                  <a:gd name="T44" fmla="*/ 59 w 78"/>
                  <a:gd name="T45" fmla="*/ 26 h 164"/>
                  <a:gd name="T46" fmla="*/ 64 w 78"/>
                  <a:gd name="T47" fmla="*/ 26 h 164"/>
                  <a:gd name="T48" fmla="*/ 64 w 78"/>
                  <a:gd name="T49" fmla="*/ 74 h 164"/>
                  <a:gd name="T50" fmla="*/ 71 w 78"/>
                  <a:gd name="T51" fmla="*/ 80 h 164"/>
                  <a:gd name="T52" fmla="*/ 78 w 78"/>
                  <a:gd name="T53" fmla="*/ 74 h 164"/>
                  <a:gd name="T54" fmla="*/ 78 w 78"/>
                  <a:gd name="T55" fmla="*/ 19 h 164"/>
                  <a:gd name="T56" fmla="*/ 78 w 78"/>
                  <a:gd name="T57" fmla="*/ 16 h 164"/>
                  <a:gd name="T58" fmla="*/ 78 w 78"/>
                  <a:gd name="T59" fmla="*/ 15 h 164"/>
                  <a:gd name="T60" fmla="*/ 59 w 78"/>
                  <a:gd name="T6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164">
                    <a:moveTo>
                      <a:pt x="59" y="0"/>
                    </a:moveTo>
                    <a:cubicBezTo>
                      <a:pt x="20" y="0"/>
                      <a:pt x="20" y="0"/>
                      <a:pt x="20" y="0"/>
                    </a:cubicBezTo>
                    <a:cubicBezTo>
                      <a:pt x="6" y="0"/>
                      <a:pt x="0" y="12"/>
                      <a:pt x="0" y="16"/>
                    </a:cubicBezTo>
                    <a:cubicBezTo>
                      <a:pt x="0" y="16"/>
                      <a:pt x="0" y="16"/>
                      <a:pt x="0" y="16"/>
                    </a:cubicBezTo>
                    <a:cubicBezTo>
                      <a:pt x="0" y="19"/>
                      <a:pt x="0" y="19"/>
                      <a:pt x="0" y="19"/>
                    </a:cubicBezTo>
                    <a:cubicBezTo>
                      <a:pt x="0" y="74"/>
                      <a:pt x="0" y="74"/>
                      <a:pt x="0" y="74"/>
                    </a:cubicBezTo>
                    <a:cubicBezTo>
                      <a:pt x="0" y="77"/>
                      <a:pt x="3" y="80"/>
                      <a:pt x="7" y="80"/>
                    </a:cubicBezTo>
                    <a:cubicBezTo>
                      <a:pt x="10" y="80"/>
                      <a:pt x="13" y="77"/>
                      <a:pt x="13" y="74"/>
                    </a:cubicBezTo>
                    <a:cubicBezTo>
                      <a:pt x="13" y="26"/>
                      <a:pt x="13" y="26"/>
                      <a:pt x="13" y="26"/>
                    </a:cubicBezTo>
                    <a:cubicBezTo>
                      <a:pt x="19" y="26"/>
                      <a:pt x="19" y="26"/>
                      <a:pt x="19" y="26"/>
                    </a:cubicBezTo>
                    <a:cubicBezTo>
                      <a:pt x="19" y="72"/>
                      <a:pt x="19" y="72"/>
                      <a:pt x="19" y="72"/>
                    </a:cubicBezTo>
                    <a:cubicBezTo>
                      <a:pt x="19" y="72"/>
                      <a:pt x="19" y="73"/>
                      <a:pt x="19" y="73"/>
                    </a:cubicBezTo>
                    <a:cubicBezTo>
                      <a:pt x="19" y="154"/>
                      <a:pt x="19" y="154"/>
                      <a:pt x="19" y="154"/>
                    </a:cubicBezTo>
                    <a:cubicBezTo>
                      <a:pt x="19" y="159"/>
                      <a:pt x="23" y="164"/>
                      <a:pt x="28" y="164"/>
                    </a:cubicBezTo>
                    <a:cubicBezTo>
                      <a:pt x="33" y="164"/>
                      <a:pt x="37" y="159"/>
                      <a:pt x="37" y="154"/>
                    </a:cubicBezTo>
                    <a:cubicBezTo>
                      <a:pt x="37" y="83"/>
                      <a:pt x="37" y="83"/>
                      <a:pt x="37" y="83"/>
                    </a:cubicBezTo>
                    <a:cubicBezTo>
                      <a:pt x="41" y="83"/>
                      <a:pt x="41" y="83"/>
                      <a:pt x="41" y="83"/>
                    </a:cubicBezTo>
                    <a:cubicBezTo>
                      <a:pt x="41" y="154"/>
                      <a:pt x="41" y="154"/>
                      <a:pt x="41" y="154"/>
                    </a:cubicBezTo>
                    <a:cubicBezTo>
                      <a:pt x="41" y="159"/>
                      <a:pt x="45" y="164"/>
                      <a:pt x="50" y="164"/>
                    </a:cubicBezTo>
                    <a:cubicBezTo>
                      <a:pt x="55" y="164"/>
                      <a:pt x="59" y="159"/>
                      <a:pt x="59" y="154"/>
                    </a:cubicBezTo>
                    <a:cubicBezTo>
                      <a:pt x="59" y="72"/>
                      <a:pt x="59" y="72"/>
                      <a:pt x="59" y="72"/>
                    </a:cubicBezTo>
                    <a:cubicBezTo>
                      <a:pt x="59" y="71"/>
                      <a:pt x="59" y="71"/>
                      <a:pt x="59" y="71"/>
                    </a:cubicBezTo>
                    <a:cubicBezTo>
                      <a:pt x="59" y="26"/>
                      <a:pt x="59" y="26"/>
                      <a:pt x="59" y="26"/>
                    </a:cubicBezTo>
                    <a:cubicBezTo>
                      <a:pt x="64" y="26"/>
                      <a:pt x="64" y="26"/>
                      <a:pt x="64" y="26"/>
                    </a:cubicBezTo>
                    <a:cubicBezTo>
                      <a:pt x="64" y="74"/>
                      <a:pt x="64" y="74"/>
                      <a:pt x="64" y="74"/>
                    </a:cubicBezTo>
                    <a:cubicBezTo>
                      <a:pt x="64" y="77"/>
                      <a:pt x="67" y="80"/>
                      <a:pt x="71" y="80"/>
                    </a:cubicBezTo>
                    <a:cubicBezTo>
                      <a:pt x="75" y="80"/>
                      <a:pt x="78" y="77"/>
                      <a:pt x="78" y="74"/>
                    </a:cubicBezTo>
                    <a:cubicBezTo>
                      <a:pt x="78" y="19"/>
                      <a:pt x="78" y="19"/>
                      <a:pt x="78" y="19"/>
                    </a:cubicBezTo>
                    <a:cubicBezTo>
                      <a:pt x="78" y="16"/>
                      <a:pt x="78" y="16"/>
                      <a:pt x="78" y="16"/>
                    </a:cubicBezTo>
                    <a:cubicBezTo>
                      <a:pt x="78" y="15"/>
                      <a:pt x="78" y="15"/>
                      <a:pt x="78" y="15"/>
                    </a:cubicBezTo>
                    <a:cubicBezTo>
                      <a:pt x="78" y="10"/>
                      <a:pt x="72" y="0"/>
                      <a:pt x="59" y="0"/>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45702" tIns="22850" rIns="45702" bIns="22850" numCol="1" anchor="t" anchorCtr="0" compatLnSpc="1"/>
              <a:lstStyle/>
              <a:p>
                <a:pPr algn="just">
                  <a:lnSpc>
                    <a:spcPct val="120000"/>
                  </a:lnSpc>
                </a:pPr>
                <a:endParaRPr lang="en-US" sz="900" dirty="0">
                  <a:solidFill>
                    <a:schemeClr val="tx1">
                      <a:lumMod val="75000"/>
                      <a:lumOff val="25000"/>
                    </a:schemeClr>
                  </a:solidFill>
                  <a:cs typeface="+mn-ea"/>
                  <a:sym typeface="+mn-lt"/>
                </a:endParaRPr>
              </a:p>
            </p:txBody>
          </p:sp>
          <p:sp>
            <p:nvSpPr>
              <p:cNvPr id="72" name="Oval 13"/>
              <p:cNvSpPr>
                <a:spLocks noChangeArrowheads="1"/>
              </p:cNvSpPr>
              <p:nvPr/>
            </p:nvSpPr>
            <p:spPr bwMode="auto">
              <a:xfrm>
                <a:off x="4511675" y="2198688"/>
                <a:ext cx="115888" cy="115888"/>
              </a:xfrm>
              <a:prstGeom prst="ellipse">
                <a:avLst/>
              </a:pr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45702" tIns="22850" rIns="45702" bIns="22850" numCol="1" anchor="t" anchorCtr="0" compatLnSpc="1"/>
              <a:lstStyle/>
              <a:p>
                <a:pPr algn="just">
                  <a:lnSpc>
                    <a:spcPct val="120000"/>
                  </a:lnSpc>
                </a:pPr>
                <a:endParaRPr lang="en-US" sz="900" dirty="0">
                  <a:solidFill>
                    <a:schemeClr val="tx1">
                      <a:lumMod val="75000"/>
                      <a:lumOff val="25000"/>
                    </a:schemeClr>
                  </a:solidFill>
                  <a:cs typeface="+mn-ea"/>
                  <a:sym typeface="+mn-lt"/>
                </a:endParaRPr>
              </a:p>
            </p:txBody>
          </p:sp>
        </p:grpSp>
      </p:grpSp>
      <p:sp>
        <p:nvSpPr>
          <p:cNvPr id="73" name="TextBox 72"/>
          <p:cNvSpPr txBox="1"/>
          <p:nvPr/>
        </p:nvSpPr>
        <p:spPr>
          <a:xfrm>
            <a:off x="8842842" y="4056887"/>
            <a:ext cx="657552" cy="283091"/>
          </a:xfrm>
          <a:prstGeom prst="rect">
            <a:avLst/>
          </a:prstGeom>
          <a:noFill/>
        </p:spPr>
        <p:txBody>
          <a:bodyPr wrap="none" rtlCol="0">
            <a:spAutoFit/>
          </a:bodyPr>
          <a:lstStyle/>
          <a:p>
            <a:pPr>
              <a:lnSpc>
                <a:spcPct val="120000"/>
              </a:lnSpc>
            </a:pPr>
            <a:r>
              <a:rPr lang="en-US" sz="1135" b="1" dirty="0">
                <a:solidFill>
                  <a:schemeClr val="tx1">
                    <a:lumMod val="75000"/>
                    <a:lumOff val="25000"/>
                  </a:schemeClr>
                </a:solidFill>
                <a:cs typeface="+mn-ea"/>
                <a:sym typeface="+mn-lt"/>
              </a:rPr>
              <a:t>1.234K</a:t>
            </a:r>
            <a:endParaRPr lang="en-GB" sz="1135" b="1" dirty="0">
              <a:solidFill>
                <a:schemeClr val="tx1">
                  <a:lumMod val="75000"/>
                  <a:lumOff val="25000"/>
                </a:schemeClr>
              </a:solidFill>
              <a:cs typeface="+mn-ea"/>
              <a:sym typeface="+mn-lt"/>
            </a:endParaRPr>
          </a:p>
        </p:txBody>
      </p:sp>
      <p:sp>
        <p:nvSpPr>
          <p:cNvPr id="74" name="TextBox 73"/>
          <p:cNvSpPr txBox="1"/>
          <p:nvPr/>
        </p:nvSpPr>
        <p:spPr>
          <a:xfrm>
            <a:off x="8843217" y="4305409"/>
            <a:ext cx="922047" cy="283091"/>
          </a:xfrm>
          <a:prstGeom prst="rect">
            <a:avLst/>
          </a:prstGeom>
          <a:noFill/>
        </p:spPr>
        <p:txBody>
          <a:bodyPr wrap="none" rtlCol="0">
            <a:spAutoFit/>
          </a:bodyPr>
          <a:lstStyle/>
          <a:p>
            <a:pPr>
              <a:lnSpc>
                <a:spcPct val="120000"/>
              </a:lnSpc>
            </a:pPr>
            <a:r>
              <a:rPr lang="en-US" sz="1135">
                <a:solidFill>
                  <a:schemeClr val="tx1">
                    <a:lumMod val="75000"/>
                    <a:lumOff val="25000"/>
                  </a:schemeClr>
                </a:solidFill>
                <a:cs typeface="+mn-ea"/>
                <a:sym typeface="+mn-lt"/>
              </a:rPr>
              <a:t>Male Users</a:t>
            </a:r>
            <a:endParaRPr lang="en-GB" sz="1135">
              <a:solidFill>
                <a:schemeClr val="tx1">
                  <a:lumMod val="75000"/>
                  <a:lumOff val="25000"/>
                </a:schemeClr>
              </a:solidFill>
              <a:cs typeface="+mn-ea"/>
              <a:sym typeface="+mn-lt"/>
            </a:endParaRPr>
          </a:p>
        </p:txBody>
      </p:sp>
      <p:sp>
        <p:nvSpPr>
          <p:cNvPr id="75" name="TextBox 74"/>
          <p:cNvSpPr txBox="1"/>
          <p:nvPr/>
        </p:nvSpPr>
        <p:spPr>
          <a:xfrm>
            <a:off x="8860138" y="4949980"/>
            <a:ext cx="657552" cy="283091"/>
          </a:xfrm>
          <a:prstGeom prst="rect">
            <a:avLst/>
          </a:prstGeom>
          <a:noFill/>
        </p:spPr>
        <p:txBody>
          <a:bodyPr wrap="none" rtlCol="0">
            <a:spAutoFit/>
          </a:bodyPr>
          <a:lstStyle/>
          <a:p>
            <a:pPr>
              <a:lnSpc>
                <a:spcPct val="120000"/>
              </a:lnSpc>
            </a:pPr>
            <a:r>
              <a:rPr lang="en-US" sz="1135" b="1">
                <a:solidFill>
                  <a:schemeClr val="tx1">
                    <a:lumMod val="75000"/>
                    <a:lumOff val="25000"/>
                  </a:schemeClr>
                </a:solidFill>
                <a:cs typeface="+mn-ea"/>
                <a:sym typeface="+mn-lt"/>
              </a:rPr>
              <a:t>1.234K</a:t>
            </a:r>
            <a:endParaRPr lang="en-GB" sz="1135" b="1">
              <a:solidFill>
                <a:schemeClr val="tx1">
                  <a:lumMod val="75000"/>
                  <a:lumOff val="25000"/>
                </a:schemeClr>
              </a:solidFill>
              <a:cs typeface="+mn-ea"/>
              <a:sym typeface="+mn-lt"/>
            </a:endParaRPr>
          </a:p>
        </p:txBody>
      </p:sp>
      <p:sp>
        <p:nvSpPr>
          <p:cNvPr id="76" name="TextBox 75"/>
          <p:cNvSpPr txBox="1"/>
          <p:nvPr/>
        </p:nvSpPr>
        <p:spPr>
          <a:xfrm>
            <a:off x="8860960" y="5198502"/>
            <a:ext cx="1093569" cy="283091"/>
          </a:xfrm>
          <a:prstGeom prst="rect">
            <a:avLst/>
          </a:prstGeom>
          <a:noFill/>
        </p:spPr>
        <p:txBody>
          <a:bodyPr wrap="none" rtlCol="0">
            <a:spAutoFit/>
          </a:bodyPr>
          <a:lstStyle/>
          <a:p>
            <a:pPr>
              <a:lnSpc>
                <a:spcPct val="120000"/>
              </a:lnSpc>
            </a:pPr>
            <a:r>
              <a:rPr lang="en-US" sz="1135">
                <a:solidFill>
                  <a:schemeClr val="tx1">
                    <a:lumMod val="75000"/>
                    <a:lumOff val="25000"/>
                  </a:schemeClr>
                </a:solidFill>
                <a:cs typeface="+mn-ea"/>
                <a:sym typeface="+mn-lt"/>
              </a:rPr>
              <a:t>Female Users</a:t>
            </a:r>
            <a:endParaRPr lang="en-GB" sz="1135">
              <a:solidFill>
                <a:schemeClr val="tx1">
                  <a:lumMod val="75000"/>
                  <a:lumOff val="25000"/>
                </a:schemeClr>
              </a:solidFill>
              <a:cs typeface="+mn-ea"/>
              <a:sym typeface="+mn-lt"/>
            </a:endParaRP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animEffect transition="in" filter="fade">
                                      <p:cBhvr>
                                        <p:cTn id="9" dur="500"/>
                                        <p:tgtEl>
                                          <p:spTgt spid="17"/>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childTnLst>
                          </p:cTn>
                        </p:par>
                        <p:par>
                          <p:cTn id="14" fill="hold">
                            <p:stCondLst>
                              <p:cond delay="1000"/>
                            </p:stCondLst>
                            <p:childTnLst>
                              <p:par>
                                <p:cTn id="15" presetID="53" presetClass="entr" presetSubtype="16"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p:cTn id="17" dur="500" fill="hold"/>
                                        <p:tgtEl>
                                          <p:spTgt spid="21"/>
                                        </p:tgtEl>
                                        <p:attrNameLst>
                                          <p:attrName>ppt_w</p:attrName>
                                        </p:attrNameLst>
                                      </p:cBhvr>
                                      <p:tavLst>
                                        <p:tav tm="0">
                                          <p:val>
                                            <p:fltVal val="0"/>
                                          </p:val>
                                        </p:tav>
                                        <p:tav tm="100000">
                                          <p:val>
                                            <p:strVal val="#ppt_w"/>
                                          </p:val>
                                        </p:tav>
                                      </p:tavLst>
                                    </p:anim>
                                    <p:anim calcmode="lin" valueType="num">
                                      <p:cBhvr>
                                        <p:cTn id="18" dur="500" fill="hold"/>
                                        <p:tgtEl>
                                          <p:spTgt spid="21"/>
                                        </p:tgtEl>
                                        <p:attrNameLst>
                                          <p:attrName>ppt_h</p:attrName>
                                        </p:attrNameLst>
                                      </p:cBhvr>
                                      <p:tavLst>
                                        <p:tav tm="0">
                                          <p:val>
                                            <p:fltVal val="0"/>
                                          </p:val>
                                        </p:tav>
                                        <p:tav tm="100000">
                                          <p:val>
                                            <p:strVal val="#ppt_h"/>
                                          </p:val>
                                        </p:tav>
                                      </p:tavLst>
                                    </p:anim>
                                    <p:animEffect transition="in" filter="fade">
                                      <p:cBhvr>
                                        <p:cTn id="19" dur="500"/>
                                        <p:tgtEl>
                                          <p:spTgt spid="21"/>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p:cTn id="23" dur="500" fill="hold"/>
                                        <p:tgtEl>
                                          <p:spTgt spid="25"/>
                                        </p:tgtEl>
                                        <p:attrNameLst>
                                          <p:attrName>ppt_w</p:attrName>
                                        </p:attrNameLst>
                                      </p:cBhvr>
                                      <p:tavLst>
                                        <p:tav tm="0">
                                          <p:val>
                                            <p:fltVal val="0"/>
                                          </p:val>
                                        </p:tav>
                                        <p:tav tm="100000">
                                          <p:val>
                                            <p:strVal val="#ppt_w"/>
                                          </p:val>
                                        </p:tav>
                                      </p:tavLst>
                                    </p:anim>
                                    <p:anim calcmode="lin" valueType="num">
                                      <p:cBhvr>
                                        <p:cTn id="24" dur="500" fill="hold"/>
                                        <p:tgtEl>
                                          <p:spTgt spid="25"/>
                                        </p:tgtEl>
                                        <p:attrNameLst>
                                          <p:attrName>ppt_h</p:attrName>
                                        </p:attrNameLst>
                                      </p:cBhvr>
                                      <p:tavLst>
                                        <p:tav tm="0">
                                          <p:val>
                                            <p:fltVal val="0"/>
                                          </p:val>
                                        </p:tav>
                                        <p:tav tm="100000">
                                          <p:val>
                                            <p:strVal val="#ppt_h"/>
                                          </p:val>
                                        </p:tav>
                                      </p:tavLst>
                                    </p:anim>
                                    <p:animEffect transition="in" filter="fade">
                                      <p:cBhvr>
                                        <p:cTn id="25" dur="500"/>
                                        <p:tgtEl>
                                          <p:spTgt spid="25"/>
                                        </p:tgtEl>
                                      </p:cBhvr>
                                    </p:animEffect>
                                  </p:childTnLst>
                                </p:cTn>
                              </p:par>
                            </p:childTnLst>
                          </p:cTn>
                        </p:par>
                        <p:par>
                          <p:cTn id="26" fill="hold">
                            <p:stCondLst>
                              <p:cond delay="2000"/>
                            </p:stCondLst>
                            <p:childTnLst>
                              <p:par>
                                <p:cTn id="27" presetID="22" presetClass="entr" presetSubtype="8"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wipe(left)">
                                      <p:cBhvr>
                                        <p:cTn id="29" dur="500"/>
                                        <p:tgtEl>
                                          <p:spTgt spid="3"/>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left)">
                                      <p:cBhvr>
                                        <p:cTn id="33" dur="500"/>
                                        <p:tgtEl>
                                          <p:spTgt spid="4"/>
                                        </p:tgtEl>
                                      </p:cBhvr>
                                    </p:animEffect>
                                  </p:childTnLst>
                                </p:cTn>
                              </p:par>
                            </p:childTnLst>
                          </p:cTn>
                        </p:par>
                        <p:par>
                          <p:cTn id="34" fill="hold">
                            <p:stCondLst>
                              <p:cond delay="3000"/>
                            </p:stCondLst>
                            <p:childTnLst>
                              <p:par>
                                <p:cTn id="35" presetID="49" presetClass="entr" presetSubtype="0" decel="100000" fill="hold" nodeType="after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p:cTn id="37" dur="500" fill="hold"/>
                                        <p:tgtEl>
                                          <p:spTgt spid="5"/>
                                        </p:tgtEl>
                                        <p:attrNameLst>
                                          <p:attrName>ppt_w</p:attrName>
                                        </p:attrNameLst>
                                      </p:cBhvr>
                                      <p:tavLst>
                                        <p:tav tm="0">
                                          <p:val>
                                            <p:fltVal val="0"/>
                                          </p:val>
                                        </p:tav>
                                        <p:tav tm="100000">
                                          <p:val>
                                            <p:strVal val="#ppt_w"/>
                                          </p:val>
                                        </p:tav>
                                      </p:tavLst>
                                    </p:anim>
                                    <p:anim calcmode="lin" valueType="num">
                                      <p:cBhvr>
                                        <p:cTn id="38" dur="500" fill="hold"/>
                                        <p:tgtEl>
                                          <p:spTgt spid="5"/>
                                        </p:tgtEl>
                                        <p:attrNameLst>
                                          <p:attrName>ppt_h</p:attrName>
                                        </p:attrNameLst>
                                      </p:cBhvr>
                                      <p:tavLst>
                                        <p:tav tm="0">
                                          <p:val>
                                            <p:fltVal val="0"/>
                                          </p:val>
                                        </p:tav>
                                        <p:tav tm="100000">
                                          <p:val>
                                            <p:strVal val="#ppt_h"/>
                                          </p:val>
                                        </p:tav>
                                      </p:tavLst>
                                    </p:anim>
                                    <p:anim calcmode="lin" valueType="num">
                                      <p:cBhvr>
                                        <p:cTn id="39" dur="500" fill="hold"/>
                                        <p:tgtEl>
                                          <p:spTgt spid="5"/>
                                        </p:tgtEl>
                                        <p:attrNameLst>
                                          <p:attrName>style.rotation</p:attrName>
                                        </p:attrNameLst>
                                      </p:cBhvr>
                                      <p:tavLst>
                                        <p:tav tm="0">
                                          <p:val>
                                            <p:fltVal val="360"/>
                                          </p:val>
                                        </p:tav>
                                        <p:tav tm="100000">
                                          <p:val>
                                            <p:fltVal val="0"/>
                                          </p:val>
                                        </p:tav>
                                      </p:tavLst>
                                    </p:anim>
                                    <p:animEffect transition="in" filter="fade">
                                      <p:cBhvr>
                                        <p:cTn id="40" dur="500"/>
                                        <p:tgtEl>
                                          <p:spTgt spid="5"/>
                                        </p:tgtEl>
                                      </p:cBhvr>
                                    </p:animEffect>
                                  </p:childTnLst>
                                </p:cTn>
                              </p:par>
                            </p:childTnLst>
                          </p:cTn>
                        </p:par>
                        <p:par>
                          <p:cTn id="41" fill="hold">
                            <p:stCondLst>
                              <p:cond delay="3500"/>
                            </p:stCondLst>
                            <p:childTnLst>
                              <p:par>
                                <p:cTn id="42" presetID="49" presetClass="entr" presetSubtype="0" decel="10000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 calcmode="lin" valueType="num">
                                      <p:cBhvr>
                                        <p:cTn id="44" dur="500" fill="hold"/>
                                        <p:tgtEl>
                                          <p:spTgt spid="6"/>
                                        </p:tgtEl>
                                        <p:attrNameLst>
                                          <p:attrName>ppt_w</p:attrName>
                                        </p:attrNameLst>
                                      </p:cBhvr>
                                      <p:tavLst>
                                        <p:tav tm="0">
                                          <p:val>
                                            <p:fltVal val="0"/>
                                          </p:val>
                                        </p:tav>
                                        <p:tav tm="100000">
                                          <p:val>
                                            <p:strVal val="#ppt_w"/>
                                          </p:val>
                                        </p:tav>
                                      </p:tavLst>
                                    </p:anim>
                                    <p:anim calcmode="lin" valueType="num">
                                      <p:cBhvr>
                                        <p:cTn id="45" dur="500" fill="hold"/>
                                        <p:tgtEl>
                                          <p:spTgt spid="6"/>
                                        </p:tgtEl>
                                        <p:attrNameLst>
                                          <p:attrName>ppt_h</p:attrName>
                                        </p:attrNameLst>
                                      </p:cBhvr>
                                      <p:tavLst>
                                        <p:tav tm="0">
                                          <p:val>
                                            <p:fltVal val="0"/>
                                          </p:val>
                                        </p:tav>
                                        <p:tav tm="100000">
                                          <p:val>
                                            <p:strVal val="#ppt_h"/>
                                          </p:val>
                                        </p:tav>
                                      </p:tavLst>
                                    </p:anim>
                                    <p:anim calcmode="lin" valueType="num">
                                      <p:cBhvr>
                                        <p:cTn id="46" dur="500" fill="hold"/>
                                        <p:tgtEl>
                                          <p:spTgt spid="6"/>
                                        </p:tgtEl>
                                        <p:attrNameLst>
                                          <p:attrName>style.rotation</p:attrName>
                                        </p:attrNameLst>
                                      </p:cBhvr>
                                      <p:tavLst>
                                        <p:tav tm="0">
                                          <p:val>
                                            <p:fltVal val="360"/>
                                          </p:val>
                                        </p:tav>
                                        <p:tav tm="100000">
                                          <p:val>
                                            <p:fltVal val="0"/>
                                          </p:val>
                                        </p:tav>
                                      </p:tavLst>
                                    </p:anim>
                                    <p:animEffect transition="in" filter="fade">
                                      <p:cBhvr>
                                        <p:cTn id="47" dur="500"/>
                                        <p:tgtEl>
                                          <p:spTgt spid="6"/>
                                        </p:tgtEl>
                                      </p:cBhvr>
                                    </p:animEffect>
                                  </p:childTnLst>
                                </p:cTn>
                              </p:par>
                            </p:childTnLst>
                          </p:cTn>
                        </p:par>
                        <p:par>
                          <p:cTn id="48" fill="hold">
                            <p:stCondLst>
                              <p:cond delay="4000"/>
                            </p:stCondLst>
                            <p:childTnLst>
                              <p:par>
                                <p:cTn id="49" presetID="49" presetClass="entr" presetSubtype="0" decel="100000" fill="hold" grpId="0" nodeType="after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p:cTn id="51" dur="500" fill="hold"/>
                                        <p:tgtEl>
                                          <p:spTgt spid="51"/>
                                        </p:tgtEl>
                                        <p:attrNameLst>
                                          <p:attrName>ppt_w</p:attrName>
                                        </p:attrNameLst>
                                      </p:cBhvr>
                                      <p:tavLst>
                                        <p:tav tm="0">
                                          <p:val>
                                            <p:fltVal val="0"/>
                                          </p:val>
                                        </p:tav>
                                        <p:tav tm="100000">
                                          <p:val>
                                            <p:strVal val="#ppt_w"/>
                                          </p:val>
                                        </p:tav>
                                      </p:tavLst>
                                    </p:anim>
                                    <p:anim calcmode="lin" valueType="num">
                                      <p:cBhvr>
                                        <p:cTn id="52" dur="500" fill="hold"/>
                                        <p:tgtEl>
                                          <p:spTgt spid="51"/>
                                        </p:tgtEl>
                                        <p:attrNameLst>
                                          <p:attrName>ppt_h</p:attrName>
                                        </p:attrNameLst>
                                      </p:cBhvr>
                                      <p:tavLst>
                                        <p:tav tm="0">
                                          <p:val>
                                            <p:fltVal val="0"/>
                                          </p:val>
                                        </p:tav>
                                        <p:tav tm="100000">
                                          <p:val>
                                            <p:strVal val="#ppt_h"/>
                                          </p:val>
                                        </p:tav>
                                      </p:tavLst>
                                    </p:anim>
                                    <p:anim calcmode="lin" valueType="num">
                                      <p:cBhvr>
                                        <p:cTn id="53" dur="500" fill="hold"/>
                                        <p:tgtEl>
                                          <p:spTgt spid="51"/>
                                        </p:tgtEl>
                                        <p:attrNameLst>
                                          <p:attrName>style.rotation</p:attrName>
                                        </p:attrNameLst>
                                      </p:cBhvr>
                                      <p:tavLst>
                                        <p:tav tm="0">
                                          <p:val>
                                            <p:fltVal val="360"/>
                                          </p:val>
                                        </p:tav>
                                        <p:tav tm="100000">
                                          <p:val>
                                            <p:fltVal val="0"/>
                                          </p:val>
                                        </p:tav>
                                      </p:tavLst>
                                    </p:anim>
                                    <p:animEffect transition="in" filter="fade">
                                      <p:cBhvr>
                                        <p:cTn id="54" dur="500"/>
                                        <p:tgtEl>
                                          <p:spTgt spid="51"/>
                                        </p:tgtEl>
                                      </p:cBhvr>
                                    </p:animEffect>
                                  </p:childTnLst>
                                </p:cTn>
                              </p:par>
                            </p:childTnLst>
                          </p:cTn>
                        </p:par>
                        <p:par>
                          <p:cTn id="55" fill="hold">
                            <p:stCondLst>
                              <p:cond delay="4500"/>
                            </p:stCondLst>
                            <p:childTnLst>
                              <p:par>
                                <p:cTn id="56" presetID="49" presetClass="entr" presetSubtype="0" decel="100000" fill="hold" grpId="0" nodeType="afterEffect">
                                  <p:stCondLst>
                                    <p:cond delay="0"/>
                                  </p:stCondLst>
                                  <p:childTnLst>
                                    <p:set>
                                      <p:cBhvr>
                                        <p:cTn id="57" dur="1" fill="hold">
                                          <p:stCondLst>
                                            <p:cond delay="0"/>
                                          </p:stCondLst>
                                        </p:cTn>
                                        <p:tgtEl>
                                          <p:spTgt spid="46"/>
                                        </p:tgtEl>
                                        <p:attrNameLst>
                                          <p:attrName>style.visibility</p:attrName>
                                        </p:attrNameLst>
                                      </p:cBhvr>
                                      <p:to>
                                        <p:strVal val="visible"/>
                                      </p:to>
                                    </p:set>
                                    <p:anim calcmode="lin" valueType="num">
                                      <p:cBhvr>
                                        <p:cTn id="58" dur="500" fill="hold"/>
                                        <p:tgtEl>
                                          <p:spTgt spid="46"/>
                                        </p:tgtEl>
                                        <p:attrNameLst>
                                          <p:attrName>ppt_w</p:attrName>
                                        </p:attrNameLst>
                                      </p:cBhvr>
                                      <p:tavLst>
                                        <p:tav tm="0">
                                          <p:val>
                                            <p:fltVal val="0"/>
                                          </p:val>
                                        </p:tav>
                                        <p:tav tm="100000">
                                          <p:val>
                                            <p:strVal val="#ppt_w"/>
                                          </p:val>
                                        </p:tav>
                                      </p:tavLst>
                                    </p:anim>
                                    <p:anim calcmode="lin" valueType="num">
                                      <p:cBhvr>
                                        <p:cTn id="59" dur="500" fill="hold"/>
                                        <p:tgtEl>
                                          <p:spTgt spid="46"/>
                                        </p:tgtEl>
                                        <p:attrNameLst>
                                          <p:attrName>ppt_h</p:attrName>
                                        </p:attrNameLst>
                                      </p:cBhvr>
                                      <p:tavLst>
                                        <p:tav tm="0">
                                          <p:val>
                                            <p:fltVal val="0"/>
                                          </p:val>
                                        </p:tav>
                                        <p:tav tm="100000">
                                          <p:val>
                                            <p:strVal val="#ppt_h"/>
                                          </p:val>
                                        </p:tav>
                                      </p:tavLst>
                                    </p:anim>
                                    <p:anim calcmode="lin" valueType="num">
                                      <p:cBhvr>
                                        <p:cTn id="60" dur="500" fill="hold"/>
                                        <p:tgtEl>
                                          <p:spTgt spid="46"/>
                                        </p:tgtEl>
                                        <p:attrNameLst>
                                          <p:attrName>style.rotation</p:attrName>
                                        </p:attrNameLst>
                                      </p:cBhvr>
                                      <p:tavLst>
                                        <p:tav tm="0">
                                          <p:val>
                                            <p:fltVal val="360"/>
                                          </p:val>
                                        </p:tav>
                                        <p:tav tm="100000">
                                          <p:val>
                                            <p:fltVal val="0"/>
                                          </p:val>
                                        </p:tav>
                                      </p:tavLst>
                                    </p:anim>
                                    <p:animEffect transition="in" filter="fade">
                                      <p:cBhvr>
                                        <p:cTn id="61" dur="500"/>
                                        <p:tgtEl>
                                          <p:spTgt spid="46"/>
                                        </p:tgtEl>
                                      </p:cBhvr>
                                    </p:animEffect>
                                  </p:childTnLst>
                                </p:cTn>
                              </p:par>
                            </p:childTnLst>
                          </p:cTn>
                        </p:par>
                        <p:par>
                          <p:cTn id="62" fill="hold">
                            <p:stCondLst>
                              <p:cond delay="5000"/>
                            </p:stCondLst>
                            <p:childTnLst>
                              <p:par>
                                <p:cTn id="63" presetID="42" presetClass="entr" presetSubtype="0" fill="hold" nodeType="after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1000"/>
                                        <p:tgtEl>
                                          <p:spTgt spid="7"/>
                                        </p:tgtEl>
                                      </p:cBhvr>
                                    </p:animEffect>
                                    <p:anim calcmode="lin" valueType="num">
                                      <p:cBhvr>
                                        <p:cTn id="66" dur="1000" fill="hold"/>
                                        <p:tgtEl>
                                          <p:spTgt spid="7"/>
                                        </p:tgtEl>
                                        <p:attrNameLst>
                                          <p:attrName>ppt_x</p:attrName>
                                        </p:attrNameLst>
                                      </p:cBhvr>
                                      <p:tavLst>
                                        <p:tav tm="0">
                                          <p:val>
                                            <p:strVal val="#ppt_x"/>
                                          </p:val>
                                        </p:tav>
                                        <p:tav tm="100000">
                                          <p:val>
                                            <p:strVal val="#ppt_x"/>
                                          </p:val>
                                        </p:tav>
                                      </p:tavLst>
                                    </p:anim>
                                    <p:anim calcmode="lin" valueType="num">
                                      <p:cBhvr>
                                        <p:cTn id="67" dur="1000" fill="hold"/>
                                        <p:tgtEl>
                                          <p:spTgt spid="7"/>
                                        </p:tgtEl>
                                        <p:attrNameLst>
                                          <p:attrName>ppt_y</p:attrName>
                                        </p:attrNameLst>
                                      </p:cBhvr>
                                      <p:tavLst>
                                        <p:tav tm="0">
                                          <p:val>
                                            <p:strVal val="#ppt_y+.1"/>
                                          </p:val>
                                        </p:tav>
                                        <p:tav tm="100000">
                                          <p:val>
                                            <p:strVal val="#ppt_y"/>
                                          </p:val>
                                        </p:tav>
                                      </p:tavLst>
                                    </p:anim>
                                  </p:childTnLst>
                                </p:cTn>
                              </p:par>
                            </p:childTnLst>
                          </p:cTn>
                        </p:par>
                        <p:par>
                          <p:cTn id="68" fill="hold">
                            <p:stCondLst>
                              <p:cond delay="6000"/>
                            </p:stCondLst>
                            <p:childTnLst>
                              <p:par>
                                <p:cTn id="69" presetID="10" presetClass="entr" presetSubtype="0" fill="hold" nodeType="afterEffect">
                                  <p:stCondLst>
                                    <p:cond delay="0"/>
                                  </p:stCondLst>
                                  <p:childTnLst>
                                    <p:set>
                                      <p:cBhvr>
                                        <p:cTn id="70" dur="1" fill="hold">
                                          <p:stCondLst>
                                            <p:cond delay="0"/>
                                          </p:stCondLst>
                                        </p:cTn>
                                        <p:tgtEl>
                                          <p:spTgt spid="10"/>
                                        </p:tgtEl>
                                        <p:attrNameLst>
                                          <p:attrName>style.visibility</p:attrName>
                                        </p:attrNameLst>
                                      </p:cBhvr>
                                      <p:to>
                                        <p:strVal val="visible"/>
                                      </p:to>
                                    </p:set>
                                    <p:animEffect transition="in" filter="fade">
                                      <p:cBhvr>
                                        <p:cTn id="71" dur="500"/>
                                        <p:tgtEl>
                                          <p:spTgt spid="10"/>
                                        </p:tgtEl>
                                      </p:cBhvr>
                                    </p:animEffect>
                                  </p:childTnLst>
                                </p:cTn>
                              </p:par>
                            </p:childTnLst>
                          </p:cTn>
                        </p:par>
                        <p:par>
                          <p:cTn id="72" fill="hold">
                            <p:stCondLst>
                              <p:cond delay="6500"/>
                            </p:stCondLst>
                            <p:childTnLst>
                              <p:par>
                                <p:cTn id="73" presetID="10" presetClass="entr" presetSubtype="0" fill="hold" grpId="0" nodeType="afterEffect">
                                  <p:stCondLst>
                                    <p:cond delay="0"/>
                                  </p:stCondLst>
                                  <p:childTnLst>
                                    <p:set>
                                      <p:cBhvr>
                                        <p:cTn id="74" dur="1" fill="hold">
                                          <p:stCondLst>
                                            <p:cond delay="0"/>
                                          </p:stCondLst>
                                        </p:cTn>
                                        <p:tgtEl>
                                          <p:spTgt spid="73"/>
                                        </p:tgtEl>
                                        <p:attrNameLst>
                                          <p:attrName>style.visibility</p:attrName>
                                        </p:attrNameLst>
                                      </p:cBhvr>
                                      <p:to>
                                        <p:strVal val="visible"/>
                                      </p:to>
                                    </p:set>
                                    <p:animEffect transition="in" filter="fade">
                                      <p:cBhvr>
                                        <p:cTn id="75" dur="500"/>
                                        <p:tgtEl>
                                          <p:spTgt spid="73"/>
                                        </p:tgtEl>
                                      </p:cBhvr>
                                    </p:animEffect>
                                  </p:childTnLst>
                                </p:cTn>
                              </p:par>
                            </p:childTnLst>
                          </p:cTn>
                        </p:par>
                        <p:par>
                          <p:cTn id="76" fill="hold">
                            <p:stCondLst>
                              <p:cond delay="7000"/>
                            </p:stCondLst>
                            <p:childTnLst>
                              <p:par>
                                <p:cTn id="77" presetID="10" presetClass="entr" presetSubtype="0" fill="hold" grpId="0" nodeType="afterEffect">
                                  <p:stCondLst>
                                    <p:cond delay="0"/>
                                  </p:stCondLst>
                                  <p:childTnLst>
                                    <p:set>
                                      <p:cBhvr>
                                        <p:cTn id="78" dur="1" fill="hold">
                                          <p:stCondLst>
                                            <p:cond delay="0"/>
                                          </p:stCondLst>
                                        </p:cTn>
                                        <p:tgtEl>
                                          <p:spTgt spid="74"/>
                                        </p:tgtEl>
                                        <p:attrNameLst>
                                          <p:attrName>style.visibility</p:attrName>
                                        </p:attrNameLst>
                                      </p:cBhvr>
                                      <p:to>
                                        <p:strVal val="visible"/>
                                      </p:to>
                                    </p:set>
                                    <p:animEffect transition="in" filter="fade">
                                      <p:cBhvr>
                                        <p:cTn id="79" dur="500"/>
                                        <p:tgtEl>
                                          <p:spTgt spid="74"/>
                                        </p:tgtEl>
                                      </p:cBhvr>
                                    </p:animEffect>
                                  </p:childTnLst>
                                </p:cTn>
                              </p:par>
                            </p:childTnLst>
                          </p:cTn>
                        </p:par>
                        <p:par>
                          <p:cTn id="80" fill="hold">
                            <p:stCondLst>
                              <p:cond delay="7500"/>
                            </p:stCondLst>
                            <p:childTnLst>
                              <p:par>
                                <p:cTn id="81" presetID="10" presetClass="entr" presetSubtype="0" fill="hold" nodeType="afterEffect">
                                  <p:stCondLst>
                                    <p:cond delay="0"/>
                                  </p:stCondLst>
                                  <p:childTnLst>
                                    <p:set>
                                      <p:cBhvr>
                                        <p:cTn id="82" dur="1" fill="hold">
                                          <p:stCondLst>
                                            <p:cond delay="0"/>
                                          </p:stCondLst>
                                        </p:cTn>
                                        <p:tgtEl>
                                          <p:spTgt spid="8"/>
                                        </p:tgtEl>
                                        <p:attrNameLst>
                                          <p:attrName>style.visibility</p:attrName>
                                        </p:attrNameLst>
                                      </p:cBhvr>
                                      <p:to>
                                        <p:strVal val="visible"/>
                                      </p:to>
                                    </p:set>
                                    <p:animEffect transition="in" filter="fade">
                                      <p:cBhvr>
                                        <p:cTn id="83" dur="500"/>
                                        <p:tgtEl>
                                          <p:spTgt spid="8"/>
                                        </p:tgtEl>
                                      </p:cBhvr>
                                    </p:animEffect>
                                  </p:childTnLst>
                                </p:cTn>
                              </p:par>
                            </p:childTnLst>
                          </p:cTn>
                        </p:par>
                        <p:par>
                          <p:cTn id="84" fill="hold">
                            <p:stCondLst>
                              <p:cond delay="8000"/>
                            </p:stCondLst>
                            <p:childTnLst>
                              <p:par>
                                <p:cTn id="85" presetID="10" presetClass="entr" presetSubtype="0" fill="hold" grpId="0" nodeType="afterEffect">
                                  <p:stCondLst>
                                    <p:cond delay="0"/>
                                  </p:stCondLst>
                                  <p:childTnLst>
                                    <p:set>
                                      <p:cBhvr>
                                        <p:cTn id="86" dur="1" fill="hold">
                                          <p:stCondLst>
                                            <p:cond delay="0"/>
                                          </p:stCondLst>
                                        </p:cTn>
                                        <p:tgtEl>
                                          <p:spTgt spid="75"/>
                                        </p:tgtEl>
                                        <p:attrNameLst>
                                          <p:attrName>style.visibility</p:attrName>
                                        </p:attrNameLst>
                                      </p:cBhvr>
                                      <p:to>
                                        <p:strVal val="visible"/>
                                      </p:to>
                                    </p:set>
                                    <p:animEffect transition="in" filter="fade">
                                      <p:cBhvr>
                                        <p:cTn id="87" dur="500"/>
                                        <p:tgtEl>
                                          <p:spTgt spid="75"/>
                                        </p:tgtEl>
                                      </p:cBhvr>
                                    </p:animEffect>
                                  </p:childTnLst>
                                </p:cTn>
                              </p:par>
                            </p:childTnLst>
                          </p:cTn>
                        </p:par>
                        <p:par>
                          <p:cTn id="88" fill="hold">
                            <p:stCondLst>
                              <p:cond delay="8500"/>
                            </p:stCondLst>
                            <p:childTnLst>
                              <p:par>
                                <p:cTn id="89" presetID="10" presetClass="entr" presetSubtype="0" fill="hold" grpId="0" nodeType="afterEffect">
                                  <p:stCondLst>
                                    <p:cond delay="0"/>
                                  </p:stCondLst>
                                  <p:childTnLst>
                                    <p:set>
                                      <p:cBhvr>
                                        <p:cTn id="90" dur="1" fill="hold">
                                          <p:stCondLst>
                                            <p:cond delay="0"/>
                                          </p:stCondLst>
                                        </p:cTn>
                                        <p:tgtEl>
                                          <p:spTgt spid="76"/>
                                        </p:tgtEl>
                                        <p:attrNameLst>
                                          <p:attrName>style.visibility</p:attrName>
                                        </p:attrNameLst>
                                      </p:cBhvr>
                                      <p:to>
                                        <p:strVal val="visible"/>
                                      </p:to>
                                    </p:set>
                                    <p:animEffect transition="in" filter="fade">
                                      <p:cBhvr>
                                        <p:cTn id="9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1" grpId="0"/>
      <p:bldP spid="25" grpId="0"/>
      <p:bldP spid="46" grpId="0" animBg="1"/>
      <p:bldP spid="51" grpId="0" animBg="1"/>
      <p:bldP spid="73" grpId="0"/>
      <p:bldP spid="74" grpId="0"/>
      <p:bldP spid="75" grpId="0"/>
      <p:bldP spid="7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4"/>
          <p:cNvGrpSpPr/>
          <p:nvPr/>
        </p:nvGrpSpPr>
        <p:grpSpPr>
          <a:xfrm>
            <a:off x="785286" y="1707614"/>
            <a:ext cx="1486668" cy="1525141"/>
            <a:chOff x="23394" y="1490767"/>
            <a:chExt cx="1793584" cy="1839999"/>
          </a:xfrm>
          <a:solidFill>
            <a:srgbClr val="86BD7D"/>
          </a:solidFill>
        </p:grpSpPr>
        <p:sp>
          <p:nvSpPr>
            <p:cNvPr id="72" name="Round Same Side Corner Rectangle 71"/>
            <p:cNvSpPr/>
            <p:nvPr/>
          </p:nvSpPr>
          <p:spPr>
            <a:xfrm rot="5400000">
              <a:off x="-198896" y="2244015"/>
              <a:ext cx="790364" cy="34578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sp>
          <p:nvSpPr>
            <p:cNvPr id="73" name="Bent Arrow 72"/>
            <p:cNvSpPr/>
            <p:nvPr/>
          </p:nvSpPr>
          <p:spPr>
            <a:xfrm rot="5400000">
              <a:off x="472559" y="1876818"/>
              <a:ext cx="889161" cy="1623558"/>
            </a:xfrm>
            <a:prstGeom prst="bentArrow">
              <a:avLst>
                <a:gd name="adj1" fmla="val 41667"/>
                <a:gd name="adj2" fmla="val 25000"/>
                <a:gd name="adj3" fmla="val 0"/>
                <a:gd name="adj4" fmla="val 7273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solidFill>
                  <a:schemeClr val="tx1"/>
                </a:solidFill>
                <a:cs typeface="+mn-ea"/>
                <a:sym typeface="+mn-lt"/>
              </a:endParaRPr>
            </a:p>
          </p:txBody>
        </p:sp>
        <p:sp>
          <p:nvSpPr>
            <p:cNvPr id="77" name="Rounded Rectangle 76"/>
            <p:cNvSpPr/>
            <p:nvPr/>
          </p:nvSpPr>
          <p:spPr>
            <a:xfrm>
              <a:off x="1174807" y="2984982"/>
              <a:ext cx="642171" cy="3457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sp>
          <p:nvSpPr>
            <p:cNvPr id="80" name="Rectangle 79"/>
            <p:cNvSpPr/>
            <p:nvPr/>
          </p:nvSpPr>
          <p:spPr>
            <a:xfrm>
              <a:off x="517603" y="2028418"/>
              <a:ext cx="519750" cy="22229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sp>
          <p:nvSpPr>
            <p:cNvPr id="83" name="Rectangle 82"/>
            <p:cNvSpPr/>
            <p:nvPr/>
          </p:nvSpPr>
          <p:spPr>
            <a:xfrm>
              <a:off x="640556" y="1703734"/>
              <a:ext cx="273844" cy="3375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grpSp>
          <p:nvGrpSpPr>
            <p:cNvPr id="3" name="Group 93"/>
            <p:cNvGrpSpPr/>
            <p:nvPr/>
          </p:nvGrpSpPr>
          <p:grpSpPr>
            <a:xfrm>
              <a:off x="148193" y="1490767"/>
              <a:ext cx="1267392" cy="395183"/>
              <a:chOff x="148193" y="1501702"/>
              <a:chExt cx="1267392" cy="395183"/>
            </a:xfrm>
            <a:grpFill/>
          </p:grpSpPr>
          <p:sp>
            <p:nvSpPr>
              <p:cNvPr id="86" name="Oval 85"/>
              <p:cNvSpPr/>
              <p:nvPr/>
            </p:nvSpPr>
            <p:spPr>
              <a:xfrm>
                <a:off x="577953" y="1501702"/>
                <a:ext cx="395183" cy="39518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sp>
            <p:nvSpPr>
              <p:cNvPr id="89" name="Teardrop 88"/>
              <p:cNvSpPr/>
              <p:nvPr/>
            </p:nvSpPr>
            <p:spPr>
              <a:xfrm rot="2700000">
                <a:off x="148193" y="1501703"/>
                <a:ext cx="395182" cy="395182"/>
              </a:xfrm>
              <a:prstGeom prst="teardrop">
                <a:avLst>
                  <a:gd name="adj" fmla="val 1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sp>
            <p:nvSpPr>
              <p:cNvPr id="92" name="Teardrop 91"/>
              <p:cNvSpPr/>
              <p:nvPr/>
            </p:nvSpPr>
            <p:spPr>
              <a:xfrm rot="18900000" flipH="1">
                <a:off x="1020403" y="1501703"/>
                <a:ext cx="395182" cy="395182"/>
              </a:xfrm>
              <a:prstGeom prst="teardrop">
                <a:avLst>
                  <a:gd name="adj" fmla="val 1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760">
                  <a:cs typeface="+mn-ea"/>
                  <a:sym typeface="+mn-lt"/>
                </a:endParaRPr>
              </a:p>
            </p:txBody>
          </p:sp>
        </p:grpSp>
      </p:grpSp>
      <p:sp>
        <p:nvSpPr>
          <p:cNvPr id="96" name="Freeform 36"/>
          <p:cNvSpPr>
            <a:spLocks noEditPoints="1"/>
          </p:cNvSpPr>
          <p:nvPr/>
        </p:nvSpPr>
        <p:spPr bwMode="auto">
          <a:xfrm>
            <a:off x="1560760" y="3284984"/>
            <a:ext cx="970209" cy="1329130"/>
          </a:xfrm>
          <a:custGeom>
            <a:avLst/>
            <a:gdLst/>
            <a:ahLst/>
            <a:cxnLst>
              <a:cxn ang="0">
                <a:pos x="39" y="2"/>
              </a:cxn>
              <a:cxn ang="0">
                <a:pos x="35" y="0"/>
              </a:cxn>
              <a:cxn ang="0">
                <a:pos x="32" y="2"/>
              </a:cxn>
              <a:cxn ang="0">
                <a:pos x="0" y="63"/>
              </a:cxn>
              <a:cxn ang="0">
                <a:pos x="35" y="98"/>
              </a:cxn>
              <a:cxn ang="0">
                <a:pos x="70" y="63"/>
              </a:cxn>
              <a:cxn ang="0">
                <a:pos x="39" y="2"/>
              </a:cxn>
              <a:cxn ang="0">
                <a:pos x="23" y="83"/>
              </a:cxn>
              <a:cxn ang="0">
                <a:pos x="19" y="85"/>
              </a:cxn>
              <a:cxn ang="0">
                <a:pos x="16" y="83"/>
              </a:cxn>
              <a:cxn ang="0">
                <a:pos x="7" y="54"/>
              </a:cxn>
              <a:cxn ang="0">
                <a:pos x="13" y="50"/>
              </a:cxn>
              <a:cxn ang="0">
                <a:pos x="16" y="56"/>
              </a:cxn>
              <a:cxn ang="0">
                <a:pos x="22" y="76"/>
              </a:cxn>
              <a:cxn ang="0">
                <a:pos x="23" y="83"/>
              </a:cxn>
              <a:cxn ang="0">
                <a:pos x="32" y="93"/>
              </a:cxn>
              <a:cxn ang="0">
                <a:pos x="27" y="87"/>
              </a:cxn>
              <a:cxn ang="0">
                <a:pos x="32" y="82"/>
              </a:cxn>
              <a:cxn ang="0">
                <a:pos x="38" y="87"/>
              </a:cxn>
              <a:cxn ang="0">
                <a:pos x="32" y="93"/>
              </a:cxn>
              <a:cxn ang="0">
                <a:pos x="32" y="93"/>
              </a:cxn>
              <a:cxn ang="0">
                <a:pos x="32" y="93"/>
              </a:cxn>
            </a:cxnLst>
            <a:rect l="0" t="0" r="r" b="b"/>
            <a:pathLst>
              <a:path w="70" h="98">
                <a:moveTo>
                  <a:pt x="39" y="2"/>
                </a:moveTo>
                <a:cubicBezTo>
                  <a:pt x="38" y="1"/>
                  <a:pt x="37" y="0"/>
                  <a:pt x="35" y="0"/>
                </a:cubicBezTo>
                <a:cubicBezTo>
                  <a:pt x="34" y="0"/>
                  <a:pt x="32" y="1"/>
                  <a:pt x="32" y="2"/>
                </a:cubicBezTo>
                <a:cubicBezTo>
                  <a:pt x="23" y="14"/>
                  <a:pt x="0" y="47"/>
                  <a:pt x="0" y="63"/>
                </a:cubicBezTo>
                <a:cubicBezTo>
                  <a:pt x="0" y="82"/>
                  <a:pt x="16" y="98"/>
                  <a:pt x="35" y="98"/>
                </a:cubicBezTo>
                <a:cubicBezTo>
                  <a:pt x="55" y="98"/>
                  <a:pt x="70" y="82"/>
                  <a:pt x="70" y="63"/>
                </a:cubicBezTo>
                <a:cubicBezTo>
                  <a:pt x="70" y="47"/>
                  <a:pt x="48" y="14"/>
                  <a:pt x="39" y="2"/>
                </a:cubicBezTo>
                <a:close/>
                <a:moveTo>
                  <a:pt x="23" y="83"/>
                </a:moveTo>
                <a:cubicBezTo>
                  <a:pt x="22" y="84"/>
                  <a:pt x="20" y="85"/>
                  <a:pt x="19" y="85"/>
                </a:cubicBezTo>
                <a:cubicBezTo>
                  <a:pt x="18" y="85"/>
                  <a:pt x="17" y="84"/>
                  <a:pt x="16" y="83"/>
                </a:cubicBezTo>
                <a:cubicBezTo>
                  <a:pt x="2" y="72"/>
                  <a:pt x="7" y="55"/>
                  <a:pt x="7" y="54"/>
                </a:cubicBezTo>
                <a:cubicBezTo>
                  <a:pt x="8" y="51"/>
                  <a:pt x="11" y="50"/>
                  <a:pt x="13" y="50"/>
                </a:cubicBezTo>
                <a:cubicBezTo>
                  <a:pt x="16" y="51"/>
                  <a:pt x="17" y="54"/>
                  <a:pt x="16" y="56"/>
                </a:cubicBezTo>
                <a:cubicBezTo>
                  <a:pt x="16" y="57"/>
                  <a:pt x="13" y="68"/>
                  <a:pt x="22" y="76"/>
                </a:cubicBezTo>
                <a:cubicBezTo>
                  <a:pt x="24" y="78"/>
                  <a:pt x="25" y="81"/>
                  <a:pt x="23" y="83"/>
                </a:cubicBezTo>
                <a:close/>
                <a:moveTo>
                  <a:pt x="32" y="93"/>
                </a:moveTo>
                <a:cubicBezTo>
                  <a:pt x="30" y="93"/>
                  <a:pt x="27" y="90"/>
                  <a:pt x="27" y="87"/>
                </a:cubicBezTo>
                <a:cubicBezTo>
                  <a:pt x="27" y="84"/>
                  <a:pt x="30" y="82"/>
                  <a:pt x="32" y="82"/>
                </a:cubicBezTo>
                <a:cubicBezTo>
                  <a:pt x="35" y="82"/>
                  <a:pt x="38" y="84"/>
                  <a:pt x="38" y="87"/>
                </a:cubicBezTo>
                <a:cubicBezTo>
                  <a:pt x="38" y="90"/>
                  <a:pt x="35" y="93"/>
                  <a:pt x="32" y="93"/>
                </a:cubicBezTo>
                <a:close/>
                <a:moveTo>
                  <a:pt x="32" y="93"/>
                </a:moveTo>
                <a:cubicBezTo>
                  <a:pt x="32" y="93"/>
                  <a:pt x="32" y="93"/>
                  <a:pt x="32" y="93"/>
                </a:cubicBezTo>
              </a:path>
            </a:pathLst>
          </a:custGeom>
          <a:solidFill>
            <a:srgbClr val="86BD7D"/>
          </a:solidFill>
          <a:ln w="9525">
            <a:noFill/>
            <a:round/>
          </a:ln>
        </p:spPr>
        <p:txBody>
          <a:bodyPr vert="horz" wrap="square" lIns="105841" tIns="52921" rIns="105841" bIns="52921" numCol="1" anchor="t" anchorCtr="0" compatLnSpc="1"/>
          <a:lstStyle/>
          <a:p>
            <a:pPr>
              <a:lnSpc>
                <a:spcPct val="120000"/>
              </a:lnSpc>
            </a:pPr>
            <a:endParaRPr lang="en-US" sz="760">
              <a:cs typeface="+mn-ea"/>
              <a:sym typeface="+mn-lt"/>
            </a:endParaRPr>
          </a:p>
        </p:txBody>
      </p:sp>
      <p:sp>
        <p:nvSpPr>
          <p:cNvPr id="97" name="Freeform 36"/>
          <p:cNvSpPr>
            <a:spLocks noEditPoints="1"/>
          </p:cNvSpPr>
          <p:nvPr/>
        </p:nvSpPr>
        <p:spPr bwMode="auto">
          <a:xfrm>
            <a:off x="3386926" y="3284984"/>
            <a:ext cx="970209" cy="1329130"/>
          </a:xfrm>
          <a:custGeom>
            <a:avLst/>
            <a:gdLst/>
            <a:ahLst/>
            <a:cxnLst>
              <a:cxn ang="0">
                <a:pos x="39" y="2"/>
              </a:cxn>
              <a:cxn ang="0">
                <a:pos x="35" y="0"/>
              </a:cxn>
              <a:cxn ang="0">
                <a:pos x="32" y="2"/>
              </a:cxn>
              <a:cxn ang="0">
                <a:pos x="0" y="63"/>
              </a:cxn>
              <a:cxn ang="0">
                <a:pos x="35" y="98"/>
              </a:cxn>
              <a:cxn ang="0">
                <a:pos x="70" y="63"/>
              </a:cxn>
              <a:cxn ang="0">
                <a:pos x="39" y="2"/>
              </a:cxn>
              <a:cxn ang="0">
                <a:pos x="23" y="83"/>
              </a:cxn>
              <a:cxn ang="0">
                <a:pos x="19" y="85"/>
              </a:cxn>
              <a:cxn ang="0">
                <a:pos x="16" y="83"/>
              </a:cxn>
              <a:cxn ang="0">
                <a:pos x="7" y="54"/>
              </a:cxn>
              <a:cxn ang="0">
                <a:pos x="13" y="50"/>
              </a:cxn>
              <a:cxn ang="0">
                <a:pos x="16" y="56"/>
              </a:cxn>
              <a:cxn ang="0">
                <a:pos x="22" y="76"/>
              </a:cxn>
              <a:cxn ang="0">
                <a:pos x="23" y="83"/>
              </a:cxn>
              <a:cxn ang="0">
                <a:pos x="32" y="93"/>
              </a:cxn>
              <a:cxn ang="0">
                <a:pos x="27" y="87"/>
              </a:cxn>
              <a:cxn ang="0">
                <a:pos x="32" y="82"/>
              </a:cxn>
              <a:cxn ang="0">
                <a:pos x="38" y="87"/>
              </a:cxn>
              <a:cxn ang="0">
                <a:pos x="32" y="93"/>
              </a:cxn>
              <a:cxn ang="0">
                <a:pos x="32" y="93"/>
              </a:cxn>
              <a:cxn ang="0">
                <a:pos x="32" y="93"/>
              </a:cxn>
            </a:cxnLst>
            <a:rect l="0" t="0" r="r" b="b"/>
            <a:pathLst>
              <a:path w="70" h="98">
                <a:moveTo>
                  <a:pt x="39" y="2"/>
                </a:moveTo>
                <a:cubicBezTo>
                  <a:pt x="38" y="1"/>
                  <a:pt x="37" y="0"/>
                  <a:pt x="35" y="0"/>
                </a:cubicBezTo>
                <a:cubicBezTo>
                  <a:pt x="34" y="0"/>
                  <a:pt x="32" y="1"/>
                  <a:pt x="32" y="2"/>
                </a:cubicBezTo>
                <a:cubicBezTo>
                  <a:pt x="23" y="14"/>
                  <a:pt x="0" y="47"/>
                  <a:pt x="0" y="63"/>
                </a:cubicBezTo>
                <a:cubicBezTo>
                  <a:pt x="0" y="82"/>
                  <a:pt x="16" y="98"/>
                  <a:pt x="35" y="98"/>
                </a:cubicBezTo>
                <a:cubicBezTo>
                  <a:pt x="55" y="98"/>
                  <a:pt x="70" y="82"/>
                  <a:pt x="70" y="63"/>
                </a:cubicBezTo>
                <a:cubicBezTo>
                  <a:pt x="70" y="47"/>
                  <a:pt x="48" y="14"/>
                  <a:pt x="39" y="2"/>
                </a:cubicBezTo>
                <a:close/>
                <a:moveTo>
                  <a:pt x="23" y="83"/>
                </a:moveTo>
                <a:cubicBezTo>
                  <a:pt x="22" y="84"/>
                  <a:pt x="20" y="85"/>
                  <a:pt x="19" y="85"/>
                </a:cubicBezTo>
                <a:cubicBezTo>
                  <a:pt x="18" y="85"/>
                  <a:pt x="17" y="84"/>
                  <a:pt x="16" y="83"/>
                </a:cubicBezTo>
                <a:cubicBezTo>
                  <a:pt x="2" y="72"/>
                  <a:pt x="7" y="55"/>
                  <a:pt x="7" y="54"/>
                </a:cubicBezTo>
                <a:cubicBezTo>
                  <a:pt x="8" y="51"/>
                  <a:pt x="11" y="50"/>
                  <a:pt x="13" y="50"/>
                </a:cubicBezTo>
                <a:cubicBezTo>
                  <a:pt x="16" y="51"/>
                  <a:pt x="17" y="54"/>
                  <a:pt x="16" y="56"/>
                </a:cubicBezTo>
                <a:cubicBezTo>
                  <a:pt x="16" y="57"/>
                  <a:pt x="13" y="68"/>
                  <a:pt x="22" y="76"/>
                </a:cubicBezTo>
                <a:cubicBezTo>
                  <a:pt x="24" y="78"/>
                  <a:pt x="25" y="81"/>
                  <a:pt x="23" y="83"/>
                </a:cubicBezTo>
                <a:close/>
                <a:moveTo>
                  <a:pt x="32" y="93"/>
                </a:moveTo>
                <a:cubicBezTo>
                  <a:pt x="30" y="93"/>
                  <a:pt x="27" y="90"/>
                  <a:pt x="27" y="87"/>
                </a:cubicBezTo>
                <a:cubicBezTo>
                  <a:pt x="27" y="84"/>
                  <a:pt x="30" y="82"/>
                  <a:pt x="32" y="82"/>
                </a:cubicBezTo>
                <a:cubicBezTo>
                  <a:pt x="35" y="82"/>
                  <a:pt x="38" y="84"/>
                  <a:pt x="38" y="87"/>
                </a:cubicBezTo>
                <a:cubicBezTo>
                  <a:pt x="38" y="90"/>
                  <a:pt x="35" y="93"/>
                  <a:pt x="32" y="93"/>
                </a:cubicBezTo>
                <a:close/>
                <a:moveTo>
                  <a:pt x="32" y="93"/>
                </a:moveTo>
                <a:cubicBezTo>
                  <a:pt x="32" y="93"/>
                  <a:pt x="32" y="93"/>
                  <a:pt x="32" y="93"/>
                </a:cubicBezTo>
              </a:path>
            </a:pathLst>
          </a:custGeom>
          <a:solidFill>
            <a:srgbClr val="82B864"/>
          </a:solidFill>
          <a:ln w="9525">
            <a:noFill/>
            <a:round/>
          </a:ln>
        </p:spPr>
        <p:txBody>
          <a:bodyPr vert="horz" wrap="square" lIns="105841" tIns="52921" rIns="105841" bIns="52921" numCol="1" anchor="t" anchorCtr="0" compatLnSpc="1"/>
          <a:lstStyle/>
          <a:p>
            <a:pPr>
              <a:lnSpc>
                <a:spcPct val="120000"/>
              </a:lnSpc>
            </a:pPr>
            <a:endParaRPr lang="en-US" sz="760">
              <a:cs typeface="+mn-ea"/>
              <a:sym typeface="+mn-lt"/>
            </a:endParaRPr>
          </a:p>
        </p:txBody>
      </p:sp>
      <p:sp>
        <p:nvSpPr>
          <p:cNvPr id="98" name="Freeform 36"/>
          <p:cNvSpPr>
            <a:spLocks noEditPoints="1"/>
          </p:cNvSpPr>
          <p:nvPr/>
        </p:nvSpPr>
        <p:spPr bwMode="auto">
          <a:xfrm>
            <a:off x="5177521" y="3284984"/>
            <a:ext cx="970209" cy="1329130"/>
          </a:xfrm>
          <a:custGeom>
            <a:avLst/>
            <a:gdLst/>
            <a:ahLst/>
            <a:cxnLst>
              <a:cxn ang="0">
                <a:pos x="39" y="2"/>
              </a:cxn>
              <a:cxn ang="0">
                <a:pos x="35" y="0"/>
              </a:cxn>
              <a:cxn ang="0">
                <a:pos x="32" y="2"/>
              </a:cxn>
              <a:cxn ang="0">
                <a:pos x="0" y="63"/>
              </a:cxn>
              <a:cxn ang="0">
                <a:pos x="35" y="98"/>
              </a:cxn>
              <a:cxn ang="0">
                <a:pos x="70" y="63"/>
              </a:cxn>
              <a:cxn ang="0">
                <a:pos x="39" y="2"/>
              </a:cxn>
              <a:cxn ang="0">
                <a:pos x="23" y="83"/>
              </a:cxn>
              <a:cxn ang="0">
                <a:pos x="19" y="85"/>
              </a:cxn>
              <a:cxn ang="0">
                <a:pos x="16" y="83"/>
              </a:cxn>
              <a:cxn ang="0">
                <a:pos x="7" y="54"/>
              </a:cxn>
              <a:cxn ang="0">
                <a:pos x="13" y="50"/>
              </a:cxn>
              <a:cxn ang="0">
                <a:pos x="16" y="56"/>
              </a:cxn>
              <a:cxn ang="0">
                <a:pos x="22" y="76"/>
              </a:cxn>
              <a:cxn ang="0">
                <a:pos x="23" y="83"/>
              </a:cxn>
              <a:cxn ang="0">
                <a:pos x="32" y="93"/>
              </a:cxn>
              <a:cxn ang="0">
                <a:pos x="27" y="87"/>
              </a:cxn>
              <a:cxn ang="0">
                <a:pos x="32" y="82"/>
              </a:cxn>
              <a:cxn ang="0">
                <a:pos x="38" y="87"/>
              </a:cxn>
              <a:cxn ang="0">
                <a:pos x="32" y="93"/>
              </a:cxn>
              <a:cxn ang="0">
                <a:pos x="32" y="93"/>
              </a:cxn>
              <a:cxn ang="0">
                <a:pos x="32" y="93"/>
              </a:cxn>
            </a:cxnLst>
            <a:rect l="0" t="0" r="r" b="b"/>
            <a:pathLst>
              <a:path w="70" h="98">
                <a:moveTo>
                  <a:pt x="39" y="2"/>
                </a:moveTo>
                <a:cubicBezTo>
                  <a:pt x="38" y="1"/>
                  <a:pt x="37" y="0"/>
                  <a:pt x="35" y="0"/>
                </a:cubicBezTo>
                <a:cubicBezTo>
                  <a:pt x="34" y="0"/>
                  <a:pt x="32" y="1"/>
                  <a:pt x="32" y="2"/>
                </a:cubicBezTo>
                <a:cubicBezTo>
                  <a:pt x="23" y="14"/>
                  <a:pt x="0" y="47"/>
                  <a:pt x="0" y="63"/>
                </a:cubicBezTo>
                <a:cubicBezTo>
                  <a:pt x="0" y="82"/>
                  <a:pt x="16" y="98"/>
                  <a:pt x="35" y="98"/>
                </a:cubicBezTo>
                <a:cubicBezTo>
                  <a:pt x="55" y="98"/>
                  <a:pt x="70" y="82"/>
                  <a:pt x="70" y="63"/>
                </a:cubicBezTo>
                <a:cubicBezTo>
                  <a:pt x="70" y="47"/>
                  <a:pt x="48" y="14"/>
                  <a:pt x="39" y="2"/>
                </a:cubicBezTo>
                <a:close/>
                <a:moveTo>
                  <a:pt x="23" y="83"/>
                </a:moveTo>
                <a:cubicBezTo>
                  <a:pt x="22" y="84"/>
                  <a:pt x="20" y="85"/>
                  <a:pt x="19" y="85"/>
                </a:cubicBezTo>
                <a:cubicBezTo>
                  <a:pt x="18" y="85"/>
                  <a:pt x="17" y="84"/>
                  <a:pt x="16" y="83"/>
                </a:cubicBezTo>
                <a:cubicBezTo>
                  <a:pt x="2" y="72"/>
                  <a:pt x="7" y="55"/>
                  <a:pt x="7" y="54"/>
                </a:cubicBezTo>
                <a:cubicBezTo>
                  <a:pt x="8" y="51"/>
                  <a:pt x="11" y="50"/>
                  <a:pt x="13" y="50"/>
                </a:cubicBezTo>
                <a:cubicBezTo>
                  <a:pt x="16" y="51"/>
                  <a:pt x="17" y="54"/>
                  <a:pt x="16" y="56"/>
                </a:cubicBezTo>
                <a:cubicBezTo>
                  <a:pt x="16" y="57"/>
                  <a:pt x="13" y="68"/>
                  <a:pt x="22" y="76"/>
                </a:cubicBezTo>
                <a:cubicBezTo>
                  <a:pt x="24" y="78"/>
                  <a:pt x="25" y="81"/>
                  <a:pt x="23" y="83"/>
                </a:cubicBezTo>
                <a:close/>
                <a:moveTo>
                  <a:pt x="32" y="93"/>
                </a:moveTo>
                <a:cubicBezTo>
                  <a:pt x="30" y="93"/>
                  <a:pt x="27" y="90"/>
                  <a:pt x="27" y="87"/>
                </a:cubicBezTo>
                <a:cubicBezTo>
                  <a:pt x="27" y="84"/>
                  <a:pt x="30" y="82"/>
                  <a:pt x="32" y="82"/>
                </a:cubicBezTo>
                <a:cubicBezTo>
                  <a:pt x="35" y="82"/>
                  <a:pt x="38" y="84"/>
                  <a:pt x="38" y="87"/>
                </a:cubicBezTo>
                <a:cubicBezTo>
                  <a:pt x="38" y="90"/>
                  <a:pt x="35" y="93"/>
                  <a:pt x="32" y="93"/>
                </a:cubicBezTo>
                <a:close/>
                <a:moveTo>
                  <a:pt x="32" y="93"/>
                </a:moveTo>
                <a:cubicBezTo>
                  <a:pt x="32" y="93"/>
                  <a:pt x="32" y="93"/>
                  <a:pt x="32" y="93"/>
                </a:cubicBezTo>
              </a:path>
            </a:pathLst>
          </a:custGeom>
          <a:solidFill>
            <a:srgbClr val="86BD7D"/>
          </a:solidFill>
          <a:ln w="9525">
            <a:noFill/>
            <a:round/>
          </a:ln>
        </p:spPr>
        <p:txBody>
          <a:bodyPr vert="horz" wrap="square" lIns="105841" tIns="52921" rIns="105841" bIns="52921" numCol="1" anchor="t" anchorCtr="0" compatLnSpc="1"/>
          <a:lstStyle/>
          <a:p>
            <a:pPr>
              <a:lnSpc>
                <a:spcPct val="120000"/>
              </a:lnSpc>
            </a:pPr>
            <a:endParaRPr lang="en-US" sz="760">
              <a:cs typeface="+mn-ea"/>
              <a:sym typeface="+mn-lt"/>
            </a:endParaRPr>
          </a:p>
        </p:txBody>
      </p:sp>
      <p:sp>
        <p:nvSpPr>
          <p:cNvPr id="99" name="Freeform 36"/>
          <p:cNvSpPr>
            <a:spLocks noEditPoints="1"/>
          </p:cNvSpPr>
          <p:nvPr/>
        </p:nvSpPr>
        <p:spPr bwMode="auto">
          <a:xfrm>
            <a:off x="6968115" y="3284984"/>
            <a:ext cx="970209" cy="1329130"/>
          </a:xfrm>
          <a:custGeom>
            <a:avLst/>
            <a:gdLst/>
            <a:ahLst/>
            <a:cxnLst>
              <a:cxn ang="0">
                <a:pos x="39" y="2"/>
              </a:cxn>
              <a:cxn ang="0">
                <a:pos x="35" y="0"/>
              </a:cxn>
              <a:cxn ang="0">
                <a:pos x="32" y="2"/>
              </a:cxn>
              <a:cxn ang="0">
                <a:pos x="0" y="63"/>
              </a:cxn>
              <a:cxn ang="0">
                <a:pos x="35" y="98"/>
              </a:cxn>
              <a:cxn ang="0">
                <a:pos x="70" y="63"/>
              </a:cxn>
              <a:cxn ang="0">
                <a:pos x="39" y="2"/>
              </a:cxn>
              <a:cxn ang="0">
                <a:pos x="23" y="83"/>
              </a:cxn>
              <a:cxn ang="0">
                <a:pos x="19" y="85"/>
              </a:cxn>
              <a:cxn ang="0">
                <a:pos x="16" y="83"/>
              </a:cxn>
              <a:cxn ang="0">
                <a:pos x="7" y="54"/>
              </a:cxn>
              <a:cxn ang="0">
                <a:pos x="13" y="50"/>
              </a:cxn>
              <a:cxn ang="0">
                <a:pos x="16" y="56"/>
              </a:cxn>
              <a:cxn ang="0">
                <a:pos x="22" y="76"/>
              </a:cxn>
              <a:cxn ang="0">
                <a:pos x="23" y="83"/>
              </a:cxn>
              <a:cxn ang="0">
                <a:pos x="32" y="93"/>
              </a:cxn>
              <a:cxn ang="0">
                <a:pos x="27" y="87"/>
              </a:cxn>
              <a:cxn ang="0">
                <a:pos x="32" y="82"/>
              </a:cxn>
              <a:cxn ang="0">
                <a:pos x="38" y="87"/>
              </a:cxn>
              <a:cxn ang="0">
                <a:pos x="32" y="93"/>
              </a:cxn>
              <a:cxn ang="0">
                <a:pos x="32" y="93"/>
              </a:cxn>
              <a:cxn ang="0">
                <a:pos x="32" y="93"/>
              </a:cxn>
            </a:cxnLst>
            <a:rect l="0" t="0" r="r" b="b"/>
            <a:pathLst>
              <a:path w="70" h="98">
                <a:moveTo>
                  <a:pt x="39" y="2"/>
                </a:moveTo>
                <a:cubicBezTo>
                  <a:pt x="38" y="1"/>
                  <a:pt x="37" y="0"/>
                  <a:pt x="35" y="0"/>
                </a:cubicBezTo>
                <a:cubicBezTo>
                  <a:pt x="34" y="0"/>
                  <a:pt x="32" y="1"/>
                  <a:pt x="32" y="2"/>
                </a:cubicBezTo>
                <a:cubicBezTo>
                  <a:pt x="23" y="14"/>
                  <a:pt x="0" y="47"/>
                  <a:pt x="0" y="63"/>
                </a:cubicBezTo>
                <a:cubicBezTo>
                  <a:pt x="0" y="82"/>
                  <a:pt x="16" y="98"/>
                  <a:pt x="35" y="98"/>
                </a:cubicBezTo>
                <a:cubicBezTo>
                  <a:pt x="55" y="98"/>
                  <a:pt x="70" y="82"/>
                  <a:pt x="70" y="63"/>
                </a:cubicBezTo>
                <a:cubicBezTo>
                  <a:pt x="70" y="47"/>
                  <a:pt x="48" y="14"/>
                  <a:pt x="39" y="2"/>
                </a:cubicBezTo>
                <a:close/>
                <a:moveTo>
                  <a:pt x="23" y="83"/>
                </a:moveTo>
                <a:cubicBezTo>
                  <a:pt x="22" y="84"/>
                  <a:pt x="20" y="85"/>
                  <a:pt x="19" y="85"/>
                </a:cubicBezTo>
                <a:cubicBezTo>
                  <a:pt x="18" y="85"/>
                  <a:pt x="17" y="84"/>
                  <a:pt x="16" y="83"/>
                </a:cubicBezTo>
                <a:cubicBezTo>
                  <a:pt x="2" y="72"/>
                  <a:pt x="7" y="55"/>
                  <a:pt x="7" y="54"/>
                </a:cubicBezTo>
                <a:cubicBezTo>
                  <a:pt x="8" y="51"/>
                  <a:pt x="11" y="50"/>
                  <a:pt x="13" y="50"/>
                </a:cubicBezTo>
                <a:cubicBezTo>
                  <a:pt x="16" y="51"/>
                  <a:pt x="17" y="54"/>
                  <a:pt x="16" y="56"/>
                </a:cubicBezTo>
                <a:cubicBezTo>
                  <a:pt x="16" y="57"/>
                  <a:pt x="13" y="68"/>
                  <a:pt x="22" y="76"/>
                </a:cubicBezTo>
                <a:cubicBezTo>
                  <a:pt x="24" y="78"/>
                  <a:pt x="25" y="81"/>
                  <a:pt x="23" y="83"/>
                </a:cubicBezTo>
                <a:close/>
                <a:moveTo>
                  <a:pt x="32" y="93"/>
                </a:moveTo>
                <a:cubicBezTo>
                  <a:pt x="30" y="93"/>
                  <a:pt x="27" y="90"/>
                  <a:pt x="27" y="87"/>
                </a:cubicBezTo>
                <a:cubicBezTo>
                  <a:pt x="27" y="84"/>
                  <a:pt x="30" y="82"/>
                  <a:pt x="32" y="82"/>
                </a:cubicBezTo>
                <a:cubicBezTo>
                  <a:pt x="35" y="82"/>
                  <a:pt x="38" y="84"/>
                  <a:pt x="38" y="87"/>
                </a:cubicBezTo>
                <a:cubicBezTo>
                  <a:pt x="38" y="90"/>
                  <a:pt x="35" y="93"/>
                  <a:pt x="32" y="93"/>
                </a:cubicBezTo>
                <a:close/>
                <a:moveTo>
                  <a:pt x="32" y="93"/>
                </a:moveTo>
                <a:cubicBezTo>
                  <a:pt x="32" y="93"/>
                  <a:pt x="32" y="93"/>
                  <a:pt x="32" y="93"/>
                </a:cubicBezTo>
              </a:path>
            </a:pathLst>
          </a:custGeom>
          <a:solidFill>
            <a:srgbClr val="82B864"/>
          </a:solidFill>
          <a:ln w="9525">
            <a:noFill/>
            <a:round/>
          </a:ln>
        </p:spPr>
        <p:txBody>
          <a:bodyPr vert="horz" wrap="square" lIns="105841" tIns="52921" rIns="105841" bIns="52921" numCol="1" anchor="t" anchorCtr="0" compatLnSpc="1"/>
          <a:lstStyle/>
          <a:p>
            <a:pPr>
              <a:lnSpc>
                <a:spcPct val="120000"/>
              </a:lnSpc>
            </a:pPr>
            <a:endParaRPr lang="en-US" sz="760" dirty="0">
              <a:cs typeface="+mn-ea"/>
              <a:sym typeface="+mn-lt"/>
            </a:endParaRPr>
          </a:p>
        </p:txBody>
      </p:sp>
      <p:sp>
        <p:nvSpPr>
          <p:cNvPr id="100" name="Freeform 36"/>
          <p:cNvSpPr>
            <a:spLocks noEditPoints="1"/>
          </p:cNvSpPr>
          <p:nvPr/>
        </p:nvSpPr>
        <p:spPr bwMode="auto">
          <a:xfrm>
            <a:off x="8758708" y="3284984"/>
            <a:ext cx="970209" cy="1329130"/>
          </a:xfrm>
          <a:custGeom>
            <a:avLst/>
            <a:gdLst/>
            <a:ahLst/>
            <a:cxnLst>
              <a:cxn ang="0">
                <a:pos x="39" y="2"/>
              </a:cxn>
              <a:cxn ang="0">
                <a:pos x="35" y="0"/>
              </a:cxn>
              <a:cxn ang="0">
                <a:pos x="32" y="2"/>
              </a:cxn>
              <a:cxn ang="0">
                <a:pos x="0" y="63"/>
              </a:cxn>
              <a:cxn ang="0">
                <a:pos x="35" y="98"/>
              </a:cxn>
              <a:cxn ang="0">
                <a:pos x="70" y="63"/>
              </a:cxn>
              <a:cxn ang="0">
                <a:pos x="39" y="2"/>
              </a:cxn>
              <a:cxn ang="0">
                <a:pos x="23" y="83"/>
              </a:cxn>
              <a:cxn ang="0">
                <a:pos x="19" y="85"/>
              </a:cxn>
              <a:cxn ang="0">
                <a:pos x="16" y="83"/>
              </a:cxn>
              <a:cxn ang="0">
                <a:pos x="7" y="54"/>
              </a:cxn>
              <a:cxn ang="0">
                <a:pos x="13" y="50"/>
              </a:cxn>
              <a:cxn ang="0">
                <a:pos x="16" y="56"/>
              </a:cxn>
              <a:cxn ang="0">
                <a:pos x="22" y="76"/>
              </a:cxn>
              <a:cxn ang="0">
                <a:pos x="23" y="83"/>
              </a:cxn>
              <a:cxn ang="0">
                <a:pos x="32" y="93"/>
              </a:cxn>
              <a:cxn ang="0">
                <a:pos x="27" y="87"/>
              </a:cxn>
              <a:cxn ang="0">
                <a:pos x="32" y="82"/>
              </a:cxn>
              <a:cxn ang="0">
                <a:pos x="38" y="87"/>
              </a:cxn>
              <a:cxn ang="0">
                <a:pos x="32" y="93"/>
              </a:cxn>
              <a:cxn ang="0">
                <a:pos x="32" y="93"/>
              </a:cxn>
              <a:cxn ang="0">
                <a:pos x="32" y="93"/>
              </a:cxn>
            </a:cxnLst>
            <a:rect l="0" t="0" r="r" b="b"/>
            <a:pathLst>
              <a:path w="70" h="98">
                <a:moveTo>
                  <a:pt x="39" y="2"/>
                </a:moveTo>
                <a:cubicBezTo>
                  <a:pt x="38" y="1"/>
                  <a:pt x="37" y="0"/>
                  <a:pt x="35" y="0"/>
                </a:cubicBezTo>
                <a:cubicBezTo>
                  <a:pt x="34" y="0"/>
                  <a:pt x="32" y="1"/>
                  <a:pt x="32" y="2"/>
                </a:cubicBezTo>
                <a:cubicBezTo>
                  <a:pt x="23" y="14"/>
                  <a:pt x="0" y="47"/>
                  <a:pt x="0" y="63"/>
                </a:cubicBezTo>
                <a:cubicBezTo>
                  <a:pt x="0" y="82"/>
                  <a:pt x="16" y="98"/>
                  <a:pt x="35" y="98"/>
                </a:cubicBezTo>
                <a:cubicBezTo>
                  <a:pt x="55" y="98"/>
                  <a:pt x="70" y="82"/>
                  <a:pt x="70" y="63"/>
                </a:cubicBezTo>
                <a:cubicBezTo>
                  <a:pt x="70" y="47"/>
                  <a:pt x="48" y="14"/>
                  <a:pt x="39" y="2"/>
                </a:cubicBezTo>
                <a:close/>
                <a:moveTo>
                  <a:pt x="23" y="83"/>
                </a:moveTo>
                <a:cubicBezTo>
                  <a:pt x="22" y="84"/>
                  <a:pt x="20" y="85"/>
                  <a:pt x="19" y="85"/>
                </a:cubicBezTo>
                <a:cubicBezTo>
                  <a:pt x="18" y="85"/>
                  <a:pt x="17" y="84"/>
                  <a:pt x="16" y="83"/>
                </a:cubicBezTo>
                <a:cubicBezTo>
                  <a:pt x="2" y="72"/>
                  <a:pt x="7" y="55"/>
                  <a:pt x="7" y="54"/>
                </a:cubicBezTo>
                <a:cubicBezTo>
                  <a:pt x="8" y="51"/>
                  <a:pt x="11" y="50"/>
                  <a:pt x="13" y="50"/>
                </a:cubicBezTo>
                <a:cubicBezTo>
                  <a:pt x="16" y="51"/>
                  <a:pt x="17" y="54"/>
                  <a:pt x="16" y="56"/>
                </a:cubicBezTo>
                <a:cubicBezTo>
                  <a:pt x="16" y="57"/>
                  <a:pt x="13" y="68"/>
                  <a:pt x="22" y="76"/>
                </a:cubicBezTo>
                <a:cubicBezTo>
                  <a:pt x="24" y="78"/>
                  <a:pt x="25" y="81"/>
                  <a:pt x="23" y="83"/>
                </a:cubicBezTo>
                <a:close/>
                <a:moveTo>
                  <a:pt x="32" y="93"/>
                </a:moveTo>
                <a:cubicBezTo>
                  <a:pt x="30" y="93"/>
                  <a:pt x="27" y="90"/>
                  <a:pt x="27" y="87"/>
                </a:cubicBezTo>
                <a:cubicBezTo>
                  <a:pt x="27" y="84"/>
                  <a:pt x="30" y="82"/>
                  <a:pt x="32" y="82"/>
                </a:cubicBezTo>
                <a:cubicBezTo>
                  <a:pt x="35" y="82"/>
                  <a:pt x="38" y="84"/>
                  <a:pt x="38" y="87"/>
                </a:cubicBezTo>
                <a:cubicBezTo>
                  <a:pt x="38" y="90"/>
                  <a:pt x="35" y="93"/>
                  <a:pt x="32" y="93"/>
                </a:cubicBezTo>
                <a:close/>
                <a:moveTo>
                  <a:pt x="32" y="93"/>
                </a:moveTo>
                <a:cubicBezTo>
                  <a:pt x="32" y="93"/>
                  <a:pt x="32" y="93"/>
                  <a:pt x="32" y="93"/>
                </a:cubicBezTo>
              </a:path>
            </a:pathLst>
          </a:custGeom>
          <a:solidFill>
            <a:srgbClr val="86BD7D"/>
          </a:solidFill>
          <a:ln w="9525">
            <a:noFill/>
            <a:round/>
          </a:ln>
        </p:spPr>
        <p:txBody>
          <a:bodyPr vert="horz" wrap="square" lIns="105841" tIns="52921" rIns="105841" bIns="52921" numCol="1" anchor="t" anchorCtr="0" compatLnSpc="1"/>
          <a:lstStyle/>
          <a:p>
            <a:pPr>
              <a:lnSpc>
                <a:spcPct val="120000"/>
              </a:lnSpc>
            </a:pPr>
            <a:endParaRPr lang="en-US" sz="760" dirty="0">
              <a:cs typeface="+mn-ea"/>
              <a:sym typeface="+mn-lt"/>
            </a:endParaRPr>
          </a:p>
        </p:txBody>
      </p:sp>
      <p:grpSp>
        <p:nvGrpSpPr>
          <p:cNvPr id="4" name="Group 25"/>
          <p:cNvGrpSpPr/>
          <p:nvPr/>
        </p:nvGrpSpPr>
        <p:grpSpPr>
          <a:xfrm>
            <a:off x="1285866" y="4775009"/>
            <a:ext cx="1520001" cy="803736"/>
            <a:chOff x="764014" y="1581577"/>
            <a:chExt cx="1544637" cy="694378"/>
          </a:xfrm>
        </p:grpSpPr>
        <p:sp>
          <p:nvSpPr>
            <p:cNvPr id="106" name="Text Placeholder 3"/>
            <p:cNvSpPr txBox="1"/>
            <p:nvPr/>
          </p:nvSpPr>
          <p:spPr>
            <a:xfrm>
              <a:off x="889311" y="1581577"/>
              <a:ext cx="1208706" cy="193608"/>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58545">
                <a:lnSpc>
                  <a:spcPct val="120000"/>
                </a:lnSpc>
                <a:spcBef>
                  <a:spcPct val="20000"/>
                </a:spcBef>
                <a:defRPr/>
              </a:pPr>
              <a:r>
                <a:rPr lang="zh-CN" altLang="en-US" sz="1330" dirty="0">
                  <a:solidFill>
                    <a:schemeClr val="tx1">
                      <a:lumMod val="75000"/>
                      <a:lumOff val="25000"/>
                    </a:schemeClr>
                  </a:solidFill>
                  <a:cs typeface="+mn-ea"/>
                  <a:sym typeface="+mn-lt"/>
                </a:rPr>
                <a:t>请替换文字内容</a:t>
              </a:r>
              <a:endParaRPr lang="en-US" sz="1330" dirty="0">
                <a:solidFill>
                  <a:schemeClr val="tx1">
                    <a:lumMod val="75000"/>
                    <a:lumOff val="25000"/>
                  </a:schemeClr>
                </a:solidFill>
                <a:cs typeface="+mn-ea"/>
                <a:sym typeface="+mn-lt"/>
              </a:endParaRPr>
            </a:p>
          </p:txBody>
        </p:sp>
        <p:sp>
          <p:nvSpPr>
            <p:cNvPr id="107" name="Text Placeholder 3"/>
            <p:cNvSpPr txBox="1"/>
            <p:nvPr/>
          </p:nvSpPr>
          <p:spPr>
            <a:xfrm>
              <a:off x="764014" y="1792239"/>
              <a:ext cx="1544637" cy="483716"/>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058545">
                <a:lnSpc>
                  <a:spcPct val="120000"/>
                </a:lnSpc>
                <a:spcBef>
                  <a:spcPct val="20000"/>
                </a:spcBef>
                <a:defRPr/>
              </a:pPr>
              <a:r>
                <a:rPr lang="en-US" altLang="zh-CN" sz="760" dirty="0" smtClean="0">
                  <a:solidFill>
                    <a:schemeClr val="tx1">
                      <a:lumMod val="75000"/>
                      <a:lumOff val="25000"/>
                    </a:schemeClr>
                  </a:solidFill>
                  <a:cs typeface="+mn-ea"/>
                  <a:sym typeface="+mn-lt"/>
                </a:rPr>
                <a:t>Please replace text, click add relevant headline, modify the text content, also can copy your content to this directly.</a:t>
              </a:r>
              <a:endParaRPr lang="en-US" sz="760" dirty="0">
                <a:solidFill>
                  <a:schemeClr val="tx1">
                    <a:lumMod val="75000"/>
                    <a:lumOff val="25000"/>
                  </a:schemeClr>
                </a:solidFill>
                <a:cs typeface="+mn-ea"/>
                <a:sym typeface="+mn-lt"/>
              </a:endParaRPr>
            </a:p>
          </p:txBody>
        </p:sp>
      </p:grpSp>
      <p:grpSp>
        <p:nvGrpSpPr>
          <p:cNvPr id="5" name="Group 25"/>
          <p:cNvGrpSpPr/>
          <p:nvPr/>
        </p:nvGrpSpPr>
        <p:grpSpPr>
          <a:xfrm>
            <a:off x="3085352" y="4774998"/>
            <a:ext cx="1520002" cy="803735"/>
            <a:chOff x="764014" y="1581574"/>
            <a:chExt cx="1544637" cy="694380"/>
          </a:xfrm>
        </p:grpSpPr>
        <p:sp>
          <p:nvSpPr>
            <p:cNvPr id="109" name="Text Placeholder 3"/>
            <p:cNvSpPr txBox="1"/>
            <p:nvPr/>
          </p:nvSpPr>
          <p:spPr>
            <a:xfrm>
              <a:off x="861820" y="1581574"/>
              <a:ext cx="1208705" cy="19360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58545">
                <a:lnSpc>
                  <a:spcPct val="120000"/>
                </a:lnSpc>
                <a:spcBef>
                  <a:spcPct val="20000"/>
                </a:spcBef>
                <a:defRPr/>
              </a:pPr>
              <a:r>
                <a:rPr lang="zh-CN" altLang="en-US" sz="1330" dirty="0">
                  <a:solidFill>
                    <a:schemeClr val="tx1">
                      <a:lumMod val="75000"/>
                      <a:lumOff val="25000"/>
                    </a:schemeClr>
                  </a:solidFill>
                  <a:cs typeface="+mn-ea"/>
                  <a:sym typeface="+mn-lt"/>
                </a:rPr>
                <a:t>请替换文字内容</a:t>
              </a:r>
              <a:endParaRPr lang="en-US" sz="1330" dirty="0">
                <a:solidFill>
                  <a:schemeClr val="tx1">
                    <a:lumMod val="75000"/>
                    <a:lumOff val="25000"/>
                  </a:schemeClr>
                </a:solidFill>
                <a:cs typeface="+mn-ea"/>
                <a:sym typeface="+mn-lt"/>
              </a:endParaRPr>
            </a:p>
          </p:txBody>
        </p:sp>
        <p:sp>
          <p:nvSpPr>
            <p:cNvPr id="110" name="Text Placeholder 3"/>
            <p:cNvSpPr txBox="1"/>
            <p:nvPr/>
          </p:nvSpPr>
          <p:spPr>
            <a:xfrm>
              <a:off x="764014" y="1792236"/>
              <a:ext cx="1544637" cy="4837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058545">
                <a:lnSpc>
                  <a:spcPct val="120000"/>
                </a:lnSpc>
                <a:spcBef>
                  <a:spcPct val="20000"/>
                </a:spcBef>
                <a:defRPr/>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US" sz="760" dirty="0">
                <a:solidFill>
                  <a:schemeClr val="tx1">
                    <a:lumMod val="75000"/>
                    <a:lumOff val="25000"/>
                  </a:schemeClr>
                </a:solidFill>
                <a:cs typeface="+mn-ea"/>
                <a:sym typeface="+mn-lt"/>
              </a:endParaRPr>
            </a:p>
          </p:txBody>
        </p:sp>
      </p:grpSp>
      <p:grpSp>
        <p:nvGrpSpPr>
          <p:cNvPr id="6" name="Group 25"/>
          <p:cNvGrpSpPr/>
          <p:nvPr/>
        </p:nvGrpSpPr>
        <p:grpSpPr>
          <a:xfrm>
            <a:off x="4884838" y="4775001"/>
            <a:ext cx="1520001" cy="803737"/>
            <a:chOff x="764014" y="1581576"/>
            <a:chExt cx="1544637" cy="694381"/>
          </a:xfrm>
        </p:grpSpPr>
        <p:sp>
          <p:nvSpPr>
            <p:cNvPr id="112" name="Text Placeholder 3"/>
            <p:cNvSpPr txBox="1"/>
            <p:nvPr/>
          </p:nvSpPr>
          <p:spPr>
            <a:xfrm>
              <a:off x="861821" y="1581576"/>
              <a:ext cx="1208706" cy="19360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58545">
                <a:lnSpc>
                  <a:spcPct val="120000"/>
                </a:lnSpc>
                <a:spcBef>
                  <a:spcPct val="20000"/>
                </a:spcBef>
                <a:defRPr/>
              </a:pPr>
              <a:r>
                <a:rPr lang="zh-CN" altLang="en-US" sz="1330" dirty="0">
                  <a:solidFill>
                    <a:schemeClr val="tx1">
                      <a:lumMod val="75000"/>
                      <a:lumOff val="25000"/>
                    </a:schemeClr>
                  </a:solidFill>
                  <a:cs typeface="+mn-ea"/>
                  <a:sym typeface="+mn-lt"/>
                </a:rPr>
                <a:t>请替换文字内容</a:t>
              </a:r>
              <a:endParaRPr lang="en-US" sz="1330" dirty="0">
                <a:solidFill>
                  <a:schemeClr val="tx1">
                    <a:lumMod val="75000"/>
                    <a:lumOff val="25000"/>
                  </a:schemeClr>
                </a:solidFill>
                <a:cs typeface="+mn-ea"/>
                <a:sym typeface="+mn-lt"/>
              </a:endParaRPr>
            </a:p>
          </p:txBody>
        </p:sp>
        <p:sp>
          <p:nvSpPr>
            <p:cNvPr id="113" name="Text Placeholder 3"/>
            <p:cNvSpPr txBox="1"/>
            <p:nvPr/>
          </p:nvSpPr>
          <p:spPr>
            <a:xfrm>
              <a:off x="764014" y="1792239"/>
              <a:ext cx="1544637" cy="4837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058545">
                <a:lnSpc>
                  <a:spcPct val="120000"/>
                </a:lnSpc>
                <a:spcBef>
                  <a:spcPct val="20000"/>
                </a:spcBef>
                <a:defRPr/>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US" sz="760" dirty="0">
                <a:solidFill>
                  <a:schemeClr val="tx1">
                    <a:lumMod val="75000"/>
                    <a:lumOff val="25000"/>
                  </a:schemeClr>
                </a:solidFill>
                <a:cs typeface="+mn-ea"/>
                <a:sym typeface="+mn-lt"/>
              </a:endParaRPr>
            </a:p>
          </p:txBody>
        </p:sp>
      </p:grpSp>
      <p:grpSp>
        <p:nvGrpSpPr>
          <p:cNvPr id="7" name="Group 25"/>
          <p:cNvGrpSpPr/>
          <p:nvPr/>
        </p:nvGrpSpPr>
        <p:grpSpPr>
          <a:xfrm>
            <a:off x="6684325" y="4775001"/>
            <a:ext cx="1520001" cy="803737"/>
            <a:chOff x="764014" y="1581576"/>
            <a:chExt cx="1544637" cy="694381"/>
          </a:xfrm>
        </p:grpSpPr>
        <p:sp>
          <p:nvSpPr>
            <p:cNvPr id="115" name="Text Placeholder 3"/>
            <p:cNvSpPr txBox="1"/>
            <p:nvPr/>
          </p:nvSpPr>
          <p:spPr>
            <a:xfrm>
              <a:off x="877803" y="1581576"/>
              <a:ext cx="1208706" cy="19360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58545">
                <a:lnSpc>
                  <a:spcPct val="120000"/>
                </a:lnSpc>
                <a:spcBef>
                  <a:spcPct val="20000"/>
                </a:spcBef>
                <a:defRPr/>
              </a:pPr>
              <a:r>
                <a:rPr lang="zh-CN" altLang="en-US" sz="1330" dirty="0">
                  <a:solidFill>
                    <a:schemeClr val="tx1">
                      <a:lumMod val="75000"/>
                      <a:lumOff val="25000"/>
                    </a:schemeClr>
                  </a:solidFill>
                  <a:cs typeface="+mn-ea"/>
                  <a:sym typeface="+mn-lt"/>
                </a:rPr>
                <a:t>请替换文字内容</a:t>
              </a:r>
              <a:endParaRPr lang="en-US" sz="1330" dirty="0">
                <a:solidFill>
                  <a:schemeClr val="tx1">
                    <a:lumMod val="75000"/>
                    <a:lumOff val="25000"/>
                  </a:schemeClr>
                </a:solidFill>
                <a:cs typeface="+mn-ea"/>
                <a:sym typeface="+mn-lt"/>
              </a:endParaRPr>
            </a:p>
          </p:txBody>
        </p:sp>
        <p:sp>
          <p:nvSpPr>
            <p:cNvPr id="116" name="Text Placeholder 3"/>
            <p:cNvSpPr txBox="1"/>
            <p:nvPr/>
          </p:nvSpPr>
          <p:spPr>
            <a:xfrm>
              <a:off x="764014" y="1792239"/>
              <a:ext cx="1544637" cy="4837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058545">
                <a:lnSpc>
                  <a:spcPct val="120000"/>
                </a:lnSpc>
                <a:spcBef>
                  <a:spcPct val="20000"/>
                </a:spcBef>
                <a:defRPr/>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US" sz="760" dirty="0">
                <a:solidFill>
                  <a:schemeClr val="tx1">
                    <a:lumMod val="75000"/>
                    <a:lumOff val="25000"/>
                  </a:schemeClr>
                </a:solidFill>
                <a:cs typeface="+mn-ea"/>
                <a:sym typeface="+mn-lt"/>
              </a:endParaRPr>
            </a:p>
          </p:txBody>
        </p:sp>
      </p:grpSp>
      <p:grpSp>
        <p:nvGrpSpPr>
          <p:cNvPr id="8" name="Group 25"/>
          <p:cNvGrpSpPr/>
          <p:nvPr/>
        </p:nvGrpSpPr>
        <p:grpSpPr>
          <a:xfrm>
            <a:off x="8483813" y="4775000"/>
            <a:ext cx="1520001" cy="803737"/>
            <a:chOff x="764014" y="1581576"/>
            <a:chExt cx="1544637" cy="694381"/>
          </a:xfrm>
        </p:grpSpPr>
        <p:sp>
          <p:nvSpPr>
            <p:cNvPr id="118" name="Text Placeholder 3"/>
            <p:cNvSpPr txBox="1"/>
            <p:nvPr/>
          </p:nvSpPr>
          <p:spPr>
            <a:xfrm>
              <a:off x="819680" y="1581576"/>
              <a:ext cx="1208706" cy="19360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058545">
                <a:lnSpc>
                  <a:spcPct val="120000"/>
                </a:lnSpc>
                <a:spcBef>
                  <a:spcPct val="20000"/>
                </a:spcBef>
                <a:defRPr/>
              </a:pPr>
              <a:r>
                <a:rPr lang="zh-CN" altLang="en-US" sz="1330" dirty="0">
                  <a:solidFill>
                    <a:schemeClr val="tx1">
                      <a:lumMod val="75000"/>
                      <a:lumOff val="25000"/>
                    </a:schemeClr>
                  </a:solidFill>
                  <a:cs typeface="+mn-ea"/>
                  <a:sym typeface="+mn-lt"/>
                </a:rPr>
                <a:t>请替换文字内容</a:t>
              </a:r>
              <a:endParaRPr lang="en-US" sz="1330" dirty="0">
                <a:solidFill>
                  <a:schemeClr val="tx1">
                    <a:lumMod val="75000"/>
                    <a:lumOff val="25000"/>
                  </a:schemeClr>
                </a:solidFill>
                <a:cs typeface="+mn-ea"/>
                <a:sym typeface="+mn-lt"/>
              </a:endParaRPr>
            </a:p>
          </p:txBody>
        </p:sp>
        <p:sp>
          <p:nvSpPr>
            <p:cNvPr id="119" name="Text Placeholder 3"/>
            <p:cNvSpPr txBox="1"/>
            <p:nvPr/>
          </p:nvSpPr>
          <p:spPr>
            <a:xfrm>
              <a:off x="764014" y="1792239"/>
              <a:ext cx="1544637" cy="483718"/>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058545">
                <a:lnSpc>
                  <a:spcPct val="120000"/>
                </a:lnSpc>
                <a:spcBef>
                  <a:spcPct val="20000"/>
                </a:spcBef>
                <a:defRPr/>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directly.</a:t>
              </a:r>
              <a:endParaRPr lang="en-US" sz="760" dirty="0">
                <a:solidFill>
                  <a:schemeClr val="tx1">
                    <a:lumMod val="75000"/>
                    <a:lumOff val="25000"/>
                  </a:schemeClr>
                </a:solidFill>
                <a:cs typeface="+mn-ea"/>
                <a:sym typeface="+mn-lt"/>
              </a:endParaRPr>
            </a:p>
          </p:txBody>
        </p:sp>
      </p:grpSp>
      <p:sp>
        <p:nvSpPr>
          <p:cNvPr id="120" name="Footer Text"/>
          <p:cNvSpPr txBox="1"/>
          <p:nvPr/>
        </p:nvSpPr>
        <p:spPr>
          <a:xfrm>
            <a:off x="2623023" y="1892910"/>
            <a:ext cx="7216401" cy="419923"/>
          </a:xfrm>
          <a:prstGeom prst="rect">
            <a:avLst/>
          </a:prstGeom>
          <a:noFill/>
        </p:spPr>
        <p:txBody>
          <a:bodyPr wrap="square" lIns="0" tIns="0" rIns="0" bIns="0" rtlCol="0">
            <a:spAutoFit/>
          </a:bodyPr>
          <a:lstStyle/>
          <a:p>
            <a:pPr>
              <a:lnSpc>
                <a:spcPct val="120000"/>
              </a:lnSpc>
            </a:pPr>
            <a:r>
              <a:rPr lang="en-US" altLang="zh-CN" sz="760" dirty="0">
                <a:solidFill>
                  <a:schemeClr val="tx1">
                    <a:lumMod val="75000"/>
                    <a:lumOff val="25000"/>
                  </a:schemeClr>
                </a:solidFill>
                <a:cs typeface="+mn-ea"/>
                <a:sym typeface="+mn-lt"/>
              </a:rPr>
              <a:t>Please replace text, click add relevant headline, modify the text content, also can copy your content to this </a:t>
            </a:r>
            <a:r>
              <a:rPr lang="en-US" altLang="zh-CN" sz="760" dirty="0" err="1">
                <a:solidFill>
                  <a:schemeClr val="tx1">
                    <a:lumMod val="75000"/>
                    <a:lumOff val="25000"/>
                  </a:schemeClr>
                </a:solidFill>
                <a:cs typeface="+mn-ea"/>
                <a:sym typeface="+mn-lt"/>
              </a:rPr>
              <a:t>directly.Please</a:t>
            </a:r>
            <a:r>
              <a:rPr lang="en-US" altLang="zh-CN" sz="760" dirty="0">
                <a:solidFill>
                  <a:schemeClr val="tx1">
                    <a:lumMod val="75000"/>
                    <a:lumOff val="25000"/>
                  </a:schemeClr>
                </a:solidFill>
                <a:cs typeface="+mn-ea"/>
                <a:sym typeface="+mn-lt"/>
              </a:rPr>
              <a:t> replace text, click add relevant headline, modify the text content, also can copy your content to this directly.</a:t>
            </a:r>
            <a:r>
              <a:rPr lang="zh-CN" altLang="en-US" sz="760" dirty="0">
                <a:solidFill>
                  <a:schemeClr val="tx1">
                    <a:lumMod val="75000"/>
                    <a:lumOff val="25000"/>
                  </a:schemeClr>
                </a:solidFill>
                <a:cs typeface="+mn-ea"/>
                <a:sym typeface="+mn-lt"/>
              </a:rPr>
              <a:t>。</a:t>
            </a:r>
            <a:r>
              <a:rPr lang="en-US" altLang="zh-CN" sz="760" dirty="0">
                <a:solidFill>
                  <a:schemeClr val="tx1">
                    <a:lumMod val="75000"/>
                    <a:lumOff val="25000"/>
                  </a:schemeClr>
                </a:solidFill>
                <a:cs typeface="+mn-ea"/>
                <a:sym typeface="+mn-lt"/>
              </a:rPr>
              <a:t>Please replace text, click add relevant headline, modify the text content, also can copy your content to this </a:t>
            </a:r>
            <a:r>
              <a:rPr lang="en-US" altLang="zh-CN" sz="760" dirty="0" err="1">
                <a:solidFill>
                  <a:schemeClr val="tx1">
                    <a:lumMod val="75000"/>
                    <a:lumOff val="25000"/>
                  </a:schemeClr>
                </a:solidFill>
                <a:cs typeface="+mn-ea"/>
                <a:sym typeface="+mn-lt"/>
              </a:rPr>
              <a:t>directly.Please</a:t>
            </a:r>
            <a:r>
              <a:rPr lang="en-US" altLang="zh-CN" sz="760" dirty="0">
                <a:solidFill>
                  <a:schemeClr val="tx1">
                    <a:lumMod val="75000"/>
                    <a:lumOff val="25000"/>
                  </a:schemeClr>
                </a:solidFill>
                <a:cs typeface="+mn-ea"/>
                <a:sym typeface="+mn-lt"/>
              </a:rPr>
              <a:t> replace text, click add relevant headline, modify the text content, also can copy your content to this directly.</a:t>
            </a:r>
            <a:r>
              <a:rPr lang="zh-CN" altLang="en-US" sz="760" dirty="0">
                <a:solidFill>
                  <a:schemeClr val="tx1">
                    <a:lumMod val="75000"/>
                    <a:lumOff val="25000"/>
                  </a:schemeClr>
                </a:solidFill>
                <a:cs typeface="+mn-ea"/>
                <a:sym typeface="+mn-lt"/>
              </a:rPr>
              <a:t>。</a:t>
            </a:r>
            <a:endParaRPr lang="en-US" altLang="zh-CN" sz="760" dirty="0">
              <a:solidFill>
                <a:schemeClr val="tx1">
                  <a:lumMod val="75000"/>
                  <a:lumOff val="25000"/>
                </a:schemeClr>
              </a:solidFill>
              <a:cs typeface="+mn-ea"/>
              <a:sym typeface="+mn-lt"/>
            </a:endParaRP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500"/>
                                        <p:tgtEl>
                                          <p:spTgt spid="120"/>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slide(fromLeft)">
                                      <p:cBhvr>
                                        <p:cTn id="11" dur="500"/>
                                        <p:tgtEl>
                                          <p:spTgt spid="2"/>
                                        </p:tgtEl>
                                      </p:cBhvr>
                                    </p:animEffect>
                                  </p:childTnLst>
                                </p:cTn>
                              </p:par>
                            </p:childTnLst>
                          </p:cTn>
                        </p:par>
                        <p:par>
                          <p:cTn id="12" fill="hold">
                            <p:stCondLst>
                              <p:cond delay="1000"/>
                            </p:stCondLst>
                            <p:childTnLst>
                              <p:par>
                                <p:cTn id="13" presetID="53" presetClass="entr" presetSubtype="16" fill="hold" grpId="0" nodeType="afterEffect">
                                  <p:stCondLst>
                                    <p:cond delay="0"/>
                                  </p:stCondLst>
                                  <p:childTnLst>
                                    <p:set>
                                      <p:cBhvr>
                                        <p:cTn id="14" dur="1" fill="hold">
                                          <p:stCondLst>
                                            <p:cond delay="0"/>
                                          </p:stCondLst>
                                        </p:cTn>
                                        <p:tgtEl>
                                          <p:spTgt spid="96"/>
                                        </p:tgtEl>
                                        <p:attrNameLst>
                                          <p:attrName>style.visibility</p:attrName>
                                        </p:attrNameLst>
                                      </p:cBhvr>
                                      <p:to>
                                        <p:strVal val="visible"/>
                                      </p:to>
                                    </p:set>
                                    <p:anim calcmode="lin" valueType="num">
                                      <p:cBhvr>
                                        <p:cTn id="15" dur="500" fill="hold"/>
                                        <p:tgtEl>
                                          <p:spTgt spid="96"/>
                                        </p:tgtEl>
                                        <p:attrNameLst>
                                          <p:attrName>ppt_w</p:attrName>
                                        </p:attrNameLst>
                                      </p:cBhvr>
                                      <p:tavLst>
                                        <p:tav tm="0">
                                          <p:val>
                                            <p:fltVal val="0"/>
                                          </p:val>
                                        </p:tav>
                                        <p:tav tm="100000">
                                          <p:val>
                                            <p:strVal val="#ppt_w"/>
                                          </p:val>
                                        </p:tav>
                                      </p:tavLst>
                                    </p:anim>
                                    <p:anim calcmode="lin" valueType="num">
                                      <p:cBhvr>
                                        <p:cTn id="16" dur="500" fill="hold"/>
                                        <p:tgtEl>
                                          <p:spTgt spid="96"/>
                                        </p:tgtEl>
                                        <p:attrNameLst>
                                          <p:attrName>ppt_h</p:attrName>
                                        </p:attrNameLst>
                                      </p:cBhvr>
                                      <p:tavLst>
                                        <p:tav tm="0">
                                          <p:val>
                                            <p:fltVal val="0"/>
                                          </p:val>
                                        </p:tav>
                                        <p:tav tm="100000">
                                          <p:val>
                                            <p:strVal val="#ppt_h"/>
                                          </p:val>
                                        </p:tav>
                                      </p:tavLst>
                                    </p:anim>
                                    <p:animEffect transition="in" filter="fade">
                                      <p:cBhvr>
                                        <p:cTn id="17" dur="500"/>
                                        <p:tgtEl>
                                          <p:spTgt spid="96"/>
                                        </p:tgtEl>
                                      </p:cBhvr>
                                    </p:animEffect>
                                  </p:childTnLst>
                                </p:cTn>
                              </p:par>
                            </p:childTnLst>
                          </p:cTn>
                        </p:par>
                        <p:par>
                          <p:cTn id="18" fill="hold">
                            <p:stCondLst>
                              <p:cond delay="1500"/>
                            </p:stCondLst>
                            <p:childTnLst>
                              <p:par>
                                <p:cTn id="19" presetID="2" presetClass="entr" presetSubtype="4" accel="50000" decel="5000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53" presetClass="entr" presetSubtype="16" fill="hold" grpId="0" nodeType="afterEffect">
                                  <p:stCondLst>
                                    <p:cond delay="0"/>
                                  </p:stCondLst>
                                  <p:childTnLst>
                                    <p:set>
                                      <p:cBhvr>
                                        <p:cTn id="25" dur="1" fill="hold">
                                          <p:stCondLst>
                                            <p:cond delay="0"/>
                                          </p:stCondLst>
                                        </p:cTn>
                                        <p:tgtEl>
                                          <p:spTgt spid="97"/>
                                        </p:tgtEl>
                                        <p:attrNameLst>
                                          <p:attrName>style.visibility</p:attrName>
                                        </p:attrNameLst>
                                      </p:cBhvr>
                                      <p:to>
                                        <p:strVal val="visible"/>
                                      </p:to>
                                    </p:set>
                                    <p:anim calcmode="lin" valueType="num">
                                      <p:cBhvr>
                                        <p:cTn id="26" dur="500" fill="hold"/>
                                        <p:tgtEl>
                                          <p:spTgt spid="97"/>
                                        </p:tgtEl>
                                        <p:attrNameLst>
                                          <p:attrName>ppt_w</p:attrName>
                                        </p:attrNameLst>
                                      </p:cBhvr>
                                      <p:tavLst>
                                        <p:tav tm="0">
                                          <p:val>
                                            <p:fltVal val="0"/>
                                          </p:val>
                                        </p:tav>
                                        <p:tav tm="100000">
                                          <p:val>
                                            <p:strVal val="#ppt_w"/>
                                          </p:val>
                                        </p:tav>
                                      </p:tavLst>
                                    </p:anim>
                                    <p:anim calcmode="lin" valueType="num">
                                      <p:cBhvr>
                                        <p:cTn id="27" dur="500" fill="hold"/>
                                        <p:tgtEl>
                                          <p:spTgt spid="97"/>
                                        </p:tgtEl>
                                        <p:attrNameLst>
                                          <p:attrName>ppt_h</p:attrName>
                                        </p:attrNameLst>
                                      </p:cBhvr>
                                      <p:tavLst>
                                        <p:tav tm="0">
                                          <p:val>
                                            <p:fltVal val="0"/>
                                          </p:val>
                                        </p:tav>
                                        <p:tav tm="100000">
                                          <p:val>
                                            <p:strVal val="#ppt_h"/>
                                          </p:val>
                                        </p:tav>
                                      </p:tavLst>
                                    </p:anim>
                                    <p:animEffect transition="in" filter="fade">
                                      <p:cBhvr>
                                        <p:cTn id="28" dur="500"/>
                                        <p:tgtEl>
                                          <p:spTgt spid="97"/>
                                        </p:tgtEl>
                                      </p:cBhvr>
                                    </p:animEffect>
                                  </p:childTnLst>
                                </p:cTn>
                              </p:par>
                            </p:childTnLst>
                          </p:cTn>
                        </p:par>
                        <p:par>
                          <p:cTn id="29" fill="hold">
                            <p:stCondLst>
                              <p:cond delay="2500"/>
                            </p:stCondLst>
                            <p:childTnLst>
                              <p:par>
                                <p:cTn id="30" presetID="2" presetClass="entr" presetSubtype="4" accel="50000" decel="50000" fill="hold" nodeType="after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additive="base">
                                        <p:cTn id="32" dur="500" fill="hold"/>
                                        <p:tgtEl>
                                          <p:spTgt spid="5"/>
                                        </p:tgtEl>
                                        <p:attrNameLst>
                                          <p:attrName>ppt_x</p:attrName>
                                        </p:attrNameLst>
                                      </p:cBhvr>
                                      <p:tavLst>
                                        <p:tav tm="0">
                                          <p:val>
                                            <p:strVal val="#ppt_x"/>
                                          </p:val>
                                        </p:tav>
                                        <p:tav tm="100000">
                                          <p:val>
                                            <p:strVal val="#ppt_x"/>
                                          </p:val>
                                        </p:tav>
                                      </p:tavLst>
                                    </p:anim>
                                    <p:anim calcmode="lin" valueType="num">
                                      <p:cBhvr additive="base">
                                        <p:cTn id="33" dur="500" fill="hold"/>
                                        <p:tgtEl>
                                          <p:spTgt spid="5"/>
                                        </p:tgtEl>
                                        <p:attrNameLst>
                                          <p:attrName>ppt_y</p:attrName>
                                        </p:attrNameLst>
                                      </p:cBhvr>
                                      <p:tavLst>
                                        <p:tav tm="0">
                                          <p:val>
                                            <p:strVal val="1+#ppt_h/2"/>
                                          </p:val>
                                        </p:tav>
                                        <p:tav tm="100000">
                                          <p:val>
                                            <p:strVal val="#ppt_y"/>
                                          </p:val>
                                        </p:tav>
                                      </p:tavLst>
                                    </p:anim>
                                  </p:childTnLst>
                                </p:cTn>
                              </p:par>
                            </p:childTnLst>
                          </p:cTn>
                        </p:par>
                        <p:par>
                          <p:cTn id="34" fill="hold">
                            <p:stCondLst>
                              <p:cond delay="3000"/>
                            </p:stCondLst>
                            <p:childTnLst>
                              <p:par>
                                <p:cTn id="35" presetID="53" presetClass="entr" presetSubtype="16" fill="hold" grpId="0" nodeType="afterEffect">
                                  <p:stCondLst>
                                    <p:cond delay="0"/>
                                  </p:stCondLst>
                                  <p:childTnLst>
                                    <p:set>
                                      <p:cBhvr>
                                        <p:cTn id="36" dur="1" fill="hold">
                                          <p:stCondLst>
                                            <p:cond delay="0"/>
                                          </p:stCondLst>
                                        </p:cTn>
                                        <p:tgtEl>
                                          <p:spTgt spid="98"/>
                                        </p:tgtEl>
                                        <p:attrNameLst>
                                          <p:attrName>style.visibility</p:attrName>
                                        </p:attrNameLst>
                                      </p:cBhvr>
                                      <p:to>
                                        <p:strVal val="visible"/>
                                      </p:to>
                                    </p:set>
                                    <p:anim calcmode="lin" valueType="num">
                                      <p:cBhvr>
                                        <p:cTn id="37" dur="500" fill="hold"/>
                                        <p:tgtEl>
                                          <p:spTgt spid="98"/>
                                        </p:tgtEl>
                                        <p:attrNameLst>
                                          <p:attrName>ppt_w</p:attrName>
                                        </p:attrNameLst>
                                      </p:cBhvr>
                                      <p:tavLst>
                                        <p:tav tm="0">
                                          <p:val>
                                            <p:fltVal val="0"/>
                                          </p:val>
                                        </p:tav>
                                        <p:tav tm="100000">
                                          <p:val>
                                            <p:strVal val="#ppt_w"/>
                                          </p:val>
                                        </p:tav>
                                      </p:tavLst>
                                    </p:anim>
                                    <p:anim calcmode="lin" valueType="num">
                                      <p:cBhvr>
                                        <p:cTn id="38" dur="500" fill="hold"/>
                                        <p:tgtEl>
                                          <p:spTgt spid="98"/>
                                        </p:tgtEl>
                                        <p:attrNameLst>
                                          <p:attrName>ppt_h</p:attrName>
                                        </p:attrNameLst>
                                      </p:cBhvr>
                                      <p:tavLst>
                                        <p:tav tm="0">
                                          <p:val>
                                            <p:fltVal val="0"/>
                                          </p:val>
                                        </p:tav>
                                        <p:tav tm="100000">
                                          <p:val>
                                            <p:strVal val="#ppt_h"/>
                                          </p:val>
                                        </p:tav>
                                      </p:tavLst>
                                    </p:anim>
                                    <p:animEffect transition="in" filter="fade">
                                      <p:cBhvr>
                                        <p:cTn id="39" dur="500"/>
                                        <p:tgtEl>
                                          <p:spTgt spid="98"/>
                                        </p:tgtEl>
                                      </p:cBhvr>
                                    </p:animEffect>
                                  </p:childTnLst>
                                </p:cTn>
                              </p:par>
                            </p:childTnLst>
                          </p:cTn>
                        </p:par>
                        <p:par>
                          <p:cTn id="40" fill="hold">
                            <p:stCondLst>
                              <p:cond delay="3500"/>
                            </p:stCondLst>
                            <p:childTnLst>
                              <p:par>
                                <p:cTn id="41" presetID="2" presetClass="entr" presetSubtype="4" accel="50000" decel="50000" fill="hold" nodeType="afterEffect">
                                  <p:stCondLst>
                                    <p:cond delay="0"/>
                                  </p:stCondLst>
                                  <p:childTnLst>
                                    <p:set>
                                      <p:cBhvr>
                                        <p:cTn id="42" dur="1" fill="hold">
                                          <p:stCondLst>
                                            <p:cond delay="0"/>
                                          </p:stCondLst>
                                        </p:cTn>
                                        <p:tgtEl>
                                          <p:spTgt spid="6"/>
                                        </p:tgtEl>
                                        <p:attrNameLst>
                                          <p:attrName>style.visibility</p:attrName>
                                        </p:attrNameLst>
                                      </p:cBhvr>
                                      <p:to>
                                        <p:strVal val="visible"/>
                                      </p:to>
                                    </p:set>
                                    <p:anim calcmode="lin" valueType="num">
                                      <p:cBhvr additive="base">
                                        <p:cTn id="43" dur="500" fill="hold"/>
                                        <p:tgtEl>
                                          <p:spTgt spid="6"/>
                                        </p:tgtEl>
                                        <p:attrNameLst>
                                          <p:attrName>ppt_x</p:attrName>
                                        </p:attrNameLst>
                                      </p:cBhvr>
                                      <p:tavLst>
                                        <p:tav tm="0">
                                          <p:val>
                                            <p:strVal val="#ppt_x"/>
                                          </p:val>
                                        </p:tav>
                                        <p:tav tm="100000">
                                          <p:val>
                                            <p:strVal val="#ppt_x"/>
                                          </p:val>
                                        </p:tav>
                                      </p:tavLst>
                                    </p:anim>
                                    <p:anim calcmode="lin" valueType="num">
                                      <p:cBhvr additive="base">
                                        <p:cTn id="44" dur="500" fill="hold"/>
                                        <p:tgtEl>
                                          <p:spTgt spid="6"/>
                                        </p:tgtEl>
                                        <p:attrNameLst>
                                          <p:attrName>ppt_y</p:attrName>
                                        </p:attrNameLst>
                                      </p:cBhvr>
                                      <p:tavLst>
                                        <p:tav tm="0">
                                          <p:val>
                                            <p:strVal val="1+#ppt_h/2"/>
                                          </p:val>
                                        </p:tav>
                                        <p:tav tm="100000">
                                          <p:val>
                                            <p:strVal val="#ppt_y"/>
                                          </p:val>
                                        </p:tav>
                                      </p:tavLst>
                                    </p:anim>
                                  </p:childTnLst>
                                </p:cTn>
                              </p:par>
                            </p:childTnLst>
                          </p:cTn>
                        </p:par>
                        <p:par>
                          <p:cTn id="45" fill="hold">
                            <p:stCondLst>
                              <p:cond delay="4000"/>
                            </p:stCondLst>
                            <p:childTnLst>
                              <p:par>
                                <p:cTn id="46" presetID="53" presetClass="entr" presetSubtype="16" fill="hold" grpId="0" nodeType="afterEffect">
                                  <p:stCondLst>
                                    <p:cond delay="0"/>
                                  </p:stCondLst>
                                  <p:childTnLst>
                                    <p:set>
                                      <p:cBhvr>
                                        <p:cTn id="47" dur="1" fill="hold">
                                          <p:stCondLst>
                                            <p:cond delay="0"/>
                                          </p:stCondLst>
                                        </p:cTn>
                                        <p:tgtEl>
                                          <p:spTgt spid="99"/>
                                        </p:tgtEl>
                                        <p:attrNameLst>
                                          <p:attrName>style.visibility</p:attrName>
                                        </p:attrNameLst>
                                      </p:cBhvr>
                                      <p:to>
                                        <p:strVal val="visible"/>
                                      </p:to>
                                    </p:set>
                                    <p:anim calcmode="lin" valueType="num">
                                      <p:cBhvr>
                                        <p:cTn id="48" dur="500" fill="hold"/>
                                        <p:tgtEl>
                                          <p:spTgt spid="99"/>
                                        </p:tgtEl>
                                        <p:attrNameLst>
                                          <p:attrName>ppt_w</p:attrName>
                                        </p:attrNameLst>
                                      </p:cBhvr>
                                      <p:tavLst>
                                        <p:tav tm="0">
                                          <p:val>
                                            <p:fltVal val="0"/>
                                          </p:val>
                                        </p:tav>
                                        <p:tav tm="100000">
                                          <p:val>
                                            <p:strVal val="#ppt_w"/>
                                          </p:val>
                                        </p:tav>
                                      </p:tavLst>
                                    </p:anim>
                                    <p:anim calcmode="lin" valueType="num">
                                      <p:cBhvr>
                                        <p:cTn id="49" dur="500" fill="hold"/>
                                        <p:tgtEl>
                                          <p:spTgt spid="99"/>
                                        </p:tgtEl>
                                        <p:attrNameLst>
                                          <p:attrName>ppt_h</p:attrName>
                                        </p:attrNameLst>
                                      </p:cBhvr>
                                      <p:tavLst>
                                        <p:tav tm="0">
                                          <p:val>
                                            <p:fltVal val="0"/>
                                          </p:val>
                                        </p:tav>
                                        <p:tav tm="100000">
                                          <p:val>
                                            <p:strVal val="#ppt_h"/>
                                          </p:val>
                                        </p:tav>
                                      </p:tavLst>
                                    </p:anim>
                                    <p:animEffect transition="in" filter="fade">
                                      <p:cBhvr>
                                        <p:cTn id="50" dur="500"/>
                                        <p:tgtEl>
                                          <p:spTgt spid="99"/>
                                        </p:tgtEl>
                                      </p:cBhvr>
                                    </p:animEffect>
                                  </p:childTnLst>
                                </p:cTn>
                              </p:par>
                            </p:childTnLst>
                          </p:cTn>
                        </p:par>
                        <p:par>
                          <p:cTn id="51" fill="hold">
                            <p:stCondLst>
                              <p:cond delay="4500"/>
                            </p:stCondLst>
                            <p:childTnLst>
                              <p:par>
                                <p:cTn id="52" presetID="2" presetClass="entr" presetSubtype="4" accel="50000" decel="50000" fill="hold" nodeType="afterEffect">
                                  <p:stCondLst>
                                    <p:cond delay="0"/>
                                  </p:stCondLst>
                                  <p:childTnLst>
                                    <p:set>
                                      <p:cBhvr>
                                        <p:cTn id="53" dur="1" fill="hold">
                                          <p:stCondLst>
                                            <p:cond delay="0"/>
                                          </p:stCondLst>
                                        </p:cTn>
                                        <p:tgtEl>
                                          <p:spTgt spid="7"/>
                                        </p:tgtEl>
                                        <p:attrNameLst>
                                          <p:attrName>style.visibility</p:attrName>
                                        </p:attrNameLst>
                                      </p:cBhvr>
                                      <p:to>
                                        <p:strVal val="visible"/>
                                      </p:to>
                                    </p:set>
                                    <p:anim calcmode="lin" valueType="num">
                                      <p:cBhvr additive="base">
                                        <p:cTn id="54" dur="500" fill="hold"/>
                                        <p:tgtEl>
                                          <p:spTgt spid="7"/>
                                        </p:tgtEl>
                                        <p:attrNameLst>
                                          <p:attrName>ppt_x</p:attrName>
                                        </p:attrNameLst>
                                      </p:cBhvr>
                                      <p:tavLst>
                                        <p:tav tm="0">
                                          <p:val>
                                            <p:strVal val="#ppt_x"/>
                                          </p:val>
                                        </p:tav>
                                        <p:tav tm="100000">
                                          <p:val>
                                            <p:strVal val="#ppt_x"/>
                                          </p:val>
                                        </p:tav>
                                      </p:tavLst>
                                    </p:anim>
                                    <p:anim calcmode="lin" valueType="num">
                                      <p:cBhvr additive="base">
                                        <p:cTn id="55" dur="500" fill="hold"/>
                                        <p:tgtEl>
                                          <p:spTgt spid="7"/>
                                        </p:tgtEl>
                                        <p:attrNameLst>
                                          <p:attrName>ppt_y</p:attrName>
                                        </p:attrNameLst>
                                      </p:cBhvr>
                                      <p:tavLst>
                                        <p:tav tm="0">
                                          <p:val>
                                            <p:strVal val="1+#ppt_h/2"/>
                                          </p:val>
                                        </p:tav>
                                        <p:tav tm="100000">
                                          <p:val>
                                            <p:strVal val="#ppt_y"/>
                                          </p:val>
                                        </p:tav>
                                      </p:tavLst>
                                    </p:anim>
                                  </p:childTnLst>
                                </p:cTn>
                              </p:par>
                            </p:childTnLst>
                          </p:cTn>
                        </p:par>
                        <p:par>
                          <p:cTn id="56" fill="hold">
                            <p:stCondLst>
                              <p:cond delay="5000"/>
                            </p:stCondLst>
                            <p:childTnLst>
                              <p:par>
                                <p:cTn id="57" presetID="53" presetClass="entr" presetSubtype="16" fill="hold" grpId="0" nodeType="afterEffect">
                                  <p:stCondLst>
                                    <p:cond delay="0"/>
                                  </p:stCondLst>
                                  <p:childTnLst>
                                    <p:set>
                                      <p:cBhvr>
                                        <p:cTn id="58" dur="1" fill="hold">
                                          <p:stCondLst>
                                            <p:cond delay="0"/>
                                          </p:stCondLst>
                                        </p:cTn>
                                        <p:tgtEl>
                                          <p:spTgt spid="100"/>
                                        </p:tgtEl>
                                        <p:attrNameLst>
                                          <p:attrName>style.visibility</p:attrName>
                                        </p:attrNameLst>
                                      </p:cBhvr>
                                      <p:to>
                                        <p:strVal val="visible"/>
                                      </p:to>
                                    </p:set>
                                    <p:anim calcmode="lin" valueType="num">
                                      <p:cBhvr>
                                        <p:cTn id="59" dur="500" fill="hold"/>
                                        <p:tgtEl>
                                          <p:spTgt spid="100"/>
                                        </p:tgtEl>
                                        <p:attrNameLst>
                                          <p:attrName>ppt_w</p:attrName>
                                        </p:attrNameLst>
                                      </p:cBhvr>
                                      <p:tavLst>
                                        <p:tav tm="0">
                                          <p:val>
                                            <p:fltVal val="0"/>
                                          </p:val>
                                        </p:tav>
                                        <p:tav tm="100000">
                                          <p:val>
                                            <p:strVal val="#ppt_w"/>
                                          </p:val>
                                        </p:tav>
                                      </p:tavLst>
                                    </p:anim>
                                    <p:anim calcmode="lin" valueType="num">
                                      <p:cBhvr>
                                        <p:cTn id="60" dur="500" fill="hold"/>
                                        <p:tgtEl>
                                          <p:spTgt spid="100"/>
                                        </p:tgtEl>
                                        <p:attrNameLst>
                                          <p:attrName>ppt_h</p:attrName>
                                        </p:attrNameLst>
                                      </p:cBhvr>
                                      <p:tavLst>
                                        <p:tav tm="0">
                                          <p:val>
                                            <p:fltVal val="0"/>
                                          </p:val>
                                        </p:tav>
                                        <p:tav tm="100000">
                                          <p:val>
                                            <p:strVal val="#ppt_h"/>
                                          </p:val>
                                        </p:tav>
                                      </p:tavLst>
                                    </p:anim>
                                    <p:animEffect transition="in" filter="fade">
                                      <p:cBhvr>
                                        <p:cTn id="61" dur="500"/>
                                        <p:tgtEl>
                                          <p:spTgt spid="100"/>
                                        </p:tgtEl>
                                      </p:cBhvr>
                                    </p:animEffect>
                                  </p:childTnLst>
                                </p:cTn>
                              </p:par>
                            </p:childTnLst>
                          </p:cTn>
                        </p:par>
                        <p:par>
                          <p:cTn id="62" fill="hold">
                            <p:stCondLst>
                              <p:cond delay="5500"/>
                            </p:stCondLst>
                            <p:childTnLst>
                              <p:par>
                                <p:cTn id="63" presetID="2" presetClass="entr" presetSubtype="4" accel="50000" decel="50000" fill="hold" nodeType="afterEffect">
                                  <p:stCondLst>
                                    <p:cond delay="0"/>
                                  </p:stCondLst>
                                  <p:childTnLst>
                                    <p:set>
                                      <p:cBhvr>
                                        <p:cTn id="64" dur="1" fill="hold">
                                          <p:stCondLst>
                                            <p:cond delay="0"/>
                                          </p:stCondLst>
                                        </p:cTn>
                                        <p:tgtEl>
                                          <p:spTgt spid="8"/>
                                        </p:tgtEl>
                                        <p:attrNameLst>
                                          <p:attrName>style.visibility</p:attrName>
                                        </p:attrNameLst>
                                      </p:cBhvr>
                                      <p:to>
                                        <p:strVal val="visible"/>
                                      </p:to>
                                    </p:set>
                                    <p:anim calcmode="lin" valueType="num">
                                      <p:cBhvr additive="base">
                                        <p:cTn id="65" dur="500" fill="hold"/>
                                        <p:tgtEl>
                                          <p:spTgt spid="8"/>
                                        </p:tgtEl>
                                        <p:attrNameLst>
                                          <p:attrName>ppt_x</p:attrName>
                                        </p:attrNameLst>
                                      </p:cBhvr>
                                      <p:tavLst>
                                        <p:tav tm="0">
                                          <p:val>
                                            <p:strVal val="#ppt_x"/>
                                          </p:val>
                                        </p:tav>
                                        <p:tav tm="100000">
                                          <p:val>
                                            <p:strVal val="#ppt_x"/>
                                          </p:val>
                                        </p:tav>
                                      </p:tavLst>
                                    </p:anim>
                                    <p:anim calcmode="lin" valueType="num">
                                      <p:cBhvr additive="base">
                                        <p:cTn id="6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98" grpId="0" animBg="1"/>
      <p:bldP spid="99" grpId="0" animBg="1"/>
      <p:bldP spid="100" grpId="0" animBg="1"/>
      <p:bldP spid="12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carrie"/>
          <p:cNvSpPr>
            <a:spLocks noChangeShapeType="1"/>
          </p:cNvSpPr>
          <p:nvPr>
            <p:custDataLst>
              <p:tags r:id="rId1"/>
            </p:custDataLst>
          </p:nvPr>
        </p:nvSpPr>
        <p:spPr bwMode="auto">
          <a:xfrm>
            <a:off x="1031979" y="2623059"/>
            <a:ext cx="2131354" cy="2130425"/>
          </a:xfrm>
          <a:prstGeom prst="line">
            <a:avLst/>
          </a:prstGeom>
          <a:noFill/>
          <a:ln w="6350">
            <a:solidFill>
              <a:schemeClr val="accent1"/>
            </a:solidFill>
            <a:miter lim="800000"/>
          </a:ln>
          <a:extLst>
            <a:ext uri="{909E8E84-426E-40DD-AFC4-6F175D3DCCD1}">
              <a14:hiddenFill xmlns:a14="http://schemas.microsoft.com/office/drawing/2010/main">
                <a:noFill/>
              </a14:hiddenFill>
            </a:ext>
          </a:extLst>
        </p:spPr>
        <p:txBody>
          <a:bodyPr lIns="91412" tIns="45706" rIns="91412" bIns="45706"/>
          <a:lstStyle/>
          <a:p>
            <a:endParaRPr lang="zh-CN" altLang="en-US" sz="3200">
              <a:cs typeface="+mn-ea"/>
              <a:sym typeface="+mn-lt"/>
            </a:endParaRPr>
          </a:p>
        </p:txBody>
      </p:sp>
      <p:sp>
        <p:nvSpPr>
          <p:cNvPr id="24581" name="carrie"/>
          <p:cNvSpPr>
            <a:spLocks noChangeShapeType="1"/>
          </p:cNvSpPr>
          <p:nvPr>
            <p:custDataLst>
              <p:tags r:id="rId2"/>
            </p:custDataLst>
          </p:nvPr>
        </p:nvSpPr>
        <p:spPr bwMode="auto">
          <a:xfrm>
            <a:off x="5093139" y="2623060"/>
            <a:ext cx="2378928" cy="2378075"/>
          </a:xfrm>
          <a:prstGeom prst="line">
            <a:avLst/>
          </a:prstGeom>
          <a:noFill/>
          <a:ln w="6350">
            <a:solidFill>
              <a:schemeClr val="accent1"/>
            </a:solidFill>
            <a:miter lim="800000"/>
          </a:ln>
          <a:extLst>
            <a:ext uri="{909E8E84-426E-40DD-AFC4-6F175D3DCCD1}">
              <a14:hiddenFill xmlns:a14="http://schemas.microsoft.com/office/drawing/2010/main">
                <a:noFill/>
              </a14:hiddenFill>
            </a:ext>
          </a:extLst>
        </p:spPr>
        <p:txBody>
          <a:bodyPr lIns="91412" tIns="45706" rIns="91412" bIns="45706"/>
          <a:lstStyle/>
          <a:p>
            <a:endParaRPr lang="zh-CN" altLang="en-US" sz="3200">
              <a:cs typeface="+mn-ea"/>
              <a:sym typeface="+mn-lt"/>
            </a:endParaRPr>
          </a:p>
        </p:txBody>
      </p:sp>
      <p:sp>
        <p:nvSpPr>
          <p:cNvPr id="24582" name="carrie"/>
          <p:cNvSpPr>
            <a:spLocks noChangeShapeType="1"/>
          </p:cNvSpPr>
          <p:nvPr>
            <p:custDataLst>
              <p:tags r:id="rId3"/>
            </p:custDataLst>
          </p:nvPr>
        </p:nvSpPr>
        <p:spPr bwMode="auto">
          <a:xfrm flipH="1">
            <a:off x="3329971" y="2623058"/>
            <a:ext cx="2110723" cy="2109789"/>
          </a:xfrm>
          <a:prstGeom prst="line">
            <a:avLst/>
          </a:prstGeom>
          <a:noFill/>
          <a:ln w="6350">
            <a:solidFill>
              <a:schemeClr val="accent1"/>
            </a:solidFill>
            <a:miter lim="800000"/>
          </a:ln>
          <a:extLst>
            <a:ext uri="{909E8E84-426E-40DD-AFC4-6F175D3DCCD1}">
              <a14:hiddenFill xmlns:a14="http://schemas.microsoft.com/office/drawing/2010/main">
                <a:noFill/>
              </a14:hiddenFill>
            </a:ext>
          </a:extLst>
        </p:spPr>
        <p:txBody>
          <a:bodyPr lIns="91412" tIns="45706" rIns="91412" bIns="45706"/>
          <a:lstStyle/>
          <a:p>
            <a:endParaRPr lang="zh-CN" altLang="en-US" sz="3200">
              <a:cs typeface="+mn-ea"/>
              <a:sym typeface="+mn-lt"/>
            </a:endParaRPr>
          </a:p>
        </p:txBody>
      </p:sp>
      <p:sp>
        <p:nvSpPr>
          <p:cNvPr id="24583" name="carrie"/>
          <p:cNvSpPr>
            <a:spLocks noChangeShapeType="1"/>
          </p:cNvSpPr>
          <p:nvPr>
            <p:custDataLst>
              <p:tags r:id="rId4"/>
            </p:custDataLst>
          </p:nvPr>
        </p:nvSpPr>
        <p:spPr bwMode="auto">
          <a:xfrm flipH="1">
            <a:off x="7511741" y="3542221"/>
            <a:ext cx="1155343" cy="1244600"/>
          </a:xfrm>
          <a:prstGeom prst="line">
            <a:avLst/>
          </a:prstGeom>
          <a:noFill/>
          <a:ln w="6350">
            <a:solidFill>
              <a:schemeClr val="accent1"/>
            </a:solidFill>
            <a:miter lim="800000"/>
          </a:ln>
          <a:extLst>
            <a:ext uri="{909E8E84-426E-40DD-AFC4-6F175D3DCCD1}">
              <a14:hiddenFill xmlns:a14="http://schemas.microsoft.com/office/drawing/2010/main">
                <a:noFill/>
              </a14:hiddenFill>
            </a:ext>
          </a:extLst>
        </p:spPr>
        <p:txBody>
          <a:bodyPr lIns="91412" tIns="45706" rIns="91412" bIns="45706"/>
          <a:lstStyle/>
          <a:p>
            <a:endParaRPr lang="zh-CN" altLang="en-US" sz="3200">
              <a:cs typeface="+mn-ea"/>
              <a:sym typeface="+mn-lt"/>
            </a:endParaRPr>
          </a:p>
        </p:txBody>
      </p:sp>
      <p:sp>
        <p:nvSpPr>
          <p:cNvPr id="24584" name="carrie"/>
          <p:cNvSpPr>
            <a:spLocks noChangeArrowheads="1"/>
          </p:cNvSpPr>
          <p:nvPr>
            <p:custDataLst>
              <p:tags r:id="rId5"/>
            </p:custDataLst>
          </p:nvPr>
        </p:nvSpPr>
        <p:spPr bwMode="auto">
          <a:xfrm>
            <a:off x="1811201" y="3392996"/>
            <a:ext cx="818898" cy="819150"/>
          </a:xfrm>
          <a:prstGeom prst="ellipse">
            <a:avLst/>
          </a:prstGeom>
          <a:solidFill>
            <a:srgbClr val="86BD7D"/>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85" name="carrie"/>
          <p:cNvSpPr>
            <a:spLocks noChangeArrowheads="1"/>
          </p:cNvSpPr>
          <p:nvPr>
            <p:custDataLst>
              <p:tags r:id="rId6"/>
            </p:custDataLst>
          </p:nvPr>
        </p:nvSpPr>
        <p:spPr bwMode="auto">
          <a:xfrm>
            <a:off x="3842574" y="3392996"/>
            <a:ext cx="818898" cy="819150"/>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86" name="carrie"/>
          <p:cNvSpPr>
            <a:spLocks noChangeArrowheads="1"/>
          </p:cNvSpPr>
          <p:nvPr>
            <p:custDataLst>
              <p:tags r:id="rId7"/>
            </p:custDataLst>
          </p:nvPr>
        </p:nvSpPr>
        <p:spPr bwMode="auto">
          <a:xfrm>
            <a:off x="5872359" y="3392996"/>
            <a:ext cx="818898" cy="819150"/>
          </a:xfrm>
          <a:prstGeom prst="ellipse">
            <a:avLst/>
          </a:prstGeom>
          <a:solidFill>
            <a:srgbClr val="86BD7D"/>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87" name="carrie"/>
          <p:cNvSpPr>
            <a:spLocks noChangeArrowheads="1"/>
          </p:cNvSpPr>
          <p:nvPr>
            <p:custDataLst>
              <p:tags r:id="rId8"/>
            </p:custDataLst>
          </p:nvPr>
        </p:nvSpPr>
        <p:spPr bwMode="auto">
          <a:xfrm>
            <a:off x="743142" y="2354771"/>
            <a:ext cx="576085" cy="576262"/>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88" name="carrie"/>
          <p:cNvSpPr>
            <a:spLocks noChangeArrowheads="1"/>
          </p:cNvSpPr>
          <p:nvPr>
            <p:custDataLst>
              <p:tags r:id="rId9"/>
            </p:custDataLst>
          </p:nvPr>
        </p:nvSpPr>
        <p:spPr bwMode="auto">
          <a:xfrm>
            <a:off x="2945913" y="4537585"/>
            <a:ext cx="576085" cy="576263"/>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89" name="carrie"/>
          <p:cNvSpPr>
            <a:spLocks noChangeArrowheads="1"/>
          </p:cNvSpPr>
          <p:nvPr>
            <p:custDataLst>
              <p:tags r:id="rId10"/>
            </p:custDataLst>
          </p:nvPr>
        </p:nvSpPr>
        <p:spPr bwMode="auto">
          <a:xfrm>
            <a:off x="4959827" y="2507171"/>
            <a:ext cx="577672" cy="576262"/>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90" name="carrie"/>
          <p:cNvSpPr>
            <a:spLocks noChangeArrowheads="1"/>
          </p:cNvSpPr>
          <p:nvPr>
            <p:custDataLst>
              <p:tags r:id="rId11"/>
            </p:custDataLst>
          </p:nvPr>
        </p:nvSpPr>
        <p:spPr bwMode="auto">
          <a:xfrm>
            <a:off x="7092770" y="4605846"/>
            <a:ext cx="577672" cy="576262"/>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91" name="carrie"/>
          <p:cNvSpPr>
            <a:spLocks noChangeArrowheads="1"/>
          </p:cNvSpPr>
          <p:nvPr>
            <p:custDataLst>
              <p:tags r:id="rId12"/>
            </p:custDataLst>
          </p:nvPr>
        </p:nvSpPr>
        <p:spPr bwMode="auto">
          <a:xfrm>
            <a:off x="8038628" y="3392996"/>
            <a:ext cx="818898" cy="819150"/>
          </a:xfrm>
          <a:prstGeom prst="ellipse">
            <a:avLst/>
          </a:prstGeom>
          <a:solidFill>
            <a:srgbClr val="82B864"/>
          </a:solidFill>
          <a:ln w="38100">
            <a:solidFill>
              <a:schemeClr val="bg1"/>
            </a:solidFill>
            <a:miter lim="800000"/>
          </a:ln>
        </p:spPr>
        <p:txBody>
          <a:bodyPr lIns="91412" tIns="45706" rIns="91412" bIns="45706"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zh-CN" sz="3200">
              <a:solidFill>
                <a:srgbClr val="FFFFFF"/>
              </a:solidFill>
              <a:latin typeface="+mn-lt"/>
              <a:ea typeface="+mn-ea"/>
              <a:cs typeface="+mn-ea"/>
              <a:sym typeface="+mn-lt"/>
            </a:endParaRPr>
          </a:p>
        </p:txBody>
      </p:sp>
      <p:sp>
        <p:nvSpPr>
          <p:cNvPr id="24592" name="carrie"/>
          <p:cNvSpPr>
            <a:spLocks noChangeArrowheads="1"/>
          </p:cNvSpPr>
          <p:nvPr>
            <p:custDataLst>
              <p:tags r:id="rId13"/>
            </p:custDataLst>
          </p:nvPr>
        </p:nvSpPr>
        <p:spPr bwMode="auto">
          <a:xfrm>
            <a:off x="1692160" y="3664459"/>
            <a:ext cx="1045871"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dirty="0">
                <a:solidFill>
                  <a:schemeClr val="bg1"/>
                </a:solidFill>
                <a:latin typeface="+mn-lt"/>
                <a:ea typeface="+mn-ea"/>
                <a:cs typeface="+mn-ea"/>
                <a:sym typeface="+mn-lt"/>
              </a:rPr>
              <a:t>TEXT HERE</a:t>
            </a:r>
            <a:endParaRPr lang="zh-CN" altLang="en-US" sz="1200" dirty="0">
              <a:solidFill>
                <a:schemeClr val="bg1"/>
              </a:solidFill>
              <a:latin typeface="+mn-lt"/>
              <a:ea typeface="+mn-ea"/>
              <a:cs typeface="+mn-ea"/>
              <a:sym typeface="+mn-lt"/>
            </a:endParaRPr>
          </a:p>
        </p:txBody>
      </p:sp>
      <p:sp>
        <p:nvSpPr>
          <p:cNvPr id="24593" name="carrie"/>
          <p:cNvSpPr>
            <a:spLocks noChangeArrowheads="1"/>
          </p:cNvSpPr>
          <p:nvPr>
            <p:custDataLst>
              <p:tags r:id="rId14"/>
            </p:custDataLst>
          </p:nvPr>
        </p:nvSpPr>
        <p:spPr bwMode="auto">
          <a:xfrm>
            <a:off x="3731468" y="3664459"/>
            <a:ext cx="1045871"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dirty="0">
                <a:solidFill>
                  <a:schemeClr val="bg1"/>
                </a:solidFill>
                <a:latin typeface="+mn-lt"/>
                <a:ea typeface="+mn-ea"/>
                <a:cs typeface="+mn-ea"/>
                <a:sym typeface="+mn-lt"/>
              </a:rPr>
              <a:t>TEXT HERE</a:t>
            </a:r>
            <a:endParaRPr lang="zh-CN" altLang="en-US" sz="1200" dirty="0">
              <a:solidFill>
                <a:schemeClr val="bg1"/>
              </a:solidFill>
              <a:latin typeface="+mn-lt"/>
              <a:ea typeface="+mn-ea"/>
              <a:cs typeface="+mn-ea"/>
              <a:sym typeface="+mn-lt"/>
            </a:endParaRPr>
          </a:p>
        </p:txBody>
      </p:sp>
      <p:sp>
        <p:nvSpPr>
          <p:cNvPr id="24594" name="carrie"/>
          <p:cNvSpPr>
            <a:spLocks noChangeArrowheads="1"/>
          </p:cNvSpPr>
          <p:nvPr>
            <p:custDataLst>
              <p:tags r:id="rId15"/>
            </p:custDataLst>
          </p:nvPr>
        </p:nvSpPr>
        <p:spPr bwMode="auto">
          <a:xfrm>
            <a:off x="5766808" y="3664459"/>
            <a:ext cx="1045871"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dirty="0">
                <a:solidFill>
                  <a:schemeClr val="bg1"/>
                </a:solidFill>
                <a:latin typeface="+mn-lt"/>
                <a:ea typeface="+mn-ea"/>
                <a:cs typeface="+mn-ea"/>
                <a:sym typeface="+mn-lt"/>
              </a:rPr>
              <a:t>TEXT HERE</a:t>
            </a:r>
            <a:endParaRPr lang="zh-CN" altLang="en-US" sz="1200" dirty="0">
              <a:solidFill>
                <a:schemeClr val="bg1"/>
              </a:solidFill>
              <a:latin typeface="+mn-lt"/>
              <a:ea typeface="+mn-ea"/>
              <a:cs typeface="+mn-ea"/>
              <a:sym typeface="+mn-lt"/>
            </a:endParaRPr>
          </a:p>
        </p:txBody>
      </p:sp>
      <p:sp>
        <p:nvSpPr>
          <p:cNvPr id="24595" name="carrie"/>
          <p:cNvSpPr>
            <a:spLocks noChangeArrowheads="1"/>
          </p:cNvSpPr>
          <p:nvPr>
            <p:custDataLst>
              <p:tags r:id="rId16"/>
            </p:custDataLst>
          </p:nvPr>
        </p:nvSpPr>
        <p:spPr bwMode="auto">
          <a:xfrm>
            <a:off x="7929110" y="3664459"/>
            <a:ext cx="1045871" cy="276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dirty="0">
                <a:solidFill>
                  <a:schemeClr val="bg1"/>
                </a:solidFill>
                <a:latin typeface="+mn-lt"/>
                <a:ea typeface="+mn-ea"/>
                <a:cs typeface="+mn-ea"/>
                <a:sym typeface="+mn-lt"/>
              </a:rPr>
              <a:t>TEXT HERE</a:t>
            </a:r>
            <a:endParaRPr lang="zh-CN" altLang="en-US" sz="1200" dirty="0">
              <a:solidFill>
                <a:schemeClr val="bg1"/>
              </a:solidFill>
              <a:latin typeface="+mn-lt"/>
              <a:ea typeface="+mn-ea"/>
              <a:cs typeface="+mn-ea"/>
              <a:sym typeface="+mn-lt"/>
            </a:endParaRPr>
          </a:p>
        </p:txBody>
      </p:sp>
      <p:sp>
        <p:nvSpPr>
          <p:cNvPr id="24596" name="carrie"/>
          <p:cNvSpPr>
            <a:spLocks noChangeArrowheads="1"/>
          </p:cNvSpPr>
          <p:nvPr>
            <p:custDataLst>
              <p:tags r:id="rId17"/>
            </p:custDataLst>
          </p:nvPr>
        </p:nvSpPr>
        <p:spPr bwMode="auto">
          <a:xfrm>
            <a:off x="5754922" y="2373821"/>
            <a:ext cx="2910576" cy="830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defRPr/>
            </a:pPr>
            <a:r>
              <a:rPr lang="zh-CN" altLang="en-US" sz="1200" dirty="0">
                <a:solidFill>
                  <a:schemeClr val="tx1">
                    <a:lumMod val="50000"/>
                    <a:lumOff val="50000"/>
                  </a:schemeClr>
                </a:solidFill>
                <a:latin typeface="+mn-lt"/>
                <a:ea typeface="+mn-ea"/>
                <a:cs typeface="+mn-ea"/>
                <a:sym typeface="+mn-lt"/>
              </a:rPr>
              <a:t>请在此处输入您的文本，或者复制您的文本粘贴到此处请在此处请在此处输入您的文本，或者复制您的文本粘贴请在此处输入您的文本，</a:t>
            </a:r>
            <a:endParaRPr lang="zh-CN" altLang="en-US" sz="1200" kern="0" dirty="0">
              <a:solidFill>
                <a:schemeClr val="tx1">
                  <a:lumMod val="50000"/>
                  <a:lumOff val="50000"/>
                </a:schemeClr>
              </a:solidFill>
              <a:latin typeface="+mn-lt"/>
              <a:ea typeface="+mn-ea"/>
              <a:cs typeface="+mn-ea"/>
              <a:sym typeface="+mn-lt"/>
            </a:endParaRPr>
          </a:p>
        </p:txBody>
      </p:sp>
      <p:sp>
        <p:nvSpPr>
          <p:cNvPr id="24597" name="carrie"/>
          <p:cNvSpPr>
            <a:spLocks noChangeArrowheads="1"/>
          </p:cNvSpPr>
          <p:nvPr>
            <p:custDataLst>
              <p:tags r:id="rId18"/>
            </p:custDataLst>
          </p:nvPr>
        </p:nvSpPr>
        <p:spPr bwMode="auto">
          <a:xfrm>
            <a:off x="7879927" y="4553458"/>
            <a:ext cx="2264664" cy="1015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defRPr/>
            </a:pPr>
            <a:r>
              <a:rPr lang="zh-CN" altLang="en-US" sz="1200" dirty="0">
                <a:solidFill>
                  <a:schemeClr val="tx1">
                    <a:lumMod val="50000"/>
                    <a:lumOff val="50000"/>
                  </a:schemeClr>
                </a:solidFill>
                <a:latin typeface="+mn-lt"/>
                <a:ea typeface="+mn-ea"/>
                <a:cs typeface="+mn-ea"/>
                <a:sym typeface="+mn-lt"/>
              </a:rPr>
              <a:t>请在此处输入您的文本，或者复制您的文本粘贴到此处请在此处请在此处输入您的文本，或者复制您的文本粘贴请在此处输入您的文本，</a:t>
            </a:r>
            <a:endParaRPr lang="zh-CN" altLang="en-US" sz="1200" kern="0" dirty="0">
              <a:solidFill>
                <a:schemeClr val="tx1">
                  <a:lumMod val="50000"/>
                  <a:lumOff val="50000"/>
                </a:schemeClr>
              </a:solidFill>
              <a:latin typeface="+mn-lt"/>
              <a:ea typeface="+mn-ea"/>
              <a:cs typeface="+mn-ea"/>
              <a:sym typeface="+mn-lt"/>
            </a:endParaRPr>
          </a:p>
        </p:txBody>
      </p:sp>
      <p:sp>
        <p:nvSpPr>
          <p:cNvPr id="24598" name="carrie"/>
          <p:cNvSpPr>
            <a:spLocks noChangeArrowheads="1"/>
          </p:cNvSpPr>
          <p:nvPr>
            <p:custDataLst>
              <p:tags r:id="rId19"/>
            </p:custDataLst>
          </p:nvPr>
        </p:nvSpPr>
        <p:spPr bwMode="auto">
          <a:xfrm>
            <a:off x="1520777" y="2196021"/>
            <a:ext cx="2870901" cy="830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defRPr/>
            </a:pPr>
            <a:r>
              <a:rPr lang="zh-CN" altLang="en-US" sz="1200" dirty="0">
                <a:solidFill>
                  <a:schemeClr val="tx1">
                    <a:lumMod val="50000"/>
                    <a:lumOff val="50000"/>
                  </a:schemeClr>
                </a:solidFill>
                <a:latin typeface="+mn-lt"/>
                <a:ea typeface="+mn-ea"/>
                <a:cs typeface="+mn-ea"/>
                <a:sym typeface="+mn-lt"/>
              </a:rPr>
              <a:t>请在此处输入您的文本，或者复制您的文本粘贴到此处请在此处请在此处输入您的文本，或者复制您的文本粘贴请在此处输入您的文本，</a:t>
            </a:r>
            <a:endParaRPr lang="zh-CN" altLang="en-US" sz="1200" kern="0" dirty="0">
              <a:solidFill>
                <a:schemeClr val="tx1">
                  <a:lumMod val="50000"/>
                  <a:lumOff val="50000"/>
                </a:schemeClr>
              </a:solidFill>
              <a:latin typeface="+mn-lt"/>
              <a:ea typeface="+mn-ea"/>
              <a:cs typeface="+mn-ea"/>
              <a:sym typeface="+mn-lt"/>
            </a:endParaRPr>
          </a:p>
        </p:txBody>
      </p:sp>
      <p:sp>
        <p:nvSpPr>
          <p:cNvPr id="24599" name="carrie"/>
          <p:cNvSpPr>
            <a:spLocks noChangeArrowheads="1"/>
          </p:cNvSpPr>
          <p:nvPr>
            <p:custDataLst>
              <p:tags r:id="rId20"/>
            </p:custDataLst>
          </p:nvPr>
        </p:nvSpPr>
        <p:spPr bwMode="auto">
          <a:xfrm>
            <a:off x="3791790" y="4537583"/>
            <a:ext cx="2266251" cy="1015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defRPr/>
            </a:pPr>
            <a:r>
              <a:rPr lang="zh-CN" altLang="en-US" sz="1200" dirty="0">
                <a:solidFill>
                  <a:schemeClr val="tx1">
                    <a:lumMod val="50000"/>
                    <a:lumOff val="50000"/>
                  </a:schemeClr>
                </a:solidFill>
                <a:latin typeface="+mn-lt"/>
                <a:ea typeface="+mn-ea"/>
                <a:cs typeface="+mn-ea"/>
                <a:sym typeface="+mn-lt"/>
              </a:rPr>
              <a:t>请在此处输入您的文本，或者复制您的文本粘贴到此处请在此处请在此处输入您的文本，或者复制您的文本粘贴请在此处输入您的文本，</a:t>
            </a:r>
            <a:endParaRPr lang="zh-CN" altLang="en-US" sz="1200" kern="0" dirty="0">
              <a:solidFill>
                <a:schemeClr val="tx1">
                  <a:lumMod val="50000"/>
                  <a:lumOff val="50000"/>
                </a:schemeClr>
              </a:solidFill>
              <a:latin typeface="+mn-lt"/>
              <a:ea typeface="+mn-ea"/>
              <a:cs typeface="+mn-ea"/>
              <a:sym typeface="+mn-lt"/>
            </a:endParaRP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600"/>
                                  </p:stCondLst>
                                  <p:childTnLst>
                                    <p:set>
                                      <p:cBhvr>
                                        <p:cTn id="6" dur="1" fill="hold">
                                          <p:stCondLst>
                                            <p:cond delay="0"/>
                                          </p:stCondLst>
                                        </p:cTn>
                                        <p:tgtEl>
                                          <p:spTgt spid="24580"/>
                                        </p:tgtEl>
                                        <p:attrNameLst>
                                          <p:attrName>style.visibility</p:attrName>
                                        </p:attrNameLst>
                                      </p:cBhvr>
                                      <p:to>
                                        <p:strVal val="visible"/>
                                      </p:to>
                                    </p:set>
                                    <p:animEffect transition="in" filter="fade">
                                      <p:cBhvr>
                                        <p:cTn id="7" dur="500"/>
                                        <p:tgtEl>
                                          <p:spTgt spid="24580"/>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24581">
                                            <p:bg/>
                                          </p:spTgt>
                                        </p:tgtEl>
                                        <p:attrNameLst>
                                          <p:attrName>style.visibility</p:attrName>
                                        </p:attrNameLst>
                                      </p:cBhvr>
                                      <p:to>
                                        <p:strVal val="visible"/>
                                      </p:to>
                                    </p:set>
                                    <p:animEffect transition="in" filter="fade">
                                      <p:cBhvr>
                                        <p:cTn id="10" dur="500"/>
                                        <p:tgtEl>
                                          <p:spTgt spid="24581">
                                            <p:bg/>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nodePh="1">
                                  <p:stCondLst>
                                    <p:cond delay="0"/>
                                  </p:stCondLst>
                                  <p:endCondLst>
                                    <p:cond evt="begin" delay="0">
                                      <p:tn val="13"/>
                                    </p:cond>
                                  </p:endCondLst>
                                  <p:childTnLst>
                                    <p:set>
                                      <p:cBhvr>
                                        <p:cTn id="14" dur="1" fill="hold">
                                          <p:stCondLst>
                                            <p:cond delay="0"/>
                                          </p:stCondLst>
                                        </p:cTn>
                                        <p:tgtEl>
                                          <p:spTgt spid="24581">
                                            <p:txEl>
                                              <p:pRg st="0" end="0"/>
                                            </p:txEl>
                                          </p:spTgt>
                                        </p:tgtEl>
                                        <p:attrNameLst>
                                          <p:attrName>style.visibility</p:attrName>
                                        </p:attrNameLst>
                                      </p:cBhvr>
                                      <p:to>
                                        <p:strVal val="visible"/>
                                      </p:to>
                                    </p:set>
                                    <p:animEffect transition="in" filter="fade">
                                      <p:cBhvr>
                                        <p:cTn id="15" dur="500"/>
                                        <p:tgtEl>
                                          <p:spTgt spid="24581">
                                            <p:txEl>
                                              <p:pRg st="0" end="0"/>
                                            </p:txEl>
                                          </p:spTgt>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4582"/>
                                        </p:tgtEl>
                                        <p:attrNameLst>
                                          <p:attrName>style.visibility</p:attrName>
                                        </p:attrNameLst>
                                      </p:cBhvr>
                                      <p:to>
                                        <p:strVal val="visible"/>
                                      </p:to>
                                    </p:set>
                                    <p:animEffect transition="in" filter="fade">
                                      <p:cBhvr>
                                        <p:cTn id="19" dur="500"/>
                                        <p:tgtEl>
                                          <p:spTgt spid="24582"/>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4583"/>
                                        </p:tgtEl>
                                        <p:attrNameLst>
                                          <p:attrName>style.visibility</p:attrName>
                                        </p:attrNameLst>
                                      </p:cBhvr>
                                      <p:to>
                                        <p:strVal val="visible"/>
                                      </p:to>
                                    </p:set>
                                    <p:animEffect transition="in" filter="fade">
                                      <p:cBhvr>
                                        <p:cTn id="23" dur="500"/>
                                        <p:tgtEl>
                                          <p:spTgt spid="24583"/>
                                        </p:tgtEl>
                                      </p:cBhvr>
                                    </p:animEffect>
                                  </p:childTnLst>
                                </p:cTn>
                              </p:par>
                              <p:par>
                                <p:cTn id="24" presetID="10" presetClass="entr" presetSubtype="0" fill="hold" grpId="0" nodeType="withEffect">
                                  <p:stCondLst>
                                    <p:cond delay="300"/>
                                  </p:stCondLst>
                                  <p:childTnLst>
                                    <p:set>
                                      <p:cBhvr>
                                        <p:cTn id="25" dur="1" fill="hold">
                                          <p:stCondLst>
                                            <p:cond delay="0"/>
                                          </p:stCondLst>
                                        </p:cTn>
                                        <p:tgtEl>
                                          <p:spTgt spid="24584"/>
                                        </p:tgtEl>
                                        <p:attrNameLst>
                                          <p:attrName>style.visibility</p:attrName>
                                        </p:attrNameLst>
                                      </p:cBhvr>
                                      <p:to>
                                        <p:strVal val="visible"/>
                                      </p:to>
                                    </p:set>
                                    <p:animEffect transition="in" filter="fade">
                                      <p:cBhvr>
                                        <p:cTn id="26" dur="500"/>
                                        <p:tgtEl>
                                          <p:spTgt spid="24584"/>
                                        </p:tgtEl>
                                      </p:cBhvr>
                                    </p:animEffect>
                                  </p:childTnLst>
                                </p:cTn>
                              </p:par>
                              <p:par>
                                <p:cTn id="27" presetID="10" presetClass="entr" presetSubtype="0" fill="hold" grpId="0" nodeType="withEffect">
                                  <p:stCondLst>
                                    <p:cond delay="600"/>
                                  </p:stCondLst>
                                  <p:childTnLst>
                                    <p:set>
                                      <p:cBhvr>
                                        <p:cTn id="28" dur="1" fill="hold">
                                          <p:stCondLst>
                                            <p:cond delay="0"/>
                                          </p:stCondLst>
                                        </p:cTn>
                                        <p:tgtEl>
                                          <p:spTgt spid="24585"/>
                                        </p:tgtEl>
                                        <p:attrNameLst>
                                          <p:attrName>style.visibility</p:attrName>
                                        </p:attrNameLst>
                                      </p:cBhvr>
                                      <p:to>
                                        <p:strVal val="visible"/>
                                      </p:to>
                                    </p:set>
                                    <p:animEffect transition="in" filter="fade">
                                      <p:cBhvr>
                                        <p:cTn id="29" dur="500"/>
                                        <p:tgtEl>
                                          <p:spTgt spid="24585"/>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24586">
                                            <p:bg/>
                                          </p:spTgt>
                                        </p:tgtEl>
                                        <p:attrNameLst>
                                          <p:attrName>style.visibility</p:attrName>
                                        </p:attrNameLst>
                                      </p:cBhvr>
                                      <p:to>
                                        <p:strVal val="visible"/>
                                      </p:to>
                                    </p:set>
                                    <p:animEffect transition="in" filter="fade">
                                      <p:cBhvr>
                                        <p:cTn id="32" dur="500"/>
                                        <p:tgtEl>
                                          <p:spTgt spid="24586">
                                            <p:bg/>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nodePh="1">
                                  <p:stCondLst>
                                    <p:cond delay="0"/>
                                  </p:stCondLst>
                                  <p:endCondLst>
                                    <p:cond evt="begin" delay="0">
                                      <p:tn val="35"/>
                                    </p:cond>
                                  </p:endCondLst>
                                  <p:childTnLst>
                                    <p:set>
                                      <p:cBhvr>
                                        <p:cTn id="36" dur="1" fill="hold">
                                          <p:stCondLst>
                                            <p:cond delay="0"/>
                                          </p:stCondLst>
                                        </p:cTn>
                                        <p:tgtEl>
                                          <p:spTgt spid="24586">
                                            <p:txEl>
                                              <p:pRg st="0" end="0"/>
                                            </p:txEl>
                                          </p:spTgt>
                                        </p:tgtEl>
                                        <p:attrNameLst>
                                          <p:attrName>style.visibility</p:attrName>
                                        </p:attrNameLst>
                                      </p:cBhvr>
                                      <p:to>
                                        <p:strVal val="visible"/>
                                      </p:to>
                                    </p:set>
                                    <p:animEffect transition="in" filter="fade">
                                      <p:cBhvr>
                                        <p:cTn id="37" dur="500"/>
                                        <p:tgtEl>
                                          <p:spTgt spid="24586">
                                            <p:txEl>
                                              <p:pRg st="0" end="0"/>
                                            </p:txEl>
                                          </p:spTgt>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4587"/>
                                        </p:tgtEl>
                                        <p:attrNameLst>
                                          <p:attrName>style.visibility</p:attrName>
                                        </p:attrNameLst>
                                      </p:cBhvr>
                                      <p:to>
                                        <p:strVal val="visible"/>
                                      </p:to>
                                    </p:set>
                                    <p:animEffect transition="in" filter="fade">
                                      <p:cBhvr>
                                        <p:cTn id="41" dur="500"/>
                                        <p:tgtEl>
                                          <p:spTgt spid="24587"/>
                                        </p:tgtEl>
                                      </p:cBhvr>
                                    </p:animEffect>
                                  </p:childTnLst>
                                </p:cTn>
                              </p:par>
                            </p:childTnLst>
                          </p:cTn>
                        </p:par>
                        <p:par>
                          <p:cTn id="42" fill="hold">
                            <p:stCondLst>
                              <p:cond delay="1000"/>
                            </p:stCondLst>
                            <p:childTnLst>
                              <p:par>
                                <p:cTn id="43" presetID="10" presetClass="entr" presetSubtype="0" fill="hold" grpId="0" nodeType="afterEffect">
                                  <p:stCondLst>
                                    <p:cond delay="0"/>
                                  </p:stCondLst>
                                  <p:childTnLst>
                                    <p:set>
                                      <p:cBhvr>
                                        <p:cTn id="44" dur="1" fill="hold">
                                          <p:stCondLst>
                                            <p:cond delay="0"/>
                                          </p:stCondLst>
                                        </p:cTn>
                                        <p:tgtEl>
                                          <p:spTgt spid="24588"/>
                                        </p:tgtEl>
                                        <p:attrNameLst>
                                          <p:attrName>style.visibility</p:attrName>
                                        </p:attrNameLst>
                                      </p:cBhvr>
                                      <p:to>
                                        <p:strVal val="visible"/>
                                      </p:to>
                                    </p:set>
                                    <p:animEffect transition="in" filter="fade">
                                      <p:cBhvr>
                                        <p:cTn id="45" dur="500"/>
                                        <p:tgtEl>
                                          <p:spTgt spid="24588"/>
                                        </p:tgtEl>
                                      </p:cBhvr>
                                    </p:animEffect>
                                  </p:childTnLst>
                                </p:cTn>
                              </p:par>
                              <p:par>
                                <p:cTn id="46" presetID="10" presetClass="entr" presetSubtype="0" fill="hold" grpId="0" nodeType="withEffect">
                                  <p:stCondLst>
                                    <p:cond delay="300"/>
                                  </p:stCondLst>
                                  <p:childTnLst>
                                    <p:set>
                                      <p:cBhvr>
                                        <p:cTn id="47" dur="1" fill="hold">
                                          <p:stCondLst>
                                            <p:cond delay="0"/>
                                          </p:stCondLst>
                                        </p:cTn>
                                        <p:tgtEl>
                                          <p:spTgt spid="24589"/>
                                        </p:tgtEl>
                                        <p:attrNameLst>
                                          <p:attrName>style.visibility</p:attrName>
                                        </p:attrNameLst>
                                      </p:cBhvr>
                                      <p:to>
                                        <p:strVal val="visible"/>
                                      </p:to>
                                    </p:set>
                                    <p:animEffect transition="in" filter="fade">
                                      <p:cBhvr>
                                        <p:cTn id="48" dur="500"/>
                                        <p:tgtEl>
                                          <p:spTgt spid="24589"/>
                                        </p:tgtEl>
                                      </p:cBhvr>
                                    </p:animEffect>
                                  </p:childTnLst>
                                </p:cTn>
                              </p:par>
                              <p:par>
                                <p:cTn id="49" presetID="10" presetClass="entr" presetSubtype="0" fill="hold" grpId="0" nodeType="withEffect">
                                  <p:stCondLst>
                                    <p:cond delay="600"/>
                                  </p:stCondLst>
                                  <p:childTnLst>
                                    <p:set>
                                      <p:cBhvr>
                                        <p:cTn id="50" dur="1" fill="hold">
                                          <p:stCondLst>
                                            <p:cond delay="0"/>
                                          </p:stCondLst>
                                        </p:cTn>
                                        <p:tgtEl>
                                          <p:spTgt spid="24590"/>
                                        </p:tgtEl>
                                        <p:attrNameLst>
                                          <p:attrName>style.visibility</p:attrName>
                                        </p:attrNameLst>
                                      </p:cBhvr>
                                      <p:to>
                                        <p:strVal val="visible"/>
                                      </p:to>
                                    </p:set>
                                    <p:animEffect transition="in" filter="fade">
                                      <p:cBhvr>
                                        <p:cTn id="51" dur="500"/>
                                        <p:tgtEl>
                                          <p:spTgt spid="24590"/>
                                        </p:tgtEl>
                                      </p:cBhvr>
                                    </p:animEffect>
                                  </p:childTnLst>
                                </p:cTn>
                              </p:par>
                              <p:par>
                                <p:cTn id="52" presetID="10" presetClass="entr" presetSubtype="0" fill="hold" grpId="0" nodeType="withEffect">
                                  <p:stCondLst>
                                    <p:cond delay="1000"/>
                                  </p:stCondLst>
                                  <p:childTnLst>
                                    <p:set>
                                      <p:cBhvr>
                                        <p:cTn id="53" dur="1" fill="hold">
                                          <p:stCondLst>
                                            <p:cond delay="0"/>
                                          </p:stCondLst>
                                        </p:cTn>
                                        <p:tgtEl>
                                          <p:spTgt spid="24591">
                                            <p:bg/>
                                          </p:spTgt>
                                        </p:tgtEl>
                                        <p:attrNameLst>
                                          <p:attrName>style.visibility</p:attrName>
                                        </p:attrNameLst>
                                      </p:cBhvr>
                                      <p:to>
                                        <p:strVal val="visible"/>
                                      </p:to>
                                    </p:set>
                                    <p:animEffect transition="in" filter="fade">
                                      <p:cBhvr>
                                        <p:cTn id="54" dur="500"/>
                                        <p:tgtEl>
                                          <p:spTgt spid="24591">
                                            <p:bg/>
                                          </p:spTgt>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nodePh="1">
                                  <p:stCondLst>
                                    <p:cond delay="0"/>
                                  </p:stCondLst>
                                  <p:endCondLst>
                                    <p:cond evt="begin" delay="0">
                                      <p:tn val="57"/>
                                    </p:cond>
                                  </p:endCondLst>
                                  <p:childTnLst>
                                    <p:set>
                                      <p:cBhvr>
                                        <p:cTn id="58" dur="1" fill="hold">
                                          <p:stCondLst>
                                            <p:cond delay="0"/>
                                          </p:stCondLst>
                                        </p:cTn>
                                        <p:tgtEl>
                                          <p:spTgt spid="24591">
                                            <p:txEl>
                                              <p:pRg st="0" end="0"/>
                                            </p:txEl>
                                          </p:spTgt>
                                        </p:tgtEl>
                                        <p:attrNameLst>
                                          <p:attrName>style.visibility</p:attrName>
                                        </p:attrNameLst>
                                      </p:cBhvr>
                                      <p:to>
                                        <p:strVal val="visible"/>
                                      </p:to>
                                    </p:set>
                                    <p:animEffect transition="in" filter="fade">
                                      <p:cBhvr>
                                        <p:cTn id="59" dur="500"/>
                                        <p:tgtEl>
                                          <p:spTgt spid="24591">
                                            <p:txEl>
                                              <p:pRg st="0" end="0"/>
                                            </p:txEl>
                                          </p:spTgt>
                                        </p:tgtEl>
                                      </p:cBhvr>
                                    </p:animEffect>
                                  </p:childTnLst>
                                </p:cTn>
                              </p:par>
                              <p:par>
                                <p:cTn id="60" presetID="10" presetClass="entr" presetSubtype="0" fill="hold" grpId="0" nodeType="withEffect">
                                  <p:stCondLst>
                                    <p:cond delay="1300"/>
                                  </p:stCondLst>
                                  <p:childTnLst>
                                    <p:set>
                                      <p:cBhvr>
                                        <p:cTn id="61" dur="1" fill="hold">
                                          <p:stCondLst>
                                            <p:cond delay="0"/>
                                          </p:stCondLst>
                                        </p:cTn>
                                        <p:tgtEl>
                                          <p:spTgt spid="24592"/>
                                        </p:tgtEl>
                                        <p:attrNameLst>
                                          <p:attrName>style.visibility</p:attrName>
                                        </p:attrNameLst>
                                      </p:cBhvr>
                                      <p:to>
                                        <p:strVal val="visible"/>
                                      </p:to>
                                    </p:set>
                                    <p:animEffect transition="in" filter="fade">
                                      <p:cBhvr>
                                        <p:cTn id="62" dur="500"/>
                                        <p:tgtEl>
                                          <p:spTgt spid="24592"/>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4593"/>
                                        </p:tgtEl>
                                        <p:attrNameLst>
                                          <p:attrName>style.visibility</p:attrName>
                                        </p:attrNameLst>
                                      </p:cBhvr>
                                      <p:to>
                                        <p:strVal val="visible"/>
                                      </p:to>
                                    </p:set>
                                    <p:animEffect transition="in" filter="fade">
                                      <p:cBhvr>
                                        <p:cTn id="67" dur="500"/>
                                        <p:tgtEl>
                                          <p:spTgt spid="24593"/>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24594"/>
                                        </p:tgtEl>
                                        <p:attrNameLst>
                                          <p:attrName>style.visibility</p:attrName>
                                        </p:attrNameLst>
                                      </p:cBhvr>
                                      <p:to>
                                        <p:strVal val="visible"/>
                                      </p:to>
                                    </p:set>
                                    <p:animEffect transition="in" filter="fade">
                                      <p:cBhvr>
                                        <p:cTn id="70" dur="500"/>
                                        <p:tgtEl>
                                          <p:spTgt spid="24594"/>
                                        </p:tgtEl>
                                      </p:cBhvr>
                                    </p:animEffect>
                                  </p:childTnLst>
                                </p:cTn>
                              </p:par>
                              <p:par>
                                <p:cTn id="71" presetID="10" presetClass="entr" presetSubtype="0" fill="hold" grpId="0" nodeType="withEffect">
                                  <p:stCondLst>
                                    <p:cond delay="600"/>
                                  </p:stCondLst>
                                  <p:childTnLst>
                                    <p:set>
                                      <p:cBhvr>
                                        <p:cTn id="72" dur="1" fill="hold">
                                          <p:stCondLst>
                                            <p:cond delay="0"/>
                                          </p:stCondLst>
                                        </p:cTn>
                                        <p:tgtEl>
                                          <p:spTgt spid="24595"/>
                                        </p:tgtEl>
                                        <p:attrNameLst>
                                          <p:attrName>style.visibility</p:attrName>
                                        </p:attrNameLst>
                                      </p:cBhvr>
                                      <p:to>
                                        <p:strVal val="visible"/>
                                      </p:to>
                                    </p:set>
                                    <p:animEffect transition="in" filter="fade">
                                      <p:cBhvr>
                                        <p:cTn id="73" dur="500"/>
                                        <p:tgtEl>
                                          <p:spTgt spid="24595"/>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24596">
                                            <p:txEl>
                                              <p:pRg st="0" end="0"/>
                                            </p:txEl>
                                          </p:spTgt>
                                        </p:tgtEl>
                                        <p:attrNameLst>
                                          <p:attrName>style.visibility</p:attrName>
                                        </p:attrNameLst>
                                      </p:cBhvr>
                                      <p:to>
                                        <p:strVal val="visible"/>
                                      </p:to>
                                    </p:set>
                                    <p:animEffect transition="in" filter="fade">
                                      <p:cBhvr>
                                        <p:cTn id="76" dur="500"/>
                                        <p:tgtEl>
                                          <p:spTgt spid="24596">
                                            <p:txEl>
                                              <p:pRg st="0" end="0"/>
                                            </p:txEl>
                                          </p:spTgt>
                                        </p:tgtEl>
                                      </p:cBhvr>
                                    </p:animEffect>
                                  </p:childTnLst>
                                </p:cTn>
                              </p:par>
                              <p:par>
                                <p:cTn id="77" presetID="10" presetClass="entr" presetSubtype="0" fill="hold" grpId="0" nodeType="withEffect">
                                  <p:stCondLst>
                                    <p:cond delay="1300"/>
                                  </p:stCondLst>
                                  <p:childTnLst>
                                    <p:set>
                                      <p:cBhvr>
                                        <p:cTn id="78" dur="1" fill="hold">
                                          <p:stCondLst>
                                            <p:cond delay="0"/>
                                          </p:stCondLst>
                                        </p:cTn>
                                        <p:tgtEl>
                                          <p:spTgt spid="24597"/>
                                        </p:tgtEl>
                                        <p:attrNameLst>
                                          <p:attrName>style.visibility</p:attrName>
                                        </p:attrNameLst>
                                      </p:cBhvr>
                                      <p:to>
                                        <p:strVal val="visible"/>
                                      </p:to>
                                    </p:set>
                                    <p:animEffect transition="in" filter="fade">
                                      <p:cBhvr>
                                        <p:cTn id="79" dur="500"/>
                                        <p:tgtEl>
                                          <p:spTgt spid="24597"/>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4598"/>
                                        </p:tgtEl>
                                        <p:attrNameLst>
                                          <p:attrName>style.visibility</p:attrName>
                                        </p:attrNameLst>
                                      </p:cBhvr>
                                      <p:to>
                                        <p:strVal val="visible"/>
                                      </p:to>
                                    </p:set>
                                    <p:animEffect transition="in" filter="fade">
                                      <p:cBhvr>
                                        <p:cTn id="84" dur="500"/>
                                        <p:tgtEl>
                                          <p:spTgt spid="24598"/>
                                        </p:tgtEl>
                                      </p:cBhvr>
                                    </p:animEffect>
                                  </p:childTnLst>
                                </p:cTn>
                              </p:par>
                              <p:par>
                                <p:cTn id="85" presetID="10" presetClass="entr" presetSubtype="0" fill="hold" grpId="0" nodeType="withEffect">
                                  <p:stCondLst>
                                    <p:cond delay="300"/>
                                  </p:stCondLst>
                                  <p:childTnLst>
                                    <p:set>
                                      <p:cBhvr>
                                        <p:cTn id="86" dur="1" fill="hold">
                                          <p:stCondLst>
                                            <p:cond delay="0"/>
                                          </p:stCondLst>
                                        </p:cTn>
                                        <p:tgtEl>
                                          <p:spTgt spid="24599"/>
                                        </p:tgtEl>
                                        <p:attrNameLst>
                                          <p:attrName>style.visibility</p:attrName>
                                        </p:attrNameLst>
                                      </p:cBhvr>
                                      <p:to>
                                        <p:strVal val="visible"/>
                                      </p:to>
                                    </p:set>
                                    <p:animEffect transition="in" filter="fade">
                                      <p:cBhvr>
                                        <p:cTn id="87" dur="500"/>
                                        <p:tgtEl>
                                          <p:spTgt spid="245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80" grpId="0" animBg="1"/>
      <p:bldP spid="24581" grpId="0" build="p" animBg="1"/>
      <p:bldP spid="24582" grpId="0" animBg="1" autoUpdateAnimBg="0"/>
      <p:bldP spid="24583" grpId="0" animBg="1"/>
      <p:bldP spid="24584" grpId="0" animBg="1"/>
      <p:bldP spid="24585" grpId="0" animBg="1"/>
      <p:bldP spid="24586" grpId="0" build="p" animBg="1"/>
      <p:bldP spid="24587" grpId="0" animBg="1" autoUpdateAnimBg="0"/>
      <p:bldP spid="24588" grpId="0" animBg="1"/>
      <p:bldP spid="24589" grpId="0" animBg="1"/>
      <p:bldP spid="24590" grpId="0" animBg="1"/>
      <p:bldP spid="24591" grpId="0" build="p" animBg="1"/>
      <p:bldP spid="24592" grpId="0" animBg="1" autoUpdateAnimBg="0"/>
      <p:bldP spid="24593" grpId="0"/>
      <p:bldP spid="24594" grpId="0"/>
      <p:bldP spid="24595" grpId="0"/>
      <p:bldP spid="24596" grpId="0" build="p"/>
      <p:bldP spid="24597" grpId="0"/>
      <p:bldP spid="24598" grpId="0"/>
      <p:bldP spid="2459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arrie"/>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039985" y="2095644"/>
            <a:ext cx="4291677" cy="2332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rrie"/>
          <p:cNvSpPr txBox="1">
            <a:spLocks noChangeArrowheads="1"/>
          </p:cNvSpPr>
          <p:nvPr/>
        </p:nvSpPr>
        <p:spPr bwMode="auto">
          <a:xfrm>
            <a:off x="2796943" y="4654967"/>
            <a:ext cx="1782529" cy="326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defTabSz="696595">
              <a:lnSpc>
                <a:spcPct val="100000"/>
              </a:lnSpc>
              <a:spcBef>
                <a:spcPct val="0"/>
              </a:spcBef>
              <a:buNone/>
            </a:pPr>
            <a:r>
              <a:rPr lang="zh-CN" altLang="en-US" sz="1525" dirty="0">
                <a:solidFill>
                  <a:schemeClr val="accent1"/>
                </a:solidFill>
                <a:latin typeface="+mn-lt"/>
                <a:ea typeface="+mn-ea"/>
                <a:cs typeface="+mn-ea"/>
                <a:sym typeface="+mn-lt"/>
              </a:rPr>
              <a:t>添加您的标题</a:t>
            </a:r>
          </a:p>
        </p:txBody>
      </p:sp>
      <p:sp>
        <p:nvSpPr>
          <p:cNvPr id="8" name="carrie"/>
          <p:cNvSpPr txBox="1">
            <a:spLocks noChangeArrowheads="1"/>
          </p:cNvSpPr>
          <p:nvPr/>
        </p:nvSpPr>
        <p:spPr bwMode="auto">
          <a:xfrm>
            <a:off x="864355" y="4924962"/>
            <a:ext cx="4570100" cy="584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defTabSz="696595">
              <a:lnSpc>
                <a:spcPct val="100000"/>
              </a:lnSpc>
              <a:spcBef>
                <a:spcPct val="0"/>
              </a:spcBef>
              <a:buNone/>
            </a:pPr>
            <a:r>
              <a:rPr lang="zh-CN" altLang="en-US" sz="1065" dirty="0">
                <a:solidFill>
                  <a:schemeClr val="tx1">
                    <a:lumMod val="50000"/>
                    <a:lumOff val="50000"/>
                  </a:schemeClr>
                </a:solidFill>
                <a:latin typeface="+mn-lt"/>
                <a:ea typeface="+mn-ea"/>
                <a:cs typeface="+mn-ea"/>
                <a:sym typeface="+mn-lt"/>
              </a:rPr>
              <a:t>我曾经欣赏过生命绚丽，也曾经低迷于生命价值的暗淡。在我的生命里似有似无的缺少了一种最安和的色彩，而这种色彩，非后天所能弥补，那是在初起之中而生成。矛盾在人人之中皆有，只是浅与深的缘故。</a:t>
            </a:r>
            <a:endParaRPr lang="zh-CN" altLang="en-US" sz="1065" u="sng" dirty="0">
              <a:solidFill>
                <a:schemeClr val="tx1">
                  <a:lumMod val="50000"/>
                  <a:lumOff val="50000"/>
                </a:schemeClr>
              </a:solidFill>
              <a:latin typeface="+mn-lt"/>
              <a:ea typeface="+mn-ea"/>
              <a:cs typeface="+mn-ea"/>
              <a:sym typeface="+mn-lt"/>
            </a:endParaRPr>
          </a:p>
        </p:txBody>
      </p:sp>
      <p:cxnSp>
        <p:nvCxnSpPr>
          <p:cNvPr id="9" name="carrie"/>
          <p:cNvCxnSpPr/>
          <p:nvPr/>
        </p:nvCxnSpPr>
        <p:spPr>
          <a:xfrm>
            <a:off x="5966551" y="2001781"/>
            <a:ext cx="0" cy="2412582"/>
          </a:xfrm>
          <a:prstGeom prst="line">
            <a:avLst/>
          </a:prstGeom>
          <a:noFill/>
          <a:ln w="0" cap="flat" cmpd="sng" algn="ctr">
            <a:solidFill>
              <a:srgbClr val="006666"/>
            </a:solidFill>
            <a:prstDash val="dashDot"/>
            <a:miter lim="800000"/>
          </a:ln>
          <a:effectLst/>
        </p:spPr>
      </p:cxnSp>
      <p:sp>
        <p:nvSpPr>
          <p:cNvPr id="48" name="矩形 1"/>
          <p:cNvSpPr>
            <a:spLocks noChangeArrowheads="1"/>
          </p:cNvSpPr>
          <p:nvPr/>
        </p:nvSpPr>
        <p:spPr bwMode="auto">
          <a:xfrm>
            <a:off x="6274432" y="2001781"/>
            <a:ext cx="3270333" cy="984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8" tIns="60954" rIns="121908" bIns="60954">
            <a:spAutoFit/>
          </a:bodyPr>
          <a:lstStyle/>
          <a:p>
            <a:pPr algn="just">
              <a:defRPr/>
            </a:pPr>
            <a:r>
              <a:rPr lang="zh-CN" altLang="en-US" sz="1400" dirty="0">
                <a:solidFill>
                  <a:schemeClr val="tx1">
                    <a:lumMod val="50000"/>
                    <a:lumOff val="50000"/>
                  </a:schemeClr>
                </a:solidFill>
                <a:cs typeface="+mn-ea"/>
                <a:sym typeface="+mn-lt"/>
              </a:rPr>
              <a:t>请在此处输入您的文本，或者复制您的文本粘贴到此处请在此处请在此处输入您的文本，或者复制您的文本粘贴请在此处输入您的文本，</a:t>
            </a:r>
            <a:endParaRPr lang="zh-CN" altLang="en-US" sz="1400" kern="0" dirty="0">
              <a:solidFill>
                <a:schemeClr val="tx1">
                  <a:lumMod val="50000"/>
                  <a:lumOff val="50000"/>
                </a:schemeClr>
              </a:solidFill>
              <a:cs typeface="+mn-ea"/>
              <a:sym typeface="+mn-lt"/>
            </a:endParaRPr>
          </a:p>
        </p:txBody>
      </p:sp>
      <p:sp>
        <p:nvSpPr>
          <p:cNvPr id="49" name="矩形 1"/>
          <p:cNvSpPr>
            <a:spLocks noChangeArrowheads="1"/>
          </p:cNvSpPr>
          <p:nvPr/>
        </p:nvSpPr>
        <p:spPr bwMode="auto">
          <a:xfrm>
            <a:off x="6274432" y="3429490"/>
            <a:ext cx="3270333" cy="984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08" tIns="60954" rIns="121908" bIns="60954">
            <a:spAutoFit/>
          </a:bodyPr>
          <a:lstStyle/>
          <a:p>
            <a:pPr algn="just">
              <a:defRPr/>
            </a:pPr>
            <a:r>
              <a:rPr lang="zh-CN" altLang="en-US" sz="1400" dirty="0">
                <a:solidFill>
                  <a:schemeClr val="tx1">
                    <a:lumMod val="50000"/>
                    <a:lumOff val="50000"/>
                  </a:schemeClr>
                </a:solidFill>
                <a:cs typeface="+mn-ea"/>
                <a:sym typeface="+mn-lt"/>
              </a:rPr>
              <a:t>请在此处输入您的文本，或者复制您的文本粘贴到此处请在此处请在此处输入您的文本，或者复制您的文本粘贴请在此处输入您的文本，</a:t>
            </a:r>
            <a:endParaRPr lang="zh-CN" altLang="en-US" sz="1400" kern="0" dirty="0">
              <a:solidFill>
                <a:schemeClr val="tx1">
                  <a:lumMod val="50000"/>
                  <a:lumOff val="50000"/>
                </a:schemeClr>
              </a:solidFill>
              <a:cs typeface="+mn-ea"/>
              <a:sym typeface="+mn-lt"/>
            </a:endParaRPr>
          </a:p>
        </p:txBody>
      </p:sp>
    </p:spTree>
  </p:cSld>
  <p:clrMapOvr>
    <a:masterClrMapping/>
  </p:clrMapOvr>
  <p:transition spd="slow" advClick="0" advTm="3000">
    <p:push dir="u"/>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12" presetClass="entr" presetSubtype="4"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p:tgtEl>
                                              <p:spTgt spid="7"/>
                                            </p:tgtEl>
                                            <p:attrNameLst>
                                              <p:attrName>ppt_y</p:attrName>
                                            </p:attrNameLst>
                                          </p:cBhvr>
                                          <p:tavLst>
                                            <p:tav tm="0">
                                              <p:val>
                                                <p:strVal val="#ppt_y+#ppt_h*1.125000"/>
                                              </p:val>
                                            </p:tav>
                                            <p:tav tm="100000">
                                              <p:val>
                                                <p:strVal val="#ppt_y"/>
                                              </p:val>
                                            </p:tav>
                                          </p:tavLst>
                                        </p:anim>
                                        <p:animEffect transition="in" filter="wipe(up)">
                                          <p:cBhvr>
                                            <p:cTn id="14" dur="500"/>
                                            <p:tgtEl>
                                              <p:spTgt spid="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2000"/>
                                </p:stCondLst>
                                <p:childTnLst>
                                  <p:par>
                                    <p:cTn id="24" presetID="2" presetClass="entr" presetSubtype="2" fill="hold" grpId="0" nodeType="afterEffect" p14:presetBounceEnd="50000">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14:bounceEnd="50000">
                                          <p:cBhvr additive="base">
                                            <p:cTn id="26" dur="300" fill="hold"/>
                                            <p:tgtEl>
                                              <p:spTgt spid="48"/>
                                            </p:tgtEl>
                                            <p:attrNameLst>
                                              <p:attrName>ppt_x</p:attrName>
                                            </p:attrNameLst>
                                          </p:cBhvr>
                                          <p:tavLst>
                                            <p:tav tm="0">
                                              <p:val>
                                                <p:strVal val="1+#ppt_w/2"/>
                                              </p:val>
                                            </p:tav>
                                            <p:tav tm="100000">
                                              <p:val>
                                                <p:strVal val="#ppt_x"/>
                                              </p:val>
                                            </p:tav>
                                          </p:tavLst>
                                        </p:anim>
                                        <p:anim calcmode="lin" valueType="num" p14:bounceEnd="50000">
                                          <p:cBhvr additive="base">
                                            <p:cTn id="27" dur="300" fill="hold"/>
                                            <p:tgtEl>
                                              <p:spTgt spid="48"/>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14:presetBounceEnd="50000">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14:bounceEnd="50000">
                                          <p:cBhvr additive="base">
                                            <p:cTn id="31" dur="300" fill="hold"/>
                                            <p:tgtEl>
                                              <p:spTgt spid="49"/>
                                            </p:tgtEl>
                                            <p:attrNameLst>
                                              <p:attrName>ppt_x</p:attrName>
                                            </p:attrNameLst>
                                          </p:cBhvr>
                                          <p:tavLst>
                                            <p:tav tm="0">
                                              <p:val>
                                                <p:strVal val="1+#ppt_w/2"/>
                                              </p:val>
                                            </p:tav>
                                            <p:tav tm="100000">
                                              <p:val>
                                                <p:strVal val="#ppt_x"/>
                                              </p:val>
                                            </p:tav>
                                          </p:tavLst>
                                        </p:anim>
                                        <p:anim calcmode="lin" valueType="num" p14:bounceEnd="50000">
                                          <p:cBhvr additive="base">
                                            <p:cTn id="32" dur="300" fill="hold"/>
                                            <p:tgtEl>
                                              <p:spTgt spid="4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48" grpId="0"/>
          <p:bldP spid="4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12" presetClass="entr" presetSubtype="4"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p:tgtEl>
                                              <p:spTgt spid="7"/>
                                            </p:tgtEl>
                                            <p:attrNameLst>
                                              <p:attrName>ppt_y</p:attrName>
                                            </p:attrNameLst>
                                          </p:cBhvr>
                                          <p:tavLst>
                                            <p:tav tm="0">
                                              <p:val>
                                                <p:strVal val="#ppt_y+#ppt_h*1.125000"/>
                                              </p:val>
                                            </p:tav>
                                            <p:tav tm="100000">
                                              <p:val>
                                                <p:strVal val="#ppt_y"/>
                                              </p:val>
                                            </p:tav>
                                          </p:tavLst>
                                        </p:anim>
                                        <p:animEffect transition="in" filter="wipe(up)">
                                          <p:cBhvr>
                                            <p:cTn id="14" dur="500"/>
                                            <p:tgtEl>
                                              <p:spTgt spid="7"/>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cBhvr additive="base">
                                            <p:cTn id="26" dur="300" fill="hold"/>
                                            <p:tgtEl>
                                              <p:spTgt spid="48"/>
                                            </p:tgtEl>
                                            <p:attrNameLst>
                                              <p:attrName>ppt_x</p:attrName>
                                            </p:attrNameLst>
                                          </p:cBhvr>
                                          <p:tavLst>
                                            <p:tav tm="0">
                                              <p:val>
                                                <p:strVal val="1+#ppt_w/2"/>
                                              </p:val>
                                            </p:tav>
                                            <p:tav tm="100000">
                                              <p:val>
                                                <p:strVal val="#ppt_x"/>
                                              </p:val>
                                            </p:tav>
                                          </p:tavLst>
                                        </p:anim>
                                        <p:anim calcmode="lin" valueType="num">
                                          <p:cBhvr additive="base">
                                            <p:cTn id="27" dur="300" fill="hold"/>
                                            <p:tgtEl>
                                              <p:spTgt spid="48"/>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2" presetClass="entr" presetSubtype="2"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300" fill="hold"/>
                                            <p:tgtEl>
                                              <p:spTgt spid="49"/>
                                            </p:tgtEl>
                                            <p:attrNameLst>
                                              <p:attrName>ppt_x</p:attrName>
                                            </p:attrNameLst>
                                          </p:cBhvr>
                                          <p:tavLst>
                                            <p:tav tm="0">
                                              <p:val>
                                                <p:strVal val="1+#ppt_w/2"/>
                                              </p:val>
                                            </p:tav>
                                            <p:tav tm="100000">
                                              <p:val>
                                                <p:strVal val="#ppt_x"/>
                                              </p:val>
                                            </p:tav>
                                          </p:tavLst>
                                        </p:anim>
                                        <p:anim calcmode="lin" valueType="num">
                                          <p:cBhvr additive="base">
                                            <p:cTn id="32" dur="300" fill="hold"/>
                                            <p:tgtEl>
                                              <p:spTgt spid="4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48" grpId="0"/>
          <p:bldP spid="49" grpId="0"/>
        </p:bldLst>
      </p:timing>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advClick="0" advTm="3000">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69"/>
          <p:cNvSpPr>
            <a:spLocks noChangeArrowheads="1"/>
          </p:cNvSpPr>
          <p:nvPr/>
        </p:nvSpPr>
        <p:spPr bwMode="auto">
          <a:xfrm>
            <a:off x="3317412" y="2258460"/>
            <a:ext cx="5376597" cy="111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r>
              <a:rPr lang="zh-CN" altLang="en-US" sz="6665" dirty="0" smtClean="0">
                <a:solidFill>
                  <a:srgbClr val="82B864"/>
                </a:solidFill>
                <a:latin typeface="+mn-lt"/>
                <a:ea typeface="+mn-ea"/>
                <a:cs typeface="+mn-ea"/>
                <a:sym typeface="+mn-lt"/>
              </a:rPr>
              <a:t>添加标题内容</a:t>
            </a:r>
            <a:endParaRPr lang="en-US" altLang="zh-CN" sz="6665" dirty="0">
              <a:solidFill>
                <a:srgbClr val="82B864"/>
              </a:solidFill>
              <a:latin typeface="+mn-lt"/>
              <a:ea typeface="+mn-ea"/>
              <a:cs typeface="+mn-ea"/>
              <a:sym typeface="+mn-lt"/>
            </a:endParaRPr>
          </a:p>
        </p:txBody>
      </p:sp>
      <p:sp>
        <p:nvSpPr>
          <p:cNvPr id="10" name="矩形 70"/>
          <p:cNvSpPr>
            <a:spLocks noChangeArrowheads="1"/>
          </p:cNvSpPr>
          <p:nvPr/>
        </p:nvSpPr>
        <p:spPr bwMode="auto">
          <a:xfrm>
            <a:off x="3557438" y="3376779"/>
            <a:ext cx="4896544"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zh-CN" altLang="en-US" sz="1465" dirty="0">
                <a:solidFill>
                  <a:srgbClr val="82B864"/>
                </a:solidFill>
                <a:latin typeface="+mn-lt"/>
                <a:ea typeface="+mn-ea"/>
                <a:cs typeface="+mn-ea"/>
                <a:sym typeface="+mn-lt"/>
              </a:rPr>
              <a:t>在此处添加文字，在此处添加文字，在此处添加文字</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6240" y="656692"/>
            <a:ext cx="2918940" cy="1445877"/>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3358778" y="2930704"/>
            <a:ext cx="6743700" cy="2273300"/>
          </a:xfrm>
          <a:prstGeom prst="rect">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04" y="2033054"/>
            <a:ext cx="4722621" cy="2600713"/>
          </a:xfrm>
          <a:prstGeom prst="rect">
            <a:avLst/>
          </a:prstGeom>
          <a:effectLst>
            <a:outerShdw blurRad="50800" dist="38100" dir="2700000" algn="tl" rotWithShape="0">
              <a:schemeClr val="tx1">
                <a:lumMod val="50000"/>
                <a:lumOff val="50000"/>
                <a:alpha val="40000"/>
              </a:schemeClr>
            </a:outerShdw>
          </a:effectLst>
        </p:spPr>
      </p:pic>
      <p:sp>
        <p:nvSpPr>
          <p:cNvPr id="4" name="文本框 3"/>
          <p:cNvSpPr txBox="1"/>
          <p:nvPr/>
        </p:nvSpPr>
        <p:spPr>
          <a:xfrm>
            <a:off x="5996842" y="3124722"/>
            <a:ext cx="3453219" cy="1015663"/>
          </a:xfrm>
          <a:prstGeom prst="rect">
            <a:avLst/>
          </a:prstGeom>
          <a:noFill/>
        </p:spPr>
        <p:txBody>
          <a:bodyPr wrap="square" rtlCol="0">
            <a:spAutoFit/>
          </a:bodyPr>
          <a:lstStyle/>
          <a:p>
            <a:pPr algn="just">
              <a:lnSpc>
                <a:spcPct val="125000"/>
              </a:lnSpc>
            </a:pPr>
            <a:r>
              <a:rPr lang="zh-CN" altLang="en-US" sz="1200" dirty="0">
                <a:solidFill>
                  <a:schemeClr val="bg1"/>
                </a:solidFill>
                <a:cs typeface="+mn-ea"/>
                <a:sym typeface="+mn-lt"/>
              </a:rPr>
              <a:t>点击文本框即可进行编辑输入相关内容点击文本框即可进行编辑输入相关内容点击文本框即可进行编辑输入相关内容点击文本框即可进行编辑输入相关内容</a:t>
            </a:r>
          </a:p>
        </p:txBody>
      </p:sp>
      <p:sp>
        <p:nvSpPr>
          <p:cNvPr id="5" name="TextBox 38"/>
          <p:cNvSpPr txBox="1"/>
          <p:nvPr/>
        </p:nvSpPr>
        <p:spPr>
          <a:xfrm>
            <a:off x="6060036" y="4254575"/>
            <a:ext cx="3314944" cy="738664"/>
          </a:xfrm>
          <a:prstGeom prst="rect">
            <a:avLst/>
          </a:prstGeom>
          <a:noFill/>
        </p:spPr>
        <p:txBody>
          <a:bodyPr wrap="square" lIns="0" tIns="0" rIns="0" bIns="0" rtlCol="0">
            <a:spAutoFit/>
          </a:bodyPr>
          <a:lstStyle/>
          <a:p>
            <a:pPr algn="just"/>
            <a:r>
              <a:rPr lang="en-US" sz="1200" dirty="0">
                <a:solidFill>
                  <a:schemeClr val="bg1"/>
                </a:solidFill>
                <a:cs typeface="+mn-ea"/>
                <a:sym typeface="+mn-lt"/>
              </a:rPr>
              <a:t>PowerPoint offers word processing, outlining, drawing, graphing, and presentation management tools all designed to be easy to use and learn.</a:t>
            </a:r>
            <a:r>
              <a:rPr lang="en-US" altLang="zh-CN" sz="1200" dirty="0">
                <a:solidFill>
                  <a:schemeClr val="bg1"/>
                </a:solidFill>
                <a:cs typeface="+mn-ea"/>
                <a:sym typeface="+mn-lt"/>
              </a:rPr>
              <a:t> </a:t>
            </a:r>
            <a:endParaRPr lang="en-US" sz="1200" dirty="0">
              <a:solidFill>
                <a:schemeClr val="bg1"/>
              </a:solidFill>
              <a:cs typeface="+mn-ea"/>
              <a:sym typeface="+mn-lt"/>
            </a:endParaRPr>
          </a:p>
        </p:txBody>
      </p:sp>
    </p:spTree>
  </p:cSld>
  <p:clrMapOvr>
    <a:masterClrMapping/>
  </p:clrMapOvr>
  <p:transition spd="slow" advClick="0" advTm="3000">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205980" y="2404494"/>
            <a:ext cx="6601479" cy="4453506"/>
            <a:chOff x="1681162" y="362598"/>
            <a:chExt cx="9144000" cy="6168748"/>
          </a:xfrm>
          <a:solidFill>
            <a:srgbClr val="006FBC"/>
          </a:solidFill>
        </p:grpSpPr>
        <p:grpSp>
          <p:nvGrpSpPr>
            <p:cNvPr id="3" name="Group 27"/>
            <p:cNvGrpSpPr/>
            <p:nvPr/>
          </p:nvGrpSpPr>
          <p:grpSpPr>
            <a:xfrm>
              <a:off x="4725702" y="362598"/>
              <a:ext cx="2730885" cy="5011089"/>
              <a:chOff x="4725702" y="362598"/>
              <a:chExt cx="2730885" cy="5011089"/>
            </a:xfrm>
            <a:grpFill/>
          </p:grpSpPr>
          <p:sp>
            <p:nvSpPr>
              <p:cNvPr id="27" name="圆角矩形 25"/>
              <p:cNvSpPr/>
              <p:nvPr/>
            </p:nvSpPr>
            <p:spPr>
              <a:xfrm rot="21227758">
                <a:off x="6529501" y="1826103"/>
                <a:ext cx="231270" cy="3547584"/>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8" name="圆角矩形 33"/>
              <p:cNvSpPr/>
              <p:nvPr/>
            </p:nvSpPr>
            <p:spPr>
              <a:xfrm rot="21355189">
                <a:off x="4725702" y="362598"/>
                <a:ext cx="2730885" cy="952634"/>
              </a:xfrm>
              <a:prstGeom prst="roundRect">
                <a:avLst/>
              </a:prstGeom>
              <a:solidFill>
                <a:srgbClr val="82B864"/>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9" name="TextBox 19"/>
              <p:cNvSpPr txBox="1"/>
              <p:nvPr/>
            </p:nvSpPr>
            <p:spPr>
              <a:xfrm rot="21382029">
                <a:off x="5145682" y="519489"/>
                <a:ext cx="2076547"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4" name="Group 26"/>
            <p:cNvGrpSpPr/>
            <p:nvPr/>
          </p:nvGrpSpPr>
          <p:grpSpPr>
            <a:xfrm>
              <a:off x="3656240" y="1356735"/>
              <a:ext cx="2730885" cy="4038327"/>
              <a:chOff x="3656241" y="1356736"/>
              <a:chExt cx="2730885" cy="4038328"/>
            </a:xfrm>
            <a:grpFill/>
          </p:grpSpPr>
          <p:sp>
            <p:nvSpPr>
              <p:cNvPr id="24" name="圆角矩形 24"/>
              <p:cNvSpPr/>
              <p:nvPr/>
            </p:nvSpPr>
            <p:spPr>
              <a:xfrm rot="20935880">
                <a:off x="5318348" y="1693304"/>
                <a:ext cx="213511" cy="3701760"/>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5" name="圆角矩形 34"/>
              <p:cNvSpPr/>
              <p:nvPr/>
            </p:nvSpPr>
            <p:spPr>
              <a:xfrm rot="20913114">
                <a:off x="3656241" y="1356736"/>
                <a:ext cx="2730885" cy="952634"/>
              </a:xfrm>
              <a:prstGeom prst="roundRect">
                <a:avLst/>
              </a:prstGeom>
              <a:solidFill>
                <a:srgbClr val="7DA97A"/>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6" name="TextBox 18"/>
              <p:cNvSpPr txBox="1"/>
              <p:nvPr/>
            </p:nvSpPr>
            <p:spPr>
              <a:xfrm rot="20890320">
                <a:off x="4250508" y="1517560"/>
                <a:ext cx="1680058"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5" name="Group 28"/>
            <p:cNvGrpSpPr/>
            <p:nvPr/>
          </p:nvGrpSpPr>
          <p:grpSpPr>
            <a:xfrm>
              <a:off x="6121575" y="1343924"/>
              <a:ext cx="2730885" cy="3802703"/>
              <a:chOff x="6121575" y="1343924"/>
              <a:chExt cx="2730885" cy="3802703"/>
            </a:xfrm>
            <a:grpFill/>
          </p:grpSpPr>
          <p:sp>
            <p:nvSpPr>
              <p:cNvPr id="21" name="圆角矩形 26"/>
              <p:cNvSpPr/>
              <p:nvPr/>
            </p:nvSpPr>
            <p:spPr>
              <a:xfrm rot="535245">
                <a:off x="7299201" y="1975280"/>
                <a:ext cx="193681" cy="3171347"/>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2" name="圆角矩形 30"/>
              <p:cNvSpPr/>
              <p:nvPr/>
            </p:nvSpPr>
            <p:spPr>
              <a:xfrm rot="525452">
                <a:off x="6121575" y="1343924"/>
                <a:ext cx="2730885" cy="952634"/>
              </a:xfrm>
              <a:prstGeom prst="roundRect">
                <a:avLst/>
              </a:prstGeom>
              <a:solidFill>
                <a:srgbClr val="7DA97A"/>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3" name="TextBox 20"/>
              <p:cNvSpPr txBox="1"/>
              <p:nvPr/>
            </p:nvSpPr>
            <p:spPr>
              <a:xfrm rot="424164">
                <a:off x="6811431" y="1527690"/>
                <a:ext cx="1353194"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6" name="Group 29"/>
            <p:cNvGrpSpPr/>
            <p:nvPr/>
          </p:nvGrpSpPr>
          <p:grpSpPr>
            <a:xfrm>
              <a:off x="6946900" y="2446364"/>
              <a:ext cx="2730885" cy="3119699"/>
              <a:chOff x="6946900" y="2446365"/>
              <a:chExt cx="2730885" cy="3119700"/>
            </a:xfrm>
            <a:grpFill/>
          </p:grpSpPr>
          <p:sp>
            <p:nvSpPr>
              <p:cNvPr id="18" name="圆角矩形 27"/>
              <p:cNvSpPr/>
              <p:nvPr/>
            </p:nvSpPr>
            <p:spPr>
              <a:xfrm rot="963333">
                <a:off x="7625327" y="2901769"/>
                <a:ext cx="224541" cy="2664296"/>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9" name="圆角矩形 31"/>
              <p:cNvSpPr/>
              <p:nvPr/>
            </p:nvSpPr>
            <p:spPr>
              <a:xfrm rot="1113809">
                <a:off x="6946900" y="2446365"/>
                <a:ext cx="2730885" cy="952634"/>
              </a:xfrm>
              <a:prstGeom prst="roundRect">
                <a:avLst/>
              </a:prstGeom>
              <a:solidFill>
                <a:srgbClr val="7DA97A"/>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20" name="TextBox 21"/>
              <p:cNvSpPr txBox="1"/>
              <p:nvPr/>
            </p:nvSpPr>
            <p:spPr>
              <a:xfrm rot="1111832">
                <a:off x="7612218" y="2678892"/>
                <a:ext cx="1714253"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7" name="Group 24"/>
            <p:cNvGrpSpPr/>
            <p:nvPr/>
          </p:nvGrpSpPr>
          <p:grpSpPr>
            <a:xfrm>
              <a:off x="3020148" y="2648705"/>
              <a:ext cx="2730885" cy="2896018"/>
              <a:chOff x="3020147" y="2648706"/>
              <a:chExt cx="2730885" cy="2896018"/>
            </a:xfrm>
            <a:grpFill/>
          </p:grpSpPr>
          <p:sp>
            <p:nvSpPr>
              <p:cNvPr id="15" name="圆角矩形 23"/>
              <p:cNvSpPr/>
              <p:nvPr/>
            </p:nvSpPr>
            <p:spPr>
              <a:xfrm rot="20935880">
                <a:off x="4538427" y="3178421"/>
                <a:ext cx="193241" cy="2366303"/>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6" name="圆角矩形 28"/>
              <p:cNvSpPr/>
              <p:nvPr/>
            </p:nvSpPr>
            <p:spPr>
              <a:xfrm rot="20913114">
                <a:off x="3020147" y="2648706"/>
                <a:ext cx="2730885" cy="952634"/>
              </a:xfrm>
              <a:prstGeom prst="roundRect">
                <a:avLst/>
              </a:prstGeom>
              <a:solidFill>
                <a:srgbClr val="7DA97A"/>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7" name="TextBox 17"/>
              <p:cNvSpPr txBox="1"/>
              <p:nvPr/>
            </p:nvSpPr>
            <p:spPr>
              <a:xfrm rot="20890320">
                <a:off x="3555349" y="2858158"/>
                <a:ext cx="1353194"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8" name="Group 25"/>
            <p:cNvGrpSpPr/>
            <p:nvPr/>
          </p:nvGrpSpPr>
          <p:grpSpPr>
            <a:xfrm>
              <a:off x="4602398" y="2122328"/>
              <a:ext cx="2730885" cy="3256889"/>
              <a:chOff x="4602398" y="2122329"/>
              <a:chExt cx="2730885" cy="3256890"/>
            </a:xfrm>
            <a:grpFill/>
          </p:grpSpPr>
          <p:sp>
            <p:nvSpPr>
              <p:cNvPr id="12" name="圆角矩形 29"/>
              <p:cNvSpPr/>
              <p:nvPr/>
            </p:nvSpPr>
            <p:spPr>
              <a:xfrm>
                <a:off x="5893122" y="2714923"/>
                <a:ext cx="198022" cy="2664296"/>
              </a:xfrm>
              <a:prstGeom prst="roundRect">
                <a:avLst>
                  <a:gd name="adj" fmla="val 50000"/>
                </a:avLst>
              </a:prstGeom>
              <a:solidFill>
                <a:srgbClr val="7DA97A"/>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3" name="圆角矩形 35"/>
              <p:cNvSpPr/>
              <p:nvPr/>
            </p:nvSpPr>
            <p:spPr>
              <a:xfrm>
                <a:off x="4602398" y="2122329"/>
                <a:ext cx="2730885" cy="952634"/>
              </a:xfrm>
              <a:prstGeom prst="roundRect">
                <a:avLst/>
              </a:prstGeom>
              <a:solidFill>
                <a:srgbClr val="7DA97A"/>
              </a:solidFill>
              <a:ln w="9525" cap="flat" cmpd="sng" algn="ctr">
                <a:solidFill>
                  <a:sysClr val="window" lastClr="FFFFFF"/>
                </a:solidFill>
                <a:prstDash val="solid"/>
              </a:ln>
              <a:effectLst>
                <a:outerShdw blurRad="2540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4" name="TextBox 16"/>
              <p:cNvSpPr txBox="1"/>
              <p:nvPr/>
            </p:nvSpPr>
            <p:spPr>
              <a:xfrm>
                <a:off x="5407963" y="2413304"/>
                <a:ext cx="1353194" cy="605368"/>
              </a:xfrm>
              <a:prstGeom prst="rect">
                <a:avLst/>
              </a:prstGeom>
              <a:noFill/>
            </p:spPr>
            <p:txBody>
              <a:bodyPr wrap="square" rtlCol="0">
                <a:spAutoFit/>
              </a:bodyPr>
              <a:lstStyle/>
              <a:p>
                <a:pPr algn="ctr">
                  <a:lnSpc>
                    <a:spcPct val="80000"/>
                  </a:lnSpc>
                  <a:defRPr/>
                </a:pPr>
                <a:r>
                  <a:rPr lang="en-US" altLang="zh-CN" sz="2800" b="1" kern="0" dirty="0">
                    <a:solidFill>
                      <a:sysClr val="window" lastClr="FFFFFF"/>
                    </a:solidFill>
                    <a:effectLst>
                      <a:outerShdw blurRad="50800" dist="38100" dir="5400000" algn="t" rotWithShape="0">
                        <a:prstClr val="black">
                          <a:alpha val="40000"/>
                        </a:prstClr>
                      </a:outerShdw>
                    </a:effectLst>
                    <a:cs typeface="+mn-ea"/>
                    <a:sym typeface="+mn-lt"/>
                  </a:rPr>
                  <a:t>text</a:t>
                </a:r>
                <a:endParaRPr lang="zh-CN" altLang="en-US" sz="2800" b="1" kern="0" dirty="0">
                  <a:solidFill>
                    <a:sysClr val="window" lastClr="FFFFFF"/>
                  </a:solidFill>
                  <a:effectLst>
                    <a:outerShdw blurRad="50800" dist="38100" dir="5400000" algn="t" rotWithShape="0">
                      <a:prstClr val="black">
                        <a:alpha val="40000"/>
                      </a:prstClr>
                    </a:outerShdw>
                  </a:effectLst>
                  <a:cs typeface="+mn-ea"/>
                  <a:sym typeface="+mn-lt"/>
                </a:endParaRPr>
              </a:p>
            </p:txBody>
          </p:sp>
        </p:grpSp>
        <p:grpSp>
          <p:nvGrpSpPr>
            <p:cNvPr id="9" name="Group 23"/>
            <p:cNvGrpSpPr/>
            <p:nvPr/>
          </p:nvGrpSpPr>
          <p:grpSpPr>
            <a:xfrm>
              <a:off x="1681162" y="4875163"/>
              <a:ext cx="9144000" cy="1656183"/>
              <a:chOff x="1681162" y="4875163"/>
              <a:chExt cx="9144000" cy="1656184"/>
            </a:xfrm>
            <a:grpFill/>
          </p:grpSpPr>
          <p:sp>
            <p:nvSpPr>
              <p:cNvPr id="10" name="矩形 32"/>
              <p:cNvSpPr/>
              <p:nvPr/>
            </p:nvSpPr>
            <p:spPr>
              <a:xfrm>
                <a:off x="1681162" y="4875163"/>
                <a:ext cx="9144000" cy="1656184"/>
              </a:xfrm>
              <a:prstGeom prst="rect">
                <a:avLst/>
              </a:prstGeom>
              <a:solidFill>
                <a:srgbClr val="82B864"/>
              </a:solidFill>
              <a:ln w="25400" cap="flat" cmpd="sng" algn="ctr">
                <a:noFill/>
                <a:prstDash val="solid"/>
              </a:ln>
              <a:effectLst>
                <a:outerShdw blurRad="50800" dist="38100" dir="16200000"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defRPr/>
                </a:pPr>
                <a:endParaRPr lang="en-US" kern="0">
                  <a:solidFill>
                    <a:sysClr val="windowText" lastClr="000000"/>
                  </a:solidFill>
                  <a:cs typeface="+mn-ea"/>
                  <a:sym typeface="+mn-lt"/>
                </a:endParaRPr>
              </a:p>
            </p:txBody>
          </p:sp>
          <p:sp>
            <p:nvSpPr>
              <p:cNvPr id="11" name="TextBox 22"/>
              <p:cNvSpPr txBox="1"/>
              <p:nvPr/>
            </p:nvSpPr>
            <p:spPr>
              <a:xfrm>
                <a:off x="2872202" y="5243535"/>
                <a:ext cx="6385539" cy="922351"/>
              </a:xfrm>
              <a:prstGeom prst="rect">
                <a:avLst/>
              </a:prstGeom>
              <a:noFill/>
            </p:spPr>
            <p:txBody>
              <a:bodyPr wrap="square" rtlCol="0">
                <a:spAutoFit/>
              </a:bodyPr>
              <a:lstStyle>
                <a:defPPr>
                  <a:defRPr lang="en-US"/>
                </a:defPPr>
                <a:lvl1pPr>
                  <a:lnSpc>
                    <a:spcPct val="130000"/>
                  </a:lnSpc>
                  <a:defRPr sz="5400" b="1">
                    <a:solidFill>
                      <a:schemeClr val="tx1">
                        <a:lumMod val="65000"/>
                        <a:lumOff val="35000"/>
                      </a:schemeClr>
                    </a:solidFill>
                    <a:latin typeface="Agency FB" panose="020B0503020202020204" pitchFamily="34" charset="0"/>
                    <a:ea typeface="微软雅黑" panose="020B0503020204020204" pitchFamily="34" charset="-122"/>
                    <a:cs typeface="Calibri" panose="020F0502020204030204" pitchFamily="34" charset="0"/>
                  </a:defRPr>
                </a:lvl1pPr>
              </a:lstStyle>
              <a:p>
                <a:pPr algn="ctr">
                  <a:defRPr/>
                </a:pPr>
                <a:r>
                  <a:rPr lang="en-US" altLang="zh-CN" sz="3200" kern="0" dirty="0">
                    <a:solidFill>
                      <a:schemeClr val="bg1"/>
                    </a:solidFill>
                    <a:effectLst>
                      <a:outerShdw dist="38100" dir="5400000" algn="t" rotWithShape="0">
                        <a:sysClr val="window" lastClr="FFFFFF">
                          <a:alpha val="48000"/>
                        </a:sysClr>
                      </a:outerShdw>
                    </a:effectLst>
                    <a:latin typeface="+mn-lt"/>
                    <a:ea typeface="+mn-ea"/>
                    <a:cs typeface="+mn-ea"/>
                    <a:sym typeface="+mn-lt"/>
                  </a:rPr>
                  <a:t>Add title</a:t>
                </a:r>
                <a:endParaRPr lang="zh-CN" altLang="en-US" sz="3200" kern="0" dirty="0">
                  <a:solidFill>
                    <a:schemeClr val="bg1"/>
                  </a:solidFill>
                  <a:effectLst>
                    <a:outerShdw dist="38100" dir="5400000" algn="t" rotWithShape="0">
                      <a:sysClr val="window" lastClr="FFFFFF">
                        <a:alpha val="48000"/>
                      </a:sysClr>
                    </a:outerShdw>
                  </a:effectLst>
                  <a:latin typeface="+mn-lt"/>
                  <a:ea typeface="+mn-ea"/>
                  <a:cs typeface="+mn-ea"/>
                  <a:sym typeface="+mn-lt"/>
                </a:endParaRPr>
              </a:p>
            </p:txBody>
          </p:sp>
        </p:grpSp>
      </p:grpSp>
      <p:sp>
        <p:nvSpPr>
          <p:cNvPr id="30" name="文本框 29"/>
          <p:cNvSpPr txBox="1"/>
          <p:nvPr/>
        </p:nvSpPr>
        <p:spPr>
          <a:xfrm>
            <a:off x="724079" y="2638498"/>
            <a:ext cx="2040593" cy="1708160"/>
          </a:xfrm>
          <a:prstGeom prst="rect">
            <a:avLst/>
          </a:prstGeom>
          <a:noFill/>
        </p:spPr>
        <p:txBody>
          <a:bodyPr wrap="square" rtlCol="0">
            <a:spAutoFit/>
          </a:bodyPr>
          <a:lstStyle/>
          <a:p>
            <a:pPr algn="r">
              <a:lnSpc>
                <a:spcPct val="150000"/>
              </a:lnSpc>
            </a:pPr>
            <a:r>
              <a:rPr lang="zh-CN" altLang="en-US" sz="1400"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400" dirty="0">
              <a:solidFill>
                <a:schemeClr val="tx1">
                  <a:lumMod val="50000"/>
                  <a:lumOff val="50000"/>
                </a:schemeClr>
              </a:solidFill>
              <a:cs typeface="+mn-ea"/>
              <a:sym typeface="+mn-lt"/>
            </a:endParaRPr>
          </a:p>
        </p:txBody>
      </p:sp>
      <p:sp>
        <p:nvSpPr>
          <p:cNvPr id="31" name="文本框 30"/>
          <p:cNvSpPr txBox="1"/>
          <p:nvPr/>
        </p:nvSpPr>
        <p:spPr>
          <a:xfrm>
            <a:off x="1404924" y="2316191"/>
            <a:ext cx="1359748" cy="369332"/>
          </a:xfrm>
          <a:prstGeom prst="rect">
            <a:avLst/>
          </a:prstGeom>
          <a:noFill/>
        </p:spPr>
        <p:txBody>
          <a:bodyPr wrap="square" rtlCol="0">
            <a:spAutoFit/>
          </a:bodyPr>
          <a:lstStyle/>
          <a:p>
            <a:pPr algn="r"/>
            <a:r>
              <a:rPr lang="zh-CN" altLang="en-US" sz="1800" dirty="0">
                <a:solidFill>
                  <a:schemeClr val="tx1">
                    <a:lumMod val="75000"/>
                    <a:lumOff val="25000"/>
                  </a:schemeClr>
                </a:solidFill>
                <a:cs typeface="+mn-ea"/>
                <a:sym typeface="+mn-lt"/>
              </a:rPr>
              <a:t>编辑标题</a:t>
            </a:r>
          </a:p>
        </p:txBody>
      </p:sp>
      <p:sp>
        <p:nvSpPr>
          <p:cNvPr id="32" name="文本框 31"/>
          <p:cNvSpPr txBox="1"/>
          <p:nvPr/>
        </p:nvSpPr>
        <p:spPr>
          <a:xfrm>
            <a:off x="8361527" y="2638498"/>
            <a:ext cx="2061764" cy="1708160"/>
          </a:xfrm>
          <a:prstGeom prst="rect">
            <a:avLst/>
          </a:prstGeom>
          <a:noFill/>
        </p:spPr>
        <p:txBody>
          <a:bodyPr wrap="square" rtlCol="0">
            <a:spAutoFit/>
          </a:bodyPr>
          <a:lstStyle/>
          <a:p>
            <a:pPr algn="r">
              <a:lnSpc>
                <a:spcPct val="150000"/>
              </a:lnSpc>
            </a:pPr>
            <a:r>
              <a:rPr lang="zh-CN" altLang="en-US" sz="1400"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400" dirty="0">
              <a:solidFill>
                <a:schemeClr val="tx1">
                  <a:lumMod val="50000"/>
                  <a:lumOff val="50000"/>
                </a:schemeClr>
              </a:solidFill>
              <a:cs typeface="+mn-ea"/>
              <a:sym typeface="+mn-lt"/>
            </a:endParaRPr>
          </a:p>
        </p:txBody>
      </p:sp>
      <p:sp>
        <p:nvSpPr>
          <p:cNvPr id="33" name="文本框 32"/>
          <p:cNvSpPr txBox="1"/>
          <p:nvPr/>
        </p:nvSpPr>
        <p:spPr>
          <a:xfrm>
            <a:off x="8361526" y="2316191"/>
            <a:ext cx="1359748" cy="369332"/>
          </a:xfrm>
          <a:prstGeom prst="rect">
            <a:avLst/>
          </a:prstGeom>
          <a:noFill/>
        </p:spPr>
        <p:txBody>
          <a:bodyPr wrap="square" rtlCol="0">
            <a:spAutoFit/>
          </a:bodyPr>
          <a:lstStyle/>
          <a:p>
            <a:r>
              <a:rPr lang="zh-CN" altLang="en-US" sz="1800" dirty="0">
                <a:solidFill>
                  <a:schemeClr val="tx1">
                    <a:lumMod val="75000"/>
                    <a:lumOff val="25000"/>
                  </a:schemeClr>
                </a:solidFill>
                <a:cs typeface="+mn-ea"/>
                <a:sym typeface="+mn-lt"/>
              </a:rPr>
              <a:t>编辑标题</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1000"/>
                                        <p:tgtEl>
                                          <p:spTgt spid="31"/>
                                        </p:tgtEl>
                                      </p:cBhvr>
                                    </p:animEffect>
                                    <p:anim calcmode="lin" valueType="num">
                                      <p:cBhvr>
                                        <p:cTn id="14" dur="1000" fill="hold"/>
                                        <p:tgtEl>
                                          <p:spTgt spid="31"/>
                                        </p:tgtEl>
                                        <p:attrNameLst>
                                          <p:attrName>ppt_x</p:attrName>
                                        </p:attrNameLst>
                                      </p:cBhvr>
                                      <p:tavLst>
                                        <p:tav tm="0">
                                          <p:val>
                                            <p:strVal val="#ppt_x"/>
                                          </p:val>
                                        </p:tav>
                                        <p:tav tm="100000">
                                          <p:val>
                                            <p:strVal val="#ppt_x"/>
                                          </p:val>
                                        </p:tav>
                                      </p:tavLst>
                                    </p:anim>
                                    <p:anim calcmode="lin" valueType="num">
                                      <p:cBhvr>
                                        <p:cTn id="15" dur="1000" fill="hold"/>
                                        <p:tgtEl>
                                          <p:spTgt spid="31"/>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1000"/>
                                        <p:tgtEl>
                                          <p:spTgt spid="30"/>
                                        </p:tgtEl>
                                      </p:cBhvr>
                                    </p:animEffect>
                                    <p:anim calcmode="lin" valueType="num">
                                      <p:cBhvr>
                                        <p:cTn id="19" dur="1000" fill="hold"/>
                                        <p:tgtEl>
                                          <p:spTgt spid="30"/>
                                        </p:tgtEl>
                                        <p:attrNameLst>
                                          <p:attrName>ppt_x</p:attrName>
                                        </p:attrNameLst>
                                      </p:cBhvr>
                                      <p:tavLst>
                                        <p:tav tm="0">
                                          <p:val>
                                            <p:strVal val="#ppt_x"/>
                                          </p:val>
                                        </p:tav>
                                        <p:tav tm="100000">
                                          <p:val>
                                            <p:strVal val="#ppt_x"/>
                                          </p:val>
                                        </p:tav>
                                      </p:tavLst>
                                    </p:anim>
                                    <p:anim calcmode="lin" valueType="num">
                                      <p:cBhvr>
                                        <p:cTn id="20" dur="1000" fill="hold"/>
                                        <p:tgtEl>
                                          <p:spTgt spid="30"/>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1000"/>
                                        <p:tgtEl>
                                          <p:spTgt spid="33"/>
                                        </p:tgtEl>
                                      </p:cBhvr>
                                    </p:animEffect>
                                    <p:anim calcmode="lin" valueType="num">
                                      <p:cBhvr>
                                        <p:cTn id="25" dur="1000" fill="hold"/>
                                        <p:tgtEl>
                                          <p:spTgt spid="33"/>
                                        </p:tgtEl>
                                        <p:attrNameLst>
                                          <p:attrName>ppt_x</p:attrName>
                                        </p:attrNameLst>
                                      </p:cBhvr>
                                      <p:tavLst>
                                        <p:tav tm="0">
                                          <p:val>
                                            <p:strVal val="#ppt_x"/>
                                          </p:val>
                                        </p:tav>
                                        <p:tav tm="100000">
                                          <p:val>
                                            <p:strVal val="#ppt_x"/>
                                          </p:val>
                                        </p:tav>
                                      </p:tavLst>
                                    </p:anim>
                                    <p:anim calcmode="lin" valueType="num">
                                      <p:cBhvr>
                                        <p:cTn id="26" dur="1000" fill="hold"/>
                                        <p:tgtEl>
                                          <p:spTgt spid="33"/>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1000"/>
                                        <p:tgtEl>
                                          <p:spTgt spid="32"/>
                                        </p:tgtEl>
                                      </p:cBhvr>
                                    </p:animEffect>
                                    <p:anim calcmode="lin" valueType="num">
                                      <p:cBhvr>
                                        <p:cTn id="30" dur="1000" fill="hold"/>
                                        <p:tgtEl>
                                          <p:spTgt spid="32"/>
                                        </p:tgtEl>
                                        <p:attrNameLst>
                                          <p:attrName>ppt_x</p:attrName>
                                        </p:attrNameLst>
                                      </p:cBhvr>
                                      <p:tavLst>
                                        <p:tav tm="0">
                                          <p:val>
                                            <p:strVal val="#ppt_x"/>
                                          </p:val>
                                        </p:tav>
                                        <p:tav tm="100000">
                                          <p:val>
                                            <p:strVal val="#ppt_x"/>
                                          </p:val>
                                        </p:tav>
                                      </p:tavLst>
                                    </p:anim>
                                    <p:anim calcmode="lin" valueType="num">
                                      <p:cBhvr>
                                        <p:cTn id="31"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p:cNvSpPr/>
          <p:nvPr/>
        </p:nvSpPr>
        <p:spPr>
          <a:xfrm>
            <a:off x="4729587" y="2200427"/>
            <a:ext cx="2360930" cy="2361379"/>
          </a:xfrm>
          <a:prstGeom prst="rect">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lIns="86653" tIns="43325" rIns="86653" bIns="43325" rtlCol="0" anchor="ctr"/>
          <a:lstStyle/>
          <a:p>
            <a:pPr algn="ctr"/>
            <a:endParaRPr lang="zh-CN" altLang="en-US" sz="3200">
              <a:cs typeface="+mn-ea"/>
              <a:sym typeface="+mn-lt"/>
            </a:endParaRPr>
          </a:p>
        </p:txBody>
      </p:sp>
      <p:sp>
        <p:nvSpPr>
          <p:cNvPr id="54" name="矩形 53"/>
          <p:cNvSpPr/>
          <p:nvPr/>
        </p:nvSpPr>
        <p:spPr>
          <a:xfrm>
            <a:off x="4182926" y="3742939"/>
            <a:ext cx="546661" cy="818865"/>
          </a:xfrm>
          <a:prstGeom prst="rect">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lIns="86653" tIns="43325" rIns="86653" bIns="43325" rtlCol="0" anchor="ctr"/>
          <a:lstStyle/>
          <a:p>
            <a:pPr algn="ctr"/>
            <a:endParaRPr lang="zh-CN" altLang="en-US" sz="3200">
              <a:cs typeface="+mn-ea"/>
              <a:sym typeface="+mn-lt"/>
            </a:endParaRPr>
          </a:p>
        </p:txBody>
      </p:sp>
      <p:sp>
        <p:nvSpPr>
          <p:cNvPr id="55" name="矩形 54"/>
          <p:cNvSpPr/>
          <p:nvPr/>
        </p:nvSpPr>
        <p:spPr>
          <a:xfrm rot="16200000">
            <a:off x="6415590" y="4425831"/>
            <a:ext cx="546765" cy="818710"/>
          </a:xfrm>
          <a:prstGeom prst="rect">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lIns="86653" tIns="43325" rIns="86653" bIns="43325" rtlCol="0" anchor="ctr"/>
          <a:lstStyle/>
          <a:p>
            <a:pPr algn="ctr"/>
            <a:endParaRPr lang="zh-CN" altLang="en-US" sz="3200">
              <a:cs typeface="+mn-ea"/>
              <a:sym typeface="+mn-lt"/>
            </a:endParaRPr>
          </a:p>
        </p:txBody>
      </p:sp>
      <p:sp>
        <p:nvSpPr>
          <p:cNvPr id="56" name="矩形 55"/>
          <p:cNvSpPr/>
          <p:nvPr/>
        </p:nvSpPr>
        <p:spPr>
          <a:xfrm rot="16200000">
            <a:off x="4870220" y="1526025"/>
            <a:ext cx="546765" cy="818710"/>
          </a:xfrm>
          <a:prstGeom prst="rect">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lIns="86653" tIns="43325" rIns="86653" bIns="43325" rtlCol="0" anchor="ctr"/>
          <a:lstStyle/>
          <a:p>
            <a:pPr algn="ctr"/>
            <a:endParaRPr lang="zh-CN" altLang="en-US" sz="3200">
              <a:cs typeface="+mn-ea"/>
              <a:sym typeface="+mn-lt"/>
            </a:endParaRPr>
          </a:p>
        </p:txBody>
      </p:sp>
      <p:sp>
        <p:nvSpPr>
          <p:cNvPr id="57" name="矩形 56"/>
          <p:cNvSpPr/>
          <p:nvPr/>
        </p:nvSpPr>
        <p:spPr>
          <a:xfrm rot="10800000">
            <a:off x="7081038" y="2194505"/>
            <a:ext cx="546661" cy="818865"/>
          </a:xfrm>
          <a:prstGeom prst="rect">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lIns="86653" tIns="43325" rIns="86653" bIns="43325" rtlCol="0" anchor="ctr"/>
          <a:lstStyle/>
          <a:p>
            <a:pPr algn="ctr"/>
            <a:endParaRPr lang="zh-CN" altLang="en-US" sz="3200">
              <a:cs typeface="+mn-ea"/>
              <a:sym typeface="+mn-lt"/>
            </a:endParaRPr>
          </a:p>
        </p:txBody>
      </p:sp>
      <p:sp>
        <p:nvSpPr>
          <p:cNvPr id="82" name="Freeform 167"/>
          <p:cNvSpPr>
            <a:spLocks noEditPoints="1"/>
          </p:cNvSpPr>
          <p:nvPr/>
        </p:nvSpPr>
        <p:spPr bwMode="auto">
          <a:xfrm>
            <a:off x="5463619" y="2408778"/>
            <a:ext cx="854783" cy="1255544"/>
          </a:xfrm>
          <a:custGeom>
            <a:avLst/>
            <a:gdLst>
              <a:gd name="T0" fmla="*/ 20 w 77"/>
              <a:gd name="T1" fmla="*/ 37 h 113"/>
              <a:gd name="T2" fmla="*/ 20 w 77"/>
              <a:gd name="T3" fmla="*/ 12 h 113"/>
              <a:gd name="T4" fmla="*/ 57 w 77"/>
              <a:gd name="T5" fmla="*/ 12 h 113"/>
              <a:gd name="T6" fmla="*/ 56 w 77"/>
              <a:gd name="T7" fmla="*/ 36 h 113"/>
              <a:gd name="T8" fmla="*/ 52 w 77"/>
              <a:gd name="T9" fmla="*/ 47 h 113"/>
              <a:gd name="T10" fmla="*/ 38 w 77"/>
              <a:gd name="T11" fmla="*/ 54 h 113"/>
              <a:gd name="T12" fmla="*/ 38 w 77"/>
              <a:gd name="T13" fmla="*/ 54 h 113"/>
              <a:gd name="T14" fmla="*/ 25 w 77"/>
              <a:gd name="T15" fmla="*/ 47 h 113"/>
              <a:gd name="T16" fmla="*/ 20 w 77"/>
              <a:gd name="T17" fmla="*/ 37 h 113"/>
              <a:gd name="T18" fmla="*/ 12 w 77"/>
              <a:gd name="T19" fmla="*/ 108 h 113"/>
              <a:gd name="T20" fmla="*/ 66 w 77"/>
              <a:gd name="T21" fmla="*/ 108 h 113"/>
              <a:gd name="T22" fmla="*/ 63 w 77"/>
              <a:gd name="T23" fmla="*/ 113 h 113"/>
              <a:gd name="T24" fmla="*/ 15 w 77"/>
              <a:gd name="T25" fmla="*/ 113 h 113"/>
              <a:gd name="T26" fmla="*/ 12 w 77"/>
              <a:gd name="T27" fmla="*/ 108 h 113"/>
              <a:gd name="T28" fmla="*/ 69 w 77"/>
              <a:gd name="T29" fmla="*/ 67 h 113"/>
              <a:gd name="T30" fmla="*/ 75 w 77"/>
              <a:gd name="T31" fmla="*/ 90 h 113"/>
              <a:gd name="T32" fmla="*/ 67 w 77"/>
              <a:gd name="T33" fmla="*/ 104 h 113"/>
              <a:gd name="T34" fmla="*/ 65 w 77"/>
              <a:gd name="T35" fmla="*/ 104 h 113"/>
              <a:gd name="T36" fmla="*/ 65 w 77"/>
              <a:gd name="T37" fmla="*/ 73 h 113"/>
              <a:gd name="T38" fmla="*/ 41 w 77"/>
              <a:gd name="T39" fmla="*/ 73 h 113"/>
              <a:gd name="T40" fmla="*/ 48 w 77"/>
              <a:gd name="T41" fmla="*/ 57 h 113"/>
              <a:gd name="T42" fmla="*/ 50 w 77"/>
              <a:gd name="T43" fmla="*/ 55 h 113"/>
              <a:gd name="T44" fmla="*/ 64 w 77"/>
              <a:gd name="T45" fmla="*/ 58 h 113"/>
              <a:gd name="T46" fmla="*/ 65 w 77"/>
              <a:gd name="T47" fmla="*/ 58 h 113"/>
              <a:gd name="T48" fmla="*/ 65 w 77"/>
              <a:gd name="T49" fmla="*/ 59 h 113"/>
              <a:gd name="T50" fmla="*/ 69 w 77"/>
              <a:gd name="T51" fmla="*/ 68 h 113"/>
              <a:gd name="T52" fmla="*/ 69 w 77"/>
              <a:gd name="T53" fmla="*/ 67 h 113"/>
              <a:gd name="T54" fmla="*/ 13 w 77"/>
              <a:gd name="T55" fmla="*/ 104 h 113"/>
              <a:gd name="T56" fmla="*/ 10 w 77"/>
              <a:gd name="T57" fmla="*/ 104 h 113"/>
              <a:gd name="T58" fmla="*/ 2 w 77"/>
              <a:gd name="T59" fmla="*/ 90 h 113"/>
              <a:gd name="T60" fmla="*/ 8 w 77"/>
              <a:gd name="T61" fmla="*/ 67 h 113"/>
              <a:gd name="T62" fmla="*/ 13 w 77"/>
              <a:gd name="T63" fmla="*/ 58 h 113"/>
              <a:gd name="T64" fmla="*/ 13 w 77"/>
              <a:gd name="T65" fmla="*/ 58 h 113"/>
              <a:gd name="T66" fmla="*/ 14 w 77"/>
              <a:gd name="T67" fmla="*/ 58 h 113"/>
              <a:gd name="T68" fmla="*/ 27 w 77"/>
              <a:gd name="T69" fmla="*/ 55 h 113"/>
              <a:gd name="T70" fmla="*/ 29 w 77"/>
              <a:gd name="T71" fmla="*/ 57 h 113"/>
              <a:gd name="T72" fmla="*/ 37 w 77"/>
              <a:gd name="T73" fmla="*/ 73 h 113"/>
              <a:gd name="T74" fmla="*/ 13 w 77"/>
              <a:gd name="T75" fmla="*/ 73 h 113"/>
              <a:gd name="T76" fmla="*/ 13 w 77"/>
              <a:gd name="T77" fmla="*/ 10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113">
                <a:moveTo>
                  <a:pt x="20" y="37"/>
                </a:moveTo>
                <a:cubicBezTo>
                  <a:pt x="19" y="28"/>
                  <a:pt x="19" y="19"/>
                  <a:pt x="20" y="12"/>
                </a:cubicBezTo>
                <a:cubicBezTo>
                  <a:pt x="37" y="0"/>
                  <a:pt x="44" y="14"/>
                  <a:pt x="57" y="12"/>
                </a:cubicBezTo>
                <a:cubicBezTo>
                  <a:pt x="58" y="20"/>
                  <a:pt x="58" y="30"/>
                  <a:pt x="56" y="36"/>
                </a:cubicBezTo>
                <a:cubicBezTo>
                  <a:pt x="56" y="41"/>
                  <a:pt x="54" y="44"/>
                  <a:pt x="52" y="47"/>
                </a:cubicBezTo>
                <a:cubicBezTo>
                  <a:pt x="48" y="51"/>
                  <a:pt x="44" y="54"/>
                  <a:pt x="38" y="54"/>
                </a:cubicBezTo>
                <a:cubicBezTo>
                  <a:pt x="38" y="54"/>
                  <a:pt x="38" y="54"/>
                  <a:pt x="38" y="54"/>
                </a:cubicBezTo>
                <a:cubicBezTo>
                  <a:pt x="33" y="54"/>
                  <a:pt x="28" y="51"/>
                  <a:pt x="25" y="47"/>
                </a:cubicBezTo>
                <a:cubicBezTo>
                  <a:pt x="23" y="44"/>
                  <a:pt x="21" y="41"/>
                  <a:pt x="20" y="37"/>
                </a:cubicBezTo>
                <a:close/>
                <a:moveTo>
                  <a:pt x="12" y="108"/>
                </a:moveTo>
                <a:cubicBezTo>
                  <a:pt x="66" y="108"/>
                  <a:pt x="66" y="108"/>
                  <a:pt x="66" y="108"/>
                </a:cubicBezTo>
                <a:cubicBezTo>
                  <a:pt x="63" y="113"/>
                  <a:pt x="63" y="113"/>
                  <a:pt x="63" y="113"/>
                </a:cubicBezTo>
                <a:cubicBezTo>
                  <a:pt x="15" y="113"/>
                  <a:pt x="15" y="113"/>
                  <a:pt x="15" y="113"/>
                </a:cubicBezTo>
                <a:cubicBezTo>
                  <a:pt x="12" y="108"/>
                  <a:pt x="12" y="108"/>
                  <a:pt x="12" y="108"/>
                </a:cubicBezTo>
                <a:close/>
                <a:moveTo>
                  <a:pt x="69" y="67"/>
                </a:moveTo>
                <a:cubicBezTo>
                  <a:pt x="75" y="90"/>
                  <a:pt x="75" y="90"/>
                  <a:pt x="75" y="90"/>
                </a:cubicBezTo>
                <a:cubicBezTo>
                  <a:pt x="77" y="98"/>
                  <a:pt x="76" y="104"/>
                  <a:pt x="67" y="104"/>
                </a:cubicBezTo>
                <a:cubicBezTo>
                  <a:pt x="65" y="104"/>
                  <a:pt x="65" y="104"/>
                  <a:pt x="65" y="104"/>
                </a:cubicBezTo>
                <a:cubicBezTo>
                  <a:pt x="65" y="73"/>
                  <a:pt x="65" y="73"/>
                  <a:pt x="65" y="73"/>
                </a:cubicBezTo>
                <a:cubicBezTo>
                  <a:pt x="41" y="73"/>
                  <a:pt x="41" y="73"/>
                  <a:pt x="41" y="73"/>
                </a:cubicBezTo>
                <a:cubicBezTo>
                  <a:pt x="48" y="57"/>
                  <a:pt x="48" y="57"/>
                  <a:pt x="48" y="57"/>
                </a:cubicBezTo>
                <a:cubicBezTo>
                  <a:pt x="50" y="55"/>
                  <a:pt x="50" y="55"/>
                  <a:pt x="50" y="55"/>
                </a:cubicBezTo>
                <a:cubicBezTo>
                  <a:pt x="64" y="58"/>
                  <a:pt x="64" y="58"/>
                  <a:pt x="64" y="58"/>
                </a:cubicBezTo>
                <a:cubicBezTo>
                  <a:pt x="65" y="58"/>
                  <a:pt x="65" y="58"/>
                  <a:pt x="65" y="58"/>
                </a:cubicBezTo>
                <a:cubicBezTo>
                  <a:pt x="65" y="59"/>
                  <a:pt x="65" y="59"/>
                  <a:pt x="65" y="59"/>
                </a:cubicBezTo>
                <a:cubicBezTo>
                  <a:pt x="67" y="61"/>
                  <a:pt x="68" y="64"/>
                  <a:pt x="69" y="68"/>
                </a:cubicBezTo>
                <a:cubicBezTo>
                  <a:pt x="69" y="67"/>
                  <a:pt x="69" y="67"/>
                  <a:pt x="69" y="67"/>
                </a:cubicBezTo>
                <a:close/>
                <a:moveTo>
                  <a:pt x="13" y="104"/>
                </a:moveTo>
                <a:cubicBezTo>
                  <a:pt x="10" y="104"/>
                  <a:pt x="10" y="104"/>
                  <a:pt x="10" y="104"/>
                </a:cubicBezTo>
                <a:cubicBezTo>
                  <a:pt x="1" y="104"/>
                  <a:pt x="0" y="98"/>
                  <a:pt x="2" y="90"/>
                </a:cubicBezTo>
                <a:cubicBezTo>
                  <a:pt x="8" y="67"/>
                  <a:pt x="8" y="67"/>
                  <a:pt x="8" y="67"/>
                </a:cubicBezTo>
                <a:cubicBezTo>
                  <a:pt x="8" y="64"/>
                  <a:pt x="10" y="61"/>
                  <a:pt x="13" y="58"/>
                </a:cubicBezTo>
                <a:cubicBezTo>
                  <a:pt x="13" y="58"/>
                  <a:pt x="13" y="58"/>
                  <a:pt x="13" y="58"/>
                </a:cubicBezTo>
                <a:cubicBezTo>
                  <a:pt x="14" y="58"/>
                  <a:pt x="14" y="58"/>
                  <a:pt x="14" y="58"/>
                </a:cubicBezTo>
                <a:cubicBezTo>
                  <a:pt x="27" y="55"/>
                  <a:pt x="27" y="55"/>
                  <a:pt x="27" y="55"/>
                </a:cubicBezTo>
                <a:cubicBezTo>
                  <a:pt x="29" y="57"/>
                  <a:pt x="29" y="57"/>
                  <a:pt x="29" y="57"/>
                </a:cubicBezTo>
                <a:cubicBezTo>
                  <a:pt x="37" y="73"/>
                  <a:pt x="37" y="73"/>
                  <a:pt x="37" y="73"/>
                </a:cubicBezTo>
                <a:cubicBezTo>
                  <a:pt x="13" y="73"/>
                  <a:pt x="13" y="73"/>
                  <a:pt x="13" y="73"/>
                </a:cubicBezTo>
                <a:lnTo>
                  <a:pt x="13" y="104"/>
                </a:lnTo>
                <a:close/>
              </a:path>
            </a:pathLst>
          </a:custGeom>
          <a:solidFill>
            <a:schemeClr val="bg1"/>
          </a:solidFill>
          <a:ln>
            <a:noFill/>
          </a:ln>
        </p:spPr>
        <p:txBody>
          <a:bodyPr vert="horz" wrap="square" lIns="91386" tIns="45694" rIns="91386" bIns="45694" numCol="1" anchor="t" anchorCtr="0" compatLnSpc="1"/>
          <a:lstStyle/>
          <a:p>
            <a:endParaRPr lang="zh-CN" altLang="en-US" sz="3200">
              <a:cs typeface="+mn-ea"/>
              <a:sym typeface="+mn-lt"/>
            </a:endParaRPr>
          </a:p>
        </p:txBody>
      </p:sp>
      <p:sp>
        <p:nvSpPr>
          <p:cNvPr id="83" name="文本框 82"/>
          <p:cNvSpPr txBox="1"/>
          <p:nvPr/>
        </p:nvSpPr>
        <p:spPr>
          <a:xfrm>
            <a:off x="4801906" y="3834034"/>
            <a:ext cx="2216297" cy="374626"/>
          </a:xfrm>
          <a:prstGeom prst="rect">
            <a:avLst/>
          </a:prstGeom>
          <a:noFill/>
          <a:ln>
            <a:noFill/>
          </a:ln>
        </p:spPr>
        <p:txBody>
          <a:bodyPr wrap="square" lIns="86653" tIns="43325" rIns="86653" bIns="43325" rtlCol="0">
            <a:spAutoFit/>
          </a:bodyPr>
          <a:lstStyle/>
          <a:p>
            <a:pPr algn="ctr"/>
            <a:r>
              <a:rPr lang="en-US" altLang="zh-CN" sz="1865" dirty="0">
                <a:solidFill>
                  <a:schemeClr val="bg1"/>
                </a:solidFill>
                <a:cs typeface="+mn-ea"/>
                <a:sym typeface="+mn-lt"/>
              </a:rPr>
              <a:t>DIGITALVIDEOS</a:t>
            </a:r>
            <a:endParaRPr lang="zh-CN" altLang="en-US" sz="1865" dirty="0">
              <a:solidFill>
                <a:schemeClr val="bg1"/>
              </a:solidFill>
              <a:cs typeface="+mn-ea"/>
              <a:sym typeface="+mn-lt"/>
            </a:endParaRPr>
          </a:p>
        </p:txBody>
      </p:sp>
      <p:sp>
        <p:nvSpPr>
          <p:cNvPr id="129" name="TextBox 23"/>
          <p:cNvSpPr txBox="1"/>
          <p:nvPr/>
        </p:nvSpPr>
        <p:spPr>
          <a:xfrm>
            <a:off x="7868176" y="2267276"/>
            <a:ext cx="2756355" cy="825583"/>
          </a:xfrm>
          <a:prstGeom prst="rect">
            <a:avLst/>
          </a:prstGeom>
          <a:noFill/>
        </p:spPr>
        <p:txBody>
          <a:bodyPr wrap="square" lIns="86653" tIns="43325" rIns="86653" bIns="43325" rtlCol="0">
            <a:spAutoFit/>
          </a:bodyPr>
          <a:lstStyle/>
          <a:p>
            <a:pPr>
              <a:lnSpc>
                <a:spcPct val="150000"/>
              </a:lnSpc>
            </a:pPr>
            <a:r>
              <a:rPr lang="zh-CN" altLang="en-US" sz="1065"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065" dirty="0">
              <a:solidFill>
                <a:schemeClr val="tx1">
                  <a:lumMod val="50000"/>
                  <a:lumOff val="50000"/>
                </a:schemeClr>
              </a:solidFill>
              <a:cs typeface="+mn-ea"/>
              <a:sym typeface="+mn-lt"/>
            </a:endParaRPr>
          </a:p>
        </p:txBody>
      </p:sp>
      <p:sp>
        <p:nvSpPr>
          <p:cNvPr id="130" name="TextBox 24"/>
          <p:cNvSpPr txBox="1"/>
          <p:nvPr/>
        </p:nvSpPr>
        <p:spPr>
          <a:xfrm>
            <a:off x="8387699" y="1974737"/>
            <a:ext cx="1487858" cy="313071"/>
          </a:xfrm>
          <a:prstGeom prst="rect">
            <a:avLst/>
          </a:prstGeom>
          <a:noFill/>
        </p:spPr>
        <p:txBody>
          <a:bodyPr wrap="none" lIns="86653" tIns="43325" rIns="86653" bIns="43325" rtlCol="0">
            <a:spAutoFit/>
          </a:bodyPr>
          <a:lstStyle/>
          <a:p>
            <a:r>
              <a:rPr lang="zh-CN" altLang="en-US" sz="1465" dirty="0">
                <a:solidFill>
                  <a:schemeClr val="tx1">
                    <a:lumMod val="65000"/>
                    <a:lumOff val="35000"/>
                  </a:schemeClr>
                </a:solidFill>
                <a:cs typeface="+mn-ea"/>
                <a:sym typeface="+mn-lt"/>
              </a:rPr>
              <a:t>请替换文字内容</a:t>
            </a:r>
          </a:p>
        </p:txBody>
      </p:sp>
      <p:sp>
        <p:nvSpPr>
          <p:cNvPr id="131" name="TextBox 23"/>
          <p:cNvSpPr txBox="1"/>
          <p:nvPr/>
        </p:nvSpPr>
        <p:spPr>
          <a:xfrm>
            <a:off x="7868176" y="4710439"/>
            <a:ext cx="2756355" cy="825583"/>
          </a:xfrm>
          <a:prstGeom prst="rect">
            <a:avLst/>
          </a:prstGeom>
          <a:noFill/>
        </p:spPr>
        <p:txBody>
          <a:bodyPr wrap="square" lIns="86653" tIns="43325" rIns="86653" bIns="43325" rtlCol="0">
            <a:spAutoFit/>
          </a:bodyPr>
          <a:lstStyle/>
          <a:p>
            <a:pPr>
              <a:lnSpc>
                <a:spcPct val="150000"/>
              </a:lnSpc>
            </a:pPr>
            <a:r>
              <a:rPr lang="zh-CN" altLang="en-US" sz="1065"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065" dirty="0">
              <a:solidFill>
                <a:schemeClr val="tx1">
                  <a:lumMod val="50000"/>
                  <a:lumOff val="50000"/>
                </a:schemeClr>
              </a:solidFill>
              <a:cs typeface="+mn-ea"/>
              <a:sym typeface="+mn-lt"/>
            </a:endParaRPr>
          </a:p>
        </p:txBody>
      </p:sp>
      <p:sp>
        <p:nvSpPr>
          <p:cNvPr id="132" name="TextBox 24"/>
          <p:cNvSpPr txBox="1"/>
          <p:nvPr/>
        </p:nvSpPr>
        <p:spPr>
          <a:xfrm>
            <a:off x="8387699" y="4417901"/>
            <a:ext cx="1487858" cy="313071"/>
          </a:xfrm>
          <a:prstGeom prst="rect">
            <a:avLst/>
          </a:prstGeom>
          <a:noFill/>
        </p:spPr>
        <p:txBody>
          <a:bodyPr wrap="none" lIns="86653" tIns="43325" rIns="86653" bIns="43325" rtlCol="0">
            <a:spAutoFit/>
          </a:bodyPr>
          <a:lstStyle/>
          <a:p>
            <a:r>
              <a:rPr lang="zh-CN" altLang="en-US" sz="1465" dirty="0">
                <a:solidFill>
                  <a:schemeClr val="tx1">
                    <a:lumMod val="65000"/>
                    <a:lumOff val="35000"/>
                  </a:schemeClr>
                </a:solidFill>
                <a:cs typeface="+mn-ea"/>
                <a:sym typeface="+mn-lt"/>
              </a:rPr>
              <a:t>请替换文字内容</a:t>
            </a:r>
          </a:p>
        </p:txBody>
      </p:sp>
      <p:sp>
        <p:nvSpPr>
          <p:cNvPr id="133" name="TextBox 23"/>
          <p:cNvSpPr txBox="1"/>
          <p:nvPr/>
        </p:nvSpPr>
        <p:spPr>
          <a:xfrm>
            <a:off x="769315" y="2267276"/>
            <a:ext cx="2756355" cy="825583"/>
          </a:xfrm>
          <a:prstGeom prst="rect">
            <a:avLst/>
          </a:prstGeom>
          <a:noFill/>
        </p:spPr>
        <p:txBody>
          <a:bodyPr wrap="square" lIns="86653" tIns="43325" rIns="86653" bIns="43325" rtlCol="0">
            <a:spAutoFit/>
          </a:bodyPr>
          <a:lstStyle/>
          <a:p>
            <a:pPr algn="r">
              <a:lnSpc>
                <a:spcPct val="150000"/>
              </a:lnSpc>
            </a:pPr>
            <a:r>
              <a:rPr lang="zh-CN" altLang="en-US" sz="1065"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065" dirty="0">
              <a:solidFill>
                <a:schemeClr val="tx1">
                  <a:lumMod val="50000"/>
                  <a:lumOff val="50000"/>
                </a:schemeClr>
              </a:solidFill>
              <a:cs typeface="+mn-ea"/>
              <a:sym typeface="+mn-lt"/>
            </a:endParaRPr>
          </a:p>
        </p:txBody>
      </p:sp>
      <p:sp>
        <p:nvSpPr>
          <p:cNvPr id="134" name="TextBox 24"/>
          <p:cNvSpPr txBox="1"/>
          <p:nvPr/>
        </p:nvSpPr>
        <p:spPr>
          <a:xfrm>
            <a:off x="2037812" y="1974737"/>
            <a:ext cx="1487858" cy="313071"/>
          </a:xfrm>
          <a:prstGeom prst="rect">
            <a:avLst/>
          </a:prstGeom>
          <a:noFill/>
        </p:spPr>
        <p:txBody>
          <a:bodyPr wrap="none" lIns="86653" tIns="43325" rIns="86653" bIns="43325" rtlCol="0">
            <a:spAutoFit/>
          </a:bodyPr>
          <a:lstStyle/>
          <a:p>
            <a:pPr algn="r"/>
            <a:r>
              <a:rPr lang="zh-CN" altLang="en-US" sz="1465" dirty="0">
                <a:solidFill>
                  <a:schemeClr val="tx1">
                    <a:lumMod val="65000"/>
                    <a:lumOff val="35000"/>
                  </a:schemeClr>
                </a:solidFill>
                <a:cs typeface="+mn-ea"/>
                <a:sym typeface="+mn-lt"/>
              </a:rPr>
              <a:t>请替换文字内容</a:t>
            </a:r>
          </a:p>
        </p:txBody>
      </p:sp>
      <p:sp>
        <p:nvSpPr>
          <p:cNvPr id="135" name="TextBox 23"/>
          <p:cNvSpPr txBox="1"/>
          <p:nvPr/>
        </p:nvSpPr>
        <p:spPr>
          <a:xfrm>
            <a:off x="769315" y="4710439"/>
            <a:ext cx="2756355" cy="825583"/>
          </a:xfrm>
          <a:prstGeom prst="rect">
            <a:avLst/>
          </a:prstGeom>
          <a:noFill/>
        </p:spPr>
        <p:txBody>
          <a:bodyPr wrap="square" lIns="86653" tIns="43325" rIns="86653" bIns="43325" rtlCol="0">
            <a:spAutoFit/>
          </a:bodyPr>
          <a:lstStyle/>
          <a:p>
            <a:pPr algn="r">
              <a:lnSpc>
                <a:spcPct val="150000"/>
              </a:lnSpc>
            </a:pPr>
            <a:r>
              <a:rPr lang="zh-CN" altLang="en-US" sz="1065" dirty="0">
                <a:solidFill>
                  <a:schemeClr val="tx1">
                    <a:lumMod val="50000"/>
                    <a:lumOff val="50000"/>
                  </a:schemeClr>
                </a:solidFill>
                <a:cs typeface="+mn-ea"/>
                <a:sym typeface="+mn-lt"/>
              </a:rPr>
              <a:t>点击添加相关标题文字，点击添加相关标题文字，点击添加相关标题文字，点击添加相关标题文字，点击添加相关标题文字。</a:t>
            </a:r>
            <a:endParaRPr lang="en-GB" altLang="zh-CN" sz="1065" dirty="0">
              <a:solidFill>
                <a:schemeClr val="tx1">
                  <a:lumMod val="50000"/>
                  <a:lumOff val="50000"/>
                </a:schemeClr>
              </a:solidFill>
              <a:cs typeface="+mn-ea"/>
              <a:sym typeface="+mn-lt"/>
            </a:endParaRPr>
          </a:p>
        </p:txBody>
      </p:sp>
      <p:sp>
        <p:nvSpPr>
          <p:cNvPr id="136" name="TextBox 24"/>
          <p:cNvSpPr txBox="1"/>
          <p:nvPr/>
        </p:nvSpPr>
        <p:spPr>
          <a:xfrm>
            <a:off x="2037812" y="4417901"/>
            <a:ext cx="1487858" cy="313071"/>
          </a:xfrm>
          <a:prstGeom prst="rect">
            <a:avLst/>
          </a:prstGeom>
          <a:noFill/>
        </p:spPr>
        <p:txBody>
          <a:bodyPr wrap="none" lIns="86653" tIns="43325" rIns="86653" bIns="43325" rtlCol="0">
            <a:spAutoFit/>
          </a:bodyPr>
          <a:lstStyle/>
          <a:p>
            <a:pPr algn="r"/>
            <a:r>
              <a:rPr lang="zh-CN" altLang="en-US" sz="1465" dirty="0">
                <a:solidFill>
                  <a:schemeClr val="tx1">
                    <a:lumMod val="65000"/>
                    <a:lumOff val="35000"/>
                  </a:schemeClr>
                </a:solidFill>
                <a:cs typeface="+mn-ea"/>
                <a:sym typeface="+mn-lt"/>
              </a:rPr>
              <a:t>请替换文字内容</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 calcmode="lin" valueType="num">
                                      <p:cBhvr>
                                        <p:cTn id="7" dur="500" fill="hold"/>
                                        <p:tgtEl>
                                          <p:spTgt spid="53"/>
                                        </p:tgtEl>
                                        <p:attrNameLst>
                                          <p:attrName>ppt_w</p:attrName>
                                        </p:attrNameLst>
                                      </p:cBhvr>
                                      <p:tavLst>
                                        <p:tav tm="0">
                                          <p:val>
                                            <p:fltVal val="0"/>
                                          </p:val>
                                        </p:tav>
                                        <p:tav tm="100000">
                                          <p:val>
                                            <p:strVal val="#ppt_w"/>
                                          </p:val>
                                        </p:tav>
                                      </p:tavLst>
                                    </p:anim>
                                    <p:anim calcmode="lin" valueType="num">
                                      <p:cBhvr>
                                        <p:cTn id="8" dur="500" fill="hold"/>
                                        <p:tgtEl>
                                          <p:spTgt spid="53"/>
                                        </p:tgtEl>
                                        <p:attrNameLst>
                                          <p:attrName>ppt_h</p:attrName>
                                        </p:attrNameLst>
                                      </p:cBhvr>
                                      <p:tavLst>
                                        <p:tav tm="0">
                                          <p:val>
                                            <p:fltVal val="0"/>
                                          </p:val>
                                        </p:tav>
                                        <p:tav tm="100000">
                                          <p:val>
                                            <p:strVal val="#ppt_h"/>
                                          </p:val>
                                        </p:tav>
                                      </p:tavLst>
                                    </p:anim>
                                    <p:anim calcmode="lin" valueType="num">
                                      <p:cBhvr>
                                        <p:cTn id="9" dur="500" fill="hold"/>
                                        <p:tgtEl>
                                          <p:spTgt spid="53"/>
                                        </p:tgtEl>
                                        <p:attrNameLst>
                                          <p:attrName>style.rotation</p:attrName>
                                        </p:attrNameLst>
                                      </p:cBhvr>
                                      <p:tavLst>
                                        <p:tav tm="0">
                                          <p:val>
                                            <p:fltVal val="360"/>
                                          </p:val>
                                        </p:tav>
                                        <p:tav tm="100000">
                                          <p:val>
                                            <p:fltVal val="0"/>
                                          </p:val>
                                        </p:tav>
                                      </p:tavLst>
                                    </p:anim>
                                    <p:animEffect transition="in" filter="fade">
                                      <p:cBhvr>
                                        <p:cTn id="10" dur="500"/>
                                        <p:tgtEl>
                                          <p:spTgt spid="53"/>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down)">
                                      <p:cBhvr>
                                        <p:cTn id="14" dur="500"/>
                                        <p:tgtEl>
                                          <p:spTgt spid="56"/>
                                        </p:tgtEl>
                                      </p:cBhvr>
                                    </p:animEffect>
                                  </p:childTnLst>
                                </p:cTn>
                              </p:par>
                              <p:par>
                                <p:cTn id="15" presetID="22" presetClass="entr" presetSubtype="2" fill="hold" grpId="0" nodeType="with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wipe(right)">
                                      <p:cBhvr>
                                        <p:cTn id="17" dur="500"/>
                                        <p:tgtEl>
                                          <p:spTgt spid="54"/>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wipe(up)">
                                      <p:cBhvr>
                                        <p:cTn id="20" dur="500"/>
                                        <p:tgtEl>
                                          <p:spTgt spid="55"/>
                                        </p:tgtEl>
                                      </p:cBhvr>
                                    </p:animEffect>
                                  </p:childTnLst>
                                </p:cTn>
                              </p:par>
                              <p:par>
                                <p:cTn id="21" presetID="22" presetClass="entr" presetSubtype="8"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wipe(left)">
                                      <p:cBhvr>
                                        <p:cTn id="23" dur="500"/>
                                        <p:tgtEl>
                                          <p:spTgt spid="57"/>
                                        </p:tgtEl>
                                      </p:cBhvr>
                                    </p:animEffect>
                                  </p:childTnLst>
                                </p:cTn>
                              </p:par>
                            </p:childTnLst>
                          </p:cTn>
                        </p:par>
                        <p:par>
                          <p:cTn id="24" fill="hold">
                            <p:stCondLst>
                              <p:cond delay="1000"/>
                            </p:stCondLst>
                            <p:childTnLst>
                              <p:par>
                                <p:cTn id="25" presetID="42" presetClass="entr" presetSubtype="0" fill="hold" grpId="0" nodeType="afterEffect">
                                  <p:stCondLst>
                                    <p:cond delay="0"/>
                                  </p:stCondLst>
                                  <p:childTnLst>
                                    <p:set>
                                      <p:cBhvr>
                                        <p:cTn id="26" dur="1" fill="hold">
                                          <p:stCondLst>
                                            <p:cond delay="0"/>
                                          </p:stCondLst>
                                        </p:cTn>
                                        <p:tgtEl>
                                          <p:spTgt spid="82"/>
                                        </p:tgtEl>
                                        <p:attrNameLst>
                                          <p:attrName>style.visibility</p:attrName>
                                        </p:attrNameLst>
                                      </p:cBhvr>
                                      <p:to>
                                        <p:strVal val="visible"/>
                                      </p:to>
                                    </p:set>
                                    <p:animEffect transition="in" filter="fade">
                                      <p:cBhvr>
                                        <p:cTn id="27" dur="500"/>
                                        <p:tgtEl>
                                          <p:spTgt spid="82"/>
                                        </p:tgtEl>
                                      </p:cBhvr>
                                    </p:animEffect>
                                    <p:anim calcmode="lin" valueType="num">
                                      <p:cBhvr>
                                        <p:cTn id="28" dur="500" fill="hold"/>
                                        <p:tgtEl>
                                          <p:spTgt spid="82"/>
                                        </p:tgtEl>
                                        <p:attrNameLst>
                                          <p:attrName>ppt_x</p:attrName>
                                        </p:attrNameLst>
                                      </p:cBhvr>
                                      <p:tavLst>
                                        <p:tav tm="0">
                                          <p:val>
                                            <p:strVal val="#ppt_x"/>
                                          </p:val>
                                        </p:tav>
                                        <p:tav tm="100000">
                                          <p:val>
                                            <p:strVal val="#ppt_x"/>
                                          </p:val>
                                        </p:tav>
                                      </p:tavLst>
                                    </p:anim>
                                    <p:anim calcmode="lin" valueType="num">
                                      <p:cBhvr>
                                        <p:cTn id="29" dur="500" fill="hold"/>
                                        <p:tgtEl>
                                          <p:spTgt spid="82"/>
                                        </p:tgtEl>
                                        <p:attrNameLst>
                                          <p:attrName>ppt_y</p:attrName>
                                        </p:attrNameLst>
                                      </p:cBhvr>
                                      <p:tavLst>
                                        <p:tav tm="0">
                                          <p:val>
                                            <p:strVal val="#ppt_y+.1"/>
                                          </p:val>
                                        </p:tav>
                                        <p:tav tm="100000">
                                          <p:val>
                                            <p:strVal val="#ppt_y"/>
                                          </p:val>
                                        </p:tav>
                                      </p:tavLst>
                                    </p:anim>
                                  </p:childTnLst>
                                </p:cTn>
                              </p:par>
                            </p:childTnLst>
                          </p:cTn>
                        </p:par>
                        <p:par>
                          <p:cTn id="30" fill="hold">
                            <p:stCondLst>
                              <p:cond delay="1500"/>
                            </p:stCondLst>
                            <p:childTnLst>
                              <p:par>
                                <p:cTn id="31" presetID="53" presetClass="entr" presetSubtype="16" fill="hold" grpId="0" nodeType="afterEffect">
                                  <p:stCondLst>
                                    <p:cond delay="0"/>
                                  </p:stCondLst>
                                  <p:childTnLst>
                                    <p:set>
                                      <p:cBhvr>
                                        <p:cTn id="32" dur="1" fill="hold">
                                          <p:stCondLst>
                                            <p:cond delay="0"/>
                                          </p:stCondLst>
                                        </p:cTn>
                                        <p:tgtEl>
                                          <p:spTgt spid="83"/>
                                        </p:tgtEl>
                                        <p:attrNameLst>
                                          <p:attrName>style.visibility</p:attrName>
                                        </p:attrNameLst>
                                      </p:cBhvr>
                                      <p:to>
                                        <p:strVal val="visible"/>
                                      </p:to>
                                    </p:set>
                                    <p:anim calcmode="lin" valueType="num">
                                      <p:cBhvr>
                                        <p:cTn id="33" dur="500" fill="hold"/>
                                        <p:tgtEl>
                                          <p:spTgt spid="83"/>
                                        </p:tgtEl>
                                        <p:attrNameLst>
                                          <p:attrName>ppt_w</p:attrName>
                                        </p:attrNameLst>
                                      </p:cBhvr>
                                      <p:tavLst>
                                        <p:tav tm="0">
                                          <p:val>
                                            <p:fltVal val="0"/>
                                          </p:val>
                                        </p:tav>
                                        <p:tav tm="100000">
                                          <p:val>
                                            <p:strVal val="#ppt_w"/>
                                          </p:val>
                                        </p:tav>
                                      </p:tavLst>
                                    </p:anim>
                                    <p:anim calcmode="lin" valueType="num">
                                      <p:cBhvr>
                                        <p:cTn id="34" dur="500" fill="hold"/>
                                        <p:tgtEl>
                                          <p:spTgt spid="83"/>
                                        </p:tgtEl>
                                        <p:attrNameLst>
                                          <p:attrName>ppt_h</p:attrName>
                                        </p:attrNameLst>
                                      </p:cBhvr>
                                      <p:tavLst>
                                        <p:tav tm="0">
                                          <p:val>
                                            <p:fltVal val="0"/>
                                          </p:val>
                                        </p:tav>
                                        <p:tav tm="100000">
                                          <p:val>
                                            <p:strVal val="#ppt_h"/>
                                          </p:val>
                                        </p:tav>
                                      </p:tavLst>
                                    </p:anim>
                                    <p:animEffect transition="in" filter="fade">
                                      <p:cBhvr>
                                        <p:cTn id="35" dur="500"/>
                                        <p:tgtEl>
                                          <p:spTgt spid="83"/>
                                        </p:tgtEl>
                                      </p:cBhvr>
                                    </p:animEffect>
                                  </p:childTnLst>
                                </p:cTn>
                              </p:par>
                            </p:childTnLst>
                          </p:cTn>
                        </p:par>
                        <p:par>
                          <p:cTn id="36" fill="hold">
                            <p:stCondLst>
                              <p:cond delay="2000"/>
                            </p:stCondLst>
                            <p:childTnLst>
                              <p:par>
                                <p:cTn id="37" presetID="12" presetClass="entr" presetSubtype="4" fill="hold" grpId="0" nodeType="afterEffect">
                                  <p:stCondLst>
                                    <p:cond delay="0"/>
                                  </p:stCondLst>
                                  <p:childTnLst>
                                    <p:set>
                                      <p:cBhvr>
                                        <p:cTn id="38" dur="1" fill="hold">
                                          <p:stCondLst>
                                            <p:cond delay="0"/>
                                          </p:stCondLst>
                                        </p:cTn>
                                        <p:tgtEl>
                                          <p:spTgt spid="129"/>
                                        </p:tgtEl>
                                        <p:attrNameLst>
                                          <p:attrName>style.visibility</p:attrName>
                                        </p:attrNameLst>
                                      </p:cBhvr>
                                      <p:to>
                                        <p:strVal val="visible"/>
                                      </p:to>
                                    </p:set>
                                    <p:anim calcmode="lin" valueType="num">
                                      <p:cBhvr additive="base">
                                        <p:cTn id="39" dur="500"/>
                                        <p:tgtEl>
                                          <p:spTgt spid="129"/>
                                        </p:tgtEl>
                                        <p:attrNameLst>
                                          <p:attrName>ppt_y</p:attrName>
                                        </p:attrNameLst>
                                      </p:cBhvr>
                                      <p:tavLst>
                                        <p:tav tm="0">
                                          <p:val>
                                            <p:strVal val="#ppt_y+#ppt_h*1.125000"/>
                                          </p:val>
                                        </p:tav>
                                        <p:tav tm="100000">
                                          <p:val>
                                            <p:strVal val="#ppt_y"/>
                                          </p:val>
                                        </p:tav>
                                      </p:tavLst>
                                    </p:anim>
                                    <p:animEffect transition="in" filter="wipe(up)">
                                      <p:cBhvr>
                                        <p:cTn id="40" dur="500"/>
                                        <p:tgtEl>
                                          <p:spTgt spid="129"/>
                                        </p:tgtEl>
                                      </p:cBhvr>
                                    </p:animEffect>
                                  </p:childTnLst>
                                </p:cTn>
                              </p:par>
                              <p:par>
                                <p:cTn id="41" presetID="12" presetClass="entr" presetSubtype="1" fill="hold" grpId="0" nodeType="withEffect">
                                  <p:stCondLst>
                                    <p:cond delay="0"/>
                                  </p:stCondLst>
                                  <p:childTnLst>
                                    <p:set>
                                      <p:cBhvr>
                                        <p:cTn id="42" dur="1" fill="hold">
                                          <p:stCondLst>
                                            <p:cond delay="0"/>
                                          </p:stCondLst>
                                        </p:cTn>
                                        <p:tgtEl>
                                          <p:spTgt spid="130"/>
                                        </p:tgtEl>
                                        <p:attrNameLst>
                                          <p:attrName>style.visibility</p:attrName>
                                        </p:attrNameLst>
                                      </p:cBhvr>
                                      <p:to>
                                        <p:strVal val="visible"/>
                                      </p:to>
                                    </p:set>
                                    <p:anim calcmode="lin" valueType="num">
                                      <p:cBhvr additive="base">
                                        <p:cTn id="43" dur="500"/>
                                        <p:tgtEl>
                                          <p:spTgt spid="130"/>
                                        </p:tgtEl>
                                        <p:attrNameLst>
                                          <p:attrName>ppt_y</p:attrName>
                                        </p:attrNameLst>
                                      </p:cBhvr>
                                      <p:tavLst>
                                        <p:tav tm="0">
                                          <p:val>
                                            <p:strVal val="#ppt_y-#ppt_h*1.125000"/>
                                          </p:val>
                                        </p:tav>
                                        <p:tav tm="100000">
                                          <p:val>
                                            <p:strVal val="#ppt_y"/>
                                          </p:val>
                                        </p:tav>
                                      </p:tavLst>
                                    </p:anim>
                                    <p:animEffect transition="in" filter="wipe(down)">
                                      <p:cBhvr>
                                        <p:cTn id="44" dur="500"/>
                                        <p:tgtEl>
                                          <p:spTgt spid="130"/>
                                        </p:tgtEl>
                                      </p:cBhvr>
                                    </p:animEffect>
                                  </p:childTnLst>
                                </p:cTn>
                              </p:par>
                            </p:childTnLst>
                          </p:cTn>
                        </p:par>
                        <p:par>
                          <p:cTn id="45" fill="hold">
                            <p:stCondLst>
                              <p:cond delay="2500"/>
                            </p:stCondLst>
                            <p:childTnLst>
                              <p:par>
                                <p:cTn id="46" presetID="12" presetClass="entr" presetSubtype="4" fill="hold" grpId="0" nodeType="afterEffect">
                                  <p:stCondLst>
                                    <p:cond delay="0"/>
                                  </p:stCondLst>
                                  <p:childTnLst>
                                    <p:set>
                                      <p:cBhvr>
                                        <p:cTn id="47" dur="1" fill="hold">
                                          <p:stCondLst>
                                            <p:cond delay="0"/>
                                          </p:stCondLst>
                                        </p:cTn>
                                        <p:tgtEl>
                                          <p:spTgt spid="131"/>
                                        </p:tgtEl>
                                        <p:attrNameLst>
                                          <p:attrName>style.visibility</p:attrName>
                                        </p:attrNameLst>
                                      </p:cBhvr>
                                      <p:to>
                                        <p:strVal val="visible"/>
                                      </p:to>
                                    </p:set>
                                    <p:anim calcmode="lin" valueType="num">
                                      <p:cBhvr additive="base">
                                        <p:cTn id="48" dur="500"/>
                                        <p:tgtEl>
                                          <p:spTgt spid="131"/>
                                        </p:tgtEl>
                                        <p:attrNameLst>
                                          <p:attrName>ppt_y</p:attrName>
                                        </p:attrNameLst>
                                      </p:cBhvr>
                                      <p:tavLst>
                                        <p:tav tm="0">
                                          <p:val>
                                            <p:strVal val="#ppt_y+#ppt_h*1.125000"/>
                                          </p:val>
                                        </p:tav>
                                        <p:tav tm="100000">
                                          <p:val>
                                            <p:strVal val="#ppt_y"/>
                                          </p:val>
                                        </p:tav>
                                      </p:tavLst>
                                    </p:anim>
                                    <p:animEffect transition="in" filter="wipe(up)">
                                      <p:cBhvr>
                                        <p:cTn id="49" dur="500"/>
                                        <p:tgtEl>
                                          <p:spTgt spid="131"/>
                                        </p:tgtEl>
                                      </p:cBhvr>
                                    </p:animEffect>
                                  </p:childTnLst>
                                </p:cTn>
                              </p:par>
                              <p:par>
                                <p:cTn id="50" presetID="12" presetClass="entr" presetSubtype="1" fill="hold" grpId="0" nodeType="withEffect">
                                  <p:stCondLst>
                                    <p:cond delay="0"/>
                                  </p:stCondLst>
                                  <p:childTnLst>
                                    <p:set>
                                      <p:cBhvr>
                                        <p:cTn id="51" dur="1" fill="hold">
                                          <p:stCondLst>
                                            <p:cond delay="0"/>
                                          </p:stCondLst>
                                        </p:cTn>
                                        <p:tgtEl>
                                          <p:spTgt spid="132"/>
                                        </p:tgtEl>
                                        <p:attrNameLst>
                                          <p:attrName>style.visibility</p:attrName>
                                        </p:attrNameLst>
                                      </p:cBhvr>
                                      <p:to>
                                        <p:strVal val="visible"/>
                                      </p:to>
                                    </p:set>
                                    <p:anim calcmode="lin" valueType="num">
                                      <p:cBhvr additive="base">
                                        <p:cTn id="52" dur="500"/>
                                        <p:tgtEl>
                                          <p:spTgt spid="132"/>
                                        </p:tgtEl>
                                        <p:attrNameLst>
                                          <p:attrName>ppt_y</p:attrName>
                                        </p:attrNameLst>
                                      </p:cBhvr>
                                      <p:tavLst>
                                        <p:tav tm="0">
                                          <p:val>
                                            <p:strVal val="#ppt_y-#ppt_h*1.125000"/>
                                          </p:val>
                                        </p:tav>
                                        <p:tav tm="100000">
                                          <p:val>
                                            <p:strVal val="#ppt_y"/>
                                          </p:val>
                                        </p:tav>
                                      </p:tavLst>
                                    </p:anim>
                                    <p:animEffect transition="in" filter="wipe(down)">
                                      <p:cBhvr>
                                        <p:cTn id="53" dur="500"/>
                                        <p:tgtEl>
                                          <p:spTgt spid="132"/>
                                        </p:tgtEl>
                                      </p:cBhvr>
                                    </p:animEffect>
                                  </p:childTnLst>
                                </p:cTn>
                              </p:par>
                            </p:childTnLst>
                          </p:cTn>
                        </p:par>
                        <p:par>
                          <p:cTn id="54" fill="hold">
                            <p:stCondLst>
                              <p:cond delay="3000"/>
                            </p:stCondLst>
                            <p:childTnLst>
                              <p:par>
                                <p:cTn id="55" presetID="12" presetClass="entr" presetSubtype="4" fill="hold" grpId="0" nodeType="afterEffect">
                                  <p:stCondLst>
                                    <p:cond delay="0"/>
                                  </p:stCondLst>
                                  <p:childTnLst>
                                    <p:set>
                                      <p:cBhvr>
                                        <p:cTn id="56" dur="1" fill="hold">
                                          <p:stCondLst>
                                            <p:cond delay="0"/>
                                          </p:stCondLst>
                                        </p:cTn>
                                        <p:tgtEl>
                                          <p:spTgt spid="133"/>
                                        </p:tgtEl>
                                        <p:attrNameLst>
                                          <p:attrName>style.visibility</p:attrName>
                                        </p:attrNameLst>
                                      </p:cBhvr>
                                      <p:to>
                                        <p:strVal val="visible"/>
                                      </p:to>
                                    </p:set>
                                    <p:anim calcmode="lin" valueType="num">
                                      <p:cBhvr additive="base">
                                        <p:cTn id="57" dur="500"/>
                                        <p:tgtEl>
                                          <p:spTgt spid="133"/>
                                        </p:tgtEl>
                                        <p:attrNameLst>
                                          <p:attrName>ppt_y</p:attrName>
                                        </p:attrNameLst>
                                      </p:cBhvr>
                                      <p:tavLst>
                                        <p:tav tm="0">
                                          <p:val>
                                            <p:strVal val="#ppt_y+#ppt_h*1.125000"/>
                                          </p:val>
                                        </p:tav>
                                        <p:tav tm="100000">
                                          <p:val>
                                            <p:strVal val="#ppt_y"/>
                                          </p:val>
                                        </p:tav>
                                      </p:tavLst>
                                    </p:anim>
                                    <p:animEffect transition="in" filter="wipe(up)">
                                      <p:cBhvr>
                                        <p:cTn id="58" dur="500"/>
                                        <p:tgtEl>
                                          <p:spTgt spid="133"/>
                                        </p:tgtEl>
                                      </p:cBhvr>
                                    </p:animEffect>
                                  </p:childTnLst>
                                </p:cTn>
                              </p:par>
                              <p:par>
                                <p:cTn id="59" presetID="12" presetClass="entr" presetSubtype="1" fill="hold" grpId="0" nodeType="withEffect">
                                  <p:stCondLst>
                                    <p:cond delay="0"/>
                                  </p:stCondLst>
                                  <p:childTnLst>
                                    <p:set>
                                      <p:cBhvr>
                                        <p:cTn id="60" dur="1" fill="hold">
                                          <p:stCondLst>
                                            <p:cond delay="0"/>
                                          </p:stCondLst>
                                        </p:cTn>
                                        <p:tgtEl>
                                          <p:spTgt spid="134"/>
                                        </p:tgtEl>
                                        <p:attrNameLst>
                                          <p:attrName>style.visibility</p:attrName>
                                        </p:attrNameLst>
                                      </p:cBhvr>
                                      <p:to>
                                        <p:strVal val="visible"/>
                                      </p:to>
                                    </p:set>
                                    <p:anim calcmode="lin" valueType="num">
                                      <p:cBhvr additive="base">
                                        <p:cTn id="61" dur="500"/>
                                        <p:tgtEl>
                                          <p:spTgt spid="134"/>
                                        </p:tgtEl>
                                        <p:attrNameLst>
                                          <p:attrName>ppt_y</p:attrName>
                                        </p:attrNameLst>
                                      </p:cBhvr>
                                      <p:tavLst>
                                        <p:tav tm="0">
                                          <p:val>
                                            <p:strVal val="#ppt_y-#ppt_h*1.125000"/>
                                          </p:val>
                                        </p:tav>
                                        <p:tav tm="100000">
                                          <p:val>
                                            <p:strVal val="#ppt_y"/>
                                          </p:val>
                                        </p:tav>
                                      </p:tavLst>
                                    </p:anim>
                                    <p:animEffect transition="in" filter="wipe(down)">
                                      <p:cBhvr>
                                        <p:cTn id="62" dur="500"/>
                                        <p:tgtEl>
                                          <p:spTgt spid="134"/>
                                        </p:tgtEl>
                                      </p:cBhvr>
                                    </p:animEffect>
                                  </p:childTnLst>
                                </p:cTn>
                              </p:par>
                            </p:childTnLst>
                          </p:cTn>
                        </p:par>
                        <p:par>
                          <p:cTn id="63" fill="hold">
                            <p:stCondLst>
                              <p:cond delay="3500"/>
                            </p:stCondLst>
                            <p:childTnLst>
                              <p:par>
                                <p:cTn id="64" presetID="12" presetClass="entr" presetSubtype="4" fill="hold" grpId="0" nodeType="afterEffect">
                                  <p:stCondLst>
                                    <p:cond delay="0"/>
                                  </p:stCondLst>
                                  <p:childTnLst>
                                    <p:set>
                                      <p:cBhvr>
                                        <p:cTn id="65" dur="1" fill="hold">
                                          <p:stCondLst>
                                            <p:cond delay="0"/>
                                          </p:stCondLst>
                                        </p:cTn>
                                        <p:tgtEl>
                                          <p:spTgt spid="135"/>
                                        </p:tgtEl>
                                        <p:attrNameLst>
                                          <p:attrName>style.visibility</p:attrName>
                                        </p:attrNameLst>
                                      </p:cBhvr>
                                      <p:to>
                                        <p:strVal val="visible"/>
                                      </p:to>
                                    </p:set>
                                    <p:anim calcmode="lin" valueType="num">
                                      <p:cBhvr additive="base">
                                        <p:cTn id="66" dur="500"/>
                                        <p:tgtEl>
                                          <p:spTgt spid="135"/>
                                        </p:tgtEl>
                                        <p:attrNameLst>
                                          <p:attrName>ppt_y</p:attrName>
                                        </p:attrNameLst>
                                      </p:cBhvr>
                                      <p:tavLst>
                                        <p:tav tm="0">
                                          <p:val>
                                            <p:strVal val="#ppt_y+#ppt_h*1.125000"/>
                                          </p:val>
                                        </p:tav>
                                        <p:tav tm="100000">
                                          <p:val>
                                            <p:strVal val="#ppt_y"/>
                                          </p:val>
                                        </p:tav>
                                      </p:tavLst>
                                    </p:anim>
                                    <p:animEffect transition="in" filter="wipe(up)">
                                      <p:cBhvr>
                                        <p:cTn id="67" dur="500"/>
                                        <p:tgtEl>
                                          <p:spTgt spid="135"/>
                                        </p:tgtEl>
                                      </p:cBhvr>
                                    </p:animEffect>
                                  </p:childTnLst>
                                </p:cTn>
                              </p:par>
                              <p:par>
                                <p:cTn id="68" presetID="12" presetClass="entr" presetSubtype="1" fill="hold" grpId="0" nodeType="withEffect">
                                  <p:stCondLst>
                                    <p:cond delay="0"/>
                                  </p:stCondLst>
                                  <p:childTnLst>
                                    <p:set>
                                      <p:cBhvr>
                                        <p:cTn id="69" dur="1" fill="hold">
                                          <p:stCondLst>
                                            <p:cond delay="0"/>
                                          </p:stCondLst>
                                        </p:cTn>
                                        <p:tgtEl>
                                          <p:spTgt spid="136"/>
                                        </p:tgtEl>
                                        <p:attrNameLst>
                                          <p:attrName>style.visibility</p:attrName>
                                        </p:attrNameLst>
                                      </p:cBhvr>
                                      <p:to>
                                        <p:strVal val="visible"/>
                                      </p:to>
                                    </p:set>
                                    <p:anim calcmode="lin" valueType="num">
                                      <p:cBhvr additive="base">
                                        <p:cTn id="70" dur="500"/>
                                        <p:tgtEl>
                                          <p:spTgt spid="136"/>
                                        </p:tgtEl>
                                        <p:attrNameLst>
                                          <p:attrName>ppt_y</p:attrName>
                                        </p:attrNameLst>
                                      </p:cBhvr>
                                      <p:tavLst>
                                        <p:tav tm="0">
                                          <p:val>
                                            <p:strVal val="#ppt_y-#ppt_h*1.125000"/>
                                          </p:val>
                                        </p:tav>
                                        <p:tav tm="100000">
                                          <p:val>
                                            <p:strVal val="#ppt_y"/>
                                          </p:val>
                                        </p:tav>
                                      </p:tavLst>
                                    </p:anim>
                                    <p:animEffect transition="in" filter="wipe(down)">
                                      <p:cBhvr>
                                        <p:cTn id="71"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82" grpId="0" animBg="1"/>
      <p:bldP spid="83" grpId="0"/>
      <p:bldP spid="129" grpId="0"/>
      <p:bldP spid="130" grpId="0"/>
      <p:bldP spid="131" grpId="0"/>
      <p:bldP spid="132" grpId="0"/>
      <p:bldP spid="133" grpId="0"/>
      <p:bldP spid="134" grpId="0"/>
      <p:bldP spid="135" grpId="0"/>
      <p:bldP spid="13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Shape 2284"/>
          <p:cNvSpPr/>
          <p:nvPr/>
        </p:nvSpPr>
        <p:spPr>
          <a:xfrm rot="3709188">
            <a:off x="1813639" y="3194515"/>
            <a:ext cx="1512472" cy="3043352"/>
          </a:xfrm>
          <a:custGeom>
            <a:avLst/>
            <a:gdLst/>
            <a:ahLst/>
            <a:cxnLst>
              <a:cxn ang="0">
                <a:pos x="wd2" y="hd2"/>
              </a:cxn>
              <a:cxn ang="5400000">
                <a:pos x="wd2" y="hd2"/>
              </a:cxn>
              <a:cxn ang="10800000">
                <a:pos x="wd2" y="hd2"/>
              </a:cxn>
              <a:cxn ang="16200000">
                <a:pos x="wd2" y="hd2"/>
              </a:cxn>
            </a:cxnLst>
            <a:rect l="0" t="0" r="r" b="b"/>
            <a:pathLst>
              <a:path w="20025" h="20820" extrusionOk="0">
                <a:moveTo>
                  <a:pt x="6920" y="8159"/>
                </a:moveTo>
                <a:cubicBezTo>
                  <a:pt x="3317" y="7491"/>
                  <a:pt x="1444" y="5440"/>
                  <a:pt x="2738" y="3578"/>
                </a:cubicBezTo>
                <a:cubicBezTo>
                  <a:pt x="4031" y="1716"/>
                  <a:pt x="8001" y="749"/>
                  <a:pt x="11604" y="1417"/>
                </a:cubicBezTo>
                <a:cubicBezTo>
                  <a:pt x="15207" y="2085"/>
                  <a:pt x="17079" y="4136"/>
                  <a:pt x="15786" y="5998"/>
                </a:cubicBezTo>
                <a:cubicBezTo>
                  <a:pt x="14493" y="7860"/>
                  <a:pt x="10523" y="8827"/>
                  <a:pt x="6920" y="8159"/>
                </a:cubicBezTo>
                <a:close/>
                <a:moveTo>
                  <a:pt x="19989" y="20009"/>
                </a:moveTo>
                <a:cubicBezTo>
                  <a:pt x="19702" y="19345"/>
                  <a:pt x="14734" y="11897"/>
                  <a:pt x="14734" y="11897"/>
                </a:cubicBezTo>
                <a:cubicBezTo>
                  <a:pt x="14734" y="11897"/>
                  <a:pt x="14597" y="11709"/>
                  <a:pt x="14207" y="11734"/>
                </a:cubicBezTo>
                <a:lnTo>
                  <a:pt x="12631" y="9299"/>
                </a:lnTo>
                <a:cubicBezTo>
                  <a:pt x="13045" y="9217"/>
                  <a:pt x="13453" y="9119"/>
                  <a:pt x="13852" y="9004"/>
                </a:cubicBezTo>
                <a:cubicBezTo>
                  <a:pt x="18336" y="7706"/>
                  <a:pt x="19936" y="4777"/>
                  <a:pt x="17426" y="2460"/>
                </a:cubicBezTo>
                <a:cubicBezTo>
                  <a:pt x="14915" y="143"/>
                  <a:pt x="9245" y="-684"/>
                  <a:pt x="4761" y="613"/>
                </a:cubicBezTo>
                <a:cubicBezTo>
                  <a:pt x="277" y="1910"/>
                  <a:pt x="-1323" y="4840"/>
                  <a:pt x="1188" y="7157"/>
                </a:cubicBezTo>
                <a:cubicBezTo>
                  <a:pt x="3160" y="8978"/>
                  <a:pt x="7085" y="9878"/>
                  <a:pt x="10852" y="9551"/>
                </a:cubicBezTo>
                <a:lnTo>
                  <a:pt x="12372" y="12022"/>
                </a:lnTo>
                <a:cubicBezTo>
                  <a:pt x="12029" y="12121"/>
                  <a:pt x="12133" y="12314"/>
                  <a:pt x="12133" y="12314"/>
                </a:cubicBezTo>
                <a:cubicBezTo>
                  <a:pt x="12133" y="12314"/>
                  <a:pt x="16623" y="19843"/>
                  <a:pt x="17149" y="20467"/>
                </a:cubicBezTo>
                <a:cubicBezTo>
                  <a:pt x="17527" y="20916"/>
                  <a:pt x="18326" y="20838"/>
                  <a:pt x="18744" y="20759"/>
                </a:cubicBezTo>
                <a:lnTo>
                  <a:pt x="18747" y="20763"/>
                </a:lnTo>
                <a:cubicBezTo>
                  <a:pt x="18747" y="20763"/>
                  <a:pt x="20277" y="20673"/>
                  <a:pt x="19989" y="20009"/>
                </a:cubicBezTo>
                <a:close/>
              </a:path>
            </a:pathLst>
          </a:custGeom>
          <a:solidFill>
            <a:srgbClr val="7DA97A">
              <a:alpha val="46000"/>
            </a:srgbClr>
          </a:solidFill>
          <a:ln w="12700">
            <a:miter lim="400000"/>
          </a:ln>
        </p:spPr>
        <p:txBody>
          <a:bodyPr lIns="38100" tIns="38100" rIns="38100" bIns="38100" anchor="ctr"/>
          <a:lstStyle/>
          <a:p>
            <a:pPr lvl="0"/>
            <a:endParaRPr>
              <a:cs typeface="+mn-ea"/>
              <a:sym typeface="+mn-lt"/>
            </a:endParaRPr>
          </a:p>
        </p:txBody>
      </p:sp>
      <p:sp>
        <p:nvSpPr>
          <p:cNvPr id="103" name="Shape 2309"/>
          <p:cNvSpPr/>
          <p:nvPr/>
        </p:nvSpPr>
        <p:spPr>
          <a:xfrm>
            <a:off x="2734835" y="3753036"/>
            <a:ext cx="1058561" cy="105856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7DA97A"/>
          </a:solidFill>
          <a:ln w="12700" cap="flat">
            <a:noFill/>
            <a:miter lim="400000"/>
          </a:ln>
          <a:effectLst/>
        </p:spPr>
        <p:txBody>
          <a:bodyPr wrap="square" lIns="50800" tIns="50800" rIns="50800" bIns="50800" numCol="1" anchor="ctr">
            <a:noAutofit/>
          </a:bodyPr>
          <a:lstStyle/>
          <a:p>
            <a:pPr lvl="0"/>
            <a:endParaRPr>
              <a:cs typeface="+mn-ea"/>
              <a:sym typeface="+mn-lt"/>
            </a:endParaRPr>
          </a:p>
        </p:txBody>
      </p:sp>
      <p:sp>
        <p:nvSpPr>
          <p:cNvPr id="104" name="Shape 2310"/>
          <p:cNvSpPr/>
          <p:nvPr/>
        </p:nvSpPr>
        <p:spPr>
          <a:xfrm>
            <a:off x="3036578" y="4118856"/>
            <a:ext cx="415974" cy="370032"/>
          </a:xfrm>
          <a:custGeom>
            <a:avLst/>
            <a:gdLst/>
            <a:ahLst/>
            <a:cxnLst>
              <a:cxn ang="0">
                <a:pos x="wd2" y="hd2"/>
              </a:cxn>
              <a:cxn ang="5400000">
                <a:pos x="wd2" y="hd2"/>
              </a:cxn>
              <a:cxn ang="10800000">
                <a:pos x="wd2" y="hd2"/>
              </a:cxn>
              <a:cxn ang="16200000">
                <a:pos x="wd2" y="hd2"/>
              </a:cxn>
            </a:cxnLst>
            <a:rect l="0" t="0" r="r" b="b"/>
            <a:pathLst>
              <a:path w="21446" h="21471" extrusionOk="0">
                <a:moveTo>
                  <a:pt x="2906" y="19280"/>
                </a:moveTo>
                <a:cubicBezTo>
                  <a:pt x="2683" y="19534"/>
                  <a:pt x="2683" y="19946"/>
                  <a:pt x="2906" y="20200"/>
                </a:cubicBezTo>
                <a:lnTo>
                  <a:pt x="3930" y="21326"/>
                </a:lnTo>
                <a:cubicBezTo>
                  <a:pt x="4154" y="21580"/>
                  <a:pt x="4510" y="21473"/>
                  <a:pt x="4734" y="21220"/>
                </a:cubicBezTo>
                <a:lnTo>
                  <a:pt x="10017" y="15372"/>
                </a:lnTo>
                <a:lnTo>
                  <a:pt x="8398" y="13299"/>
                </a:lnTo>
                <a:cubicBezTo>
                  <a:pt x="8398" y="13299"/>
                  <a:pt x="2906" y="19280"/>
                  <a:pt x="2906" y="19280"/>
                </a:cubicBezTo>
                <a:close/>
                <a:moveTo>
                  <a:pt x="21387" y="2723"/>
                </a:moveTo>
                <a:cubicBezTo>
                  <a:pt x="21307" y="2125"/>
                  <a:pt x="21031" y="2252"/>
                  <a:pt x="20888" y="2505"/>
                </a:cubicBezTo>
                <a:cubicBezTo>
                  <a:pt x="20746" y="2758"/>
                  <a:pt x="20111" y="3840"/>
                  <a:pt x="19852" y="4329"/>
                </a:cubicBezTo>
                <a:cubicBezTo>
                  <a:pt x="19593" y="4815"/>
                  <a:pt x="18956" y="5772"/>
                  <a:pt x="17770" y="4826"/>
                </a:cubicBezTo>
                <a:cubicBezTo>
                  <a:pt x="16533" y="3843"/>
                  <a:pt x="16963" y="3157"/>
                  <a:pt x="17179" y="2694"/>
                </a:cubicBezTo>
                <a:cubicBezTo>
                  <a:pt x="17395" y="2232"/>
                  <a:pt x="18059" y="931"/>
                  <a:pt x="18155" y="768"/>
                </a:cubicBezTo>
                <a:cubicBezTo>
                  <a:pt x="18251" y="605"/>
                  <a:pt x="18139" y="129"/>
                  <a:pt x="17756" y="329"/>
                </a:cubicBezTo>
                <a:cubicBezTo>
                  <a:pt x="17372" y="527"/>
                  <a:pt x="15039" y="1572"/>
                  <a:pt x="14715" y="3066"/>
                </a:cubicBezTo>
                <a:cubicBezTo>
                  <a:pt x="14386" y="4590"/>
                  <a:pt x="14993" y="5950"/>
                  <a:pt x="13800" y="7301"/>
                </a:cubicBezTo>
                <a:lnTo>
                  <a:pt x="12355" y="8998"/>
                </a:lnTo>
                <a:lnTo>
                  <a:pt x="13806" y="10898"/>
                </a:lnTo>
                <a:lnTo>
                  <a:pt x="15589" y="8995"/>
                </a:lnTo>
                <a:cubicBezTo>
                  <a:pt x="16013" y="8514"/>
                  <a:pt x="16919" y="8048"/>
                  <a:pt x="17740" y="8257"/>
                </a:cubicBezTo>
                <a:cubicBezTo>
                  <a:pt x="19498" y="8705"/>
                  <a:pt x="20456" y="7962"/>
                  <a:pt x="21035" y="6733"/>
                </a:cubicBezTo>
                <a:cubicBezTo>
                  <a:pt x="21552" y="5635"/>
                  <a:pt x="21466" y="3322"/>
                  <a:pt x="21387" y="2723"/>
                </a:cubicBezTo>
                <a:close/>
                <a:moveTo>
                  <a:pt x="9478" y="7592"/>
                </a:moveTo>
                <a:cubicBezTo>
                  <a:pt x="9350" y="7424"/>
                  <a:pt x="9189" y="7421"/>
                  <a:pt x="9050" y="7558"/>
                </a:cubicBezTo>
                <a:lnTo>
                  <a:pt x="7506" y="9074"/>
                </a:lnTo>
                <a:cubicBezTo>
                  <a:pt x="7384" y="9194"/>
                  <a:pt x="7369" y="9419"/>
                  <a:pt x="7477" y="9559"/>
                </a:cubicBezTo>
                <a:lnTo>
                  <a:pt x="16408" y="20996"/>
                </a:lnTo>
                <a:cubicBezTo>
                  <a:pt x="16616" y="21268"/>
                  <a:pt x="16979" y="21295"/>
                  <a:pt x="17217" y="21061"/>
                </a:cubicBezTo>
                <a:lnTo>
                  <a:pt x="18263" y="20076"/>
                </a:lnTo>
                <a:cubicBezTo>
                  <a:pt x="18500" y="19839"/>
                  <a:pt x="18526" y="19429"/>
                  <a:pt x="18317" y="19158"/>
                </a:cubicBezTo>
                <a:cubicBezTo>
                  <a:pt x="18317" y="19158"/>
                  <a:pt x="9478" y="7592"/>
                  <a:pt x="9478" y="7592"/>
                </a:cubicBezTo>
                <a:close/>
                <a:moveTo>
                  <a:pt x="3331" y="6965"/>
                </a:moveTo>
                <a:cubicBezTo>
                  <a:pt x="4336" y="6088"/>
                  <a:pt x="5170" y="6693"/>
                  <a:pt x="6282" y="8142"/>
                </a:cubicBezTo>
                <a:cubicBezTo>
                  <a:pt x="6408" y="8304"/>
                  <a:pt x="6575" y="8114"/>
                  <a:pt x="6671" y="8021"/>
                </a:cubicBezTo>
                <a:cubicBezTo>
                  <a:pt x="6766" y="7926"/>
                  <a:pt x="8233" y="6440"/>
                  <a:pt x="8306" y="6370"/>
                </a:cubicBezTo>
                <a:cubicBezTo>
                  <a:pt x="8377" y="6300"/>
                  <a:pt x="8464" y="6167"/>
                  <a:pt x="8349" y="6018"/>
                </a:cubicBezTo>
                <a:cubicBezTo>
                  <a:pt x="8235" y="5868"/>
                  <a:pt x="7817" y="5261"/>
                  <a:pt x="7550" y="4867"/>
                </a:cubicBezTo>
                <a:cubicBezTo>
                  <a:pt x="5603" y="2001"/>
                  <a:pt x="12876" y="57"/>
                  <a:pt x="11758" y="25"/>
                </a:cubicBezTo>
                <a:cubicBezTo>
                  <a:pt x="11190" y="9"/>
                  <a:pt x="8909" y="-20"/>
                  <a:pt x="8569" y="21"/>
                </a:cubicBezTo>
                <a:cubicBezTo>
                  <a:pt x="7186" y="186"/>
                  <a:pt x="5452" y="1638"/>
                  <a:pt x="4578" y="2313"/>
                </a:cubicBezTo>
                <a:cubicBezTo>
                  <a:pt x="3437" y="3196"/>
                  <a:pt x="3011" y="3711"/>
                  <a:pt x="2939" y="3781"/>
                </a:cubicBezTo>
                <a:cubicBezTo>
                  <a:pt x="2617" y="4099"/>
                  <a:pt x="2887" y="4832"/>
                  <a:pt x="2303" y="5410"/>
                </a:cubicBezTo>
                <a:cubicBezTo>
                  <a:pt x="1683" y="6021"/>
                  <a:pt x="1297" y="5560"/>
                  <a:pt x="939" y="5913"/>
                </a:cubicBezTo>
                <a:cubicBezTo>
                  <a:pt x="761" y="6090"/>
                  <a:pt x="264" y="6509"/>
                  <a:pt x="122" y="6650"/>
                </a:cubicBezTo>
                <a:cubicBezTo>
                  <a:pt x="-22" y="6790"/>
                  <a:pt x="-48" y="7030"/>
                  <a:pt x="99" y="7219"/>
                </a:cubicBezTo>
                <a:cubicBezTo>
                  <a:pt x="99" y="7219"/>
                  <a:pt x="1459" y="8912"/>
                  <a:pt x="1574" y="9061"/>
                </a:cubicBezTo>
                <a:cubicBezTo>
                  <a:pt x="1688" y="9210"/>
                  <a:pt x="1994" y="9337"/>
                  <a:pt x="2185" y="9149"/>
                </a:cubicBezTo>
                <a:cubicBezTo>
                  <a:pt x="2375" y="8960"/>
                  <a:pt x="2864" y="8477"/>
                  <a:pt x="2947" y="8394"/>
                </a:cubicBezTo>
                <a:cubicBezTo>
                  <a:pt x="3031" y="8312"/>
                  <a:pt x="2893" y="7349"/>
                  <a:pt x="3331" y="6965"/>
                </a:cubicBezTo>
                <a:close/>
              </a:path>
            </a:pathLst>
          </a:custGeom>
          <a:solidFill>
            <a:srgbClr val="FFFFFF"/>
          </a:solidFill>
          <a:ln w="12700" cap="flat">
            <a:noFill/>
            <a:miter lim="400000"/>
          </a:ln>
          <a:effectLst/>
        </p:spPr>
        <p:txBody>
          <a:bodyPr wrap="square" lIns="38100" tIns="38100" rIns="38100" bIns="38100" numCol="1" anchor="ctr">
            <a:noAutofit/>
          </a:bodyPr>
          <a:lstStyle/>
          <a:p>
            <a:pPr lvl="0"/>
            <a:endParaRPr>
              <a:cs typeface="+mn-ea"/>
              <a:sym typeface="+mn-lt"/>
            </a:endParaRPr>
          </a:p>
        </p:txBody>
      </p:sp>
      <p:sp>
        <p:nvSpPr>
          <p:cNvPr id="105" name="Shape 2284"/>
          <p:cNvSpPr/>
          <p:nvPr/>
        </p:nvSpPr>
        <p:spPr>
          <a:xfrm rot="19800000">
            <a:off x="5239261" y="3492309"/>
            <a:ext cx="1512472" cy="3043352"/>
          </a:xfrm>
          <a:custGeom>
            <a:avLst/>
            <a:gdLst/>
            <a:ahLst/>
            <a:cxnLst>
              <a:cxn ang="0">
                <a:pos x="wd2" y="hd2"/>
              </a:cxn>
              <a:cxn ang="5400000">
                <a:pos x="wd2" y="hd2"/>
              </a:cxn>
              <a:cxn ang="10800000">
                <a:pos x="wd2" y="hd2"/>
              </a:cxn>
              <a:cxn ang="16200000">
                <a:pos x="wd2" y="hd2"/>
              </a:cxn>
            </a:cxnLst>
            <a:rect l="0" t="0" r="r" b="b"/>
            <a:pathLst>
              <a:path w="20025" h="20820" extrusionOk="0">
                <a:moveTo>
                  <a:pt x="6920" y="8159"/>
                </a:moveTo>
                <a:cubicBezTo>
                  <a:pt x="3317" y="7491"/>
                  <a:pt x="1444" y="5440"/>
                  <a:pt x="2738" y="3578"/>
                </a:cubicBezTo>
                <a:cubicBezTo>
                  <a:pt x="4031" y="1716"/>
                  <a:pt x="8001" y="749"/>
                  <a:pt x="11604" y="1417"/>
                </a:cubicBezTo>
                <a:cubicBezTo>
                  <a:pt x="15207" y="2085"/>
                  <a:pt x="17079" y="4136"/>
                  <a:pt x="15786" y="5998"/>
                </a:cubicBezTo>
                <a:cubicBezTo>
                  <a:pt x="14493" y="7860"/>
                  <a:pt x="10523" y="8827"/>
                  <a:pt x="6920" y="8159"/>
                </a:cubicBezTo>
                <a:close/>
                <a:moveTo>
                  <a:pt x="19989" y="20009"/>
                </a:moveTo>
                <a:cubicBezTo>
                  <a:pt x="19702" y="19345"/>
                  <a:pt x="14734" y="11897"/>
                  <a:pt x="14734" y="11897"/>
                </a:cubicBezTo>
                <a:cubicBezTo>
                  <a:pt x="14734" y="11897"/>
                  <a:pt x="14597" y="11709"/>
                  <a:pt x="14207" y="11734"/>
                </a:cubicBezTo>
                <a:lnTo>
                  <a:pt x="12631" y="9299"/>
                </a:lnTo>
                <a:cubicBezTo>
                  <a:pt x="13045" y="9217"/>
                  <a:pt x="13453" y="9119"/>
                  <a:pt x="13852" y="9004"/>
                </a:cubicBezTo>
                <a:cubicBezTo>
                  <a:pt x="18336" y="7706"/>
                  <a:pt x="19936" y="4777"/>
                  <a:pt x="17426" y="2460"/>
                </a:cubicBezTo>
                <a:cubicBezTo>
                  <a:pt x="14915" y="143"/>
                  <a:pt x="9245" y="-684"/>
                  <a:pt x="4761" y="613"/>
                </a:cubicBezTo>
                <a:cubicBezTo>
                  <a:pt x="277" y="1910"/>
                  <a:pt x="-1323" y="4840"/>
                  <a:pt x="1188" y="7157"/>
                </a:cubicBezTo>
                <a:cubicBezTo>
                  <a:pt x="3160" y="8978"/>
                  <a:pt x="7085" y="9878"/>
                  <a:pt x="10852" y="9551"/>
                </a:cubicBezTo>
                <a:lnTo>
                  <a:pt x="12372" y="12022"/>
                </a:lnTo>
                <a:cubicBezTo>
                  <a:pt x="12029" y="12121"/>
                  <a:pt x="12133" y="12314"/>
                  <a:pt x="12133" y="12314"/>
                </a:cubicBezTo>
                <a:cubicBezTo>
                  <a:pt x="12133" y="12314"/>
                  <a:pt x="16623" y="19843"/>
                  <a:pt x="17149" y="20467"/>
                </a:cubicBezTo>
                <a:cubicBezTo>
                  <a:pt x="17527" y="20916"/>
                  <a:pt x="18326" y="20838"/>
                  <a:pt x="18744" y="20759"/>
                </a:cubicBezTo>
                <a:lnTo>
                  <a:pt x="18747" y="20763"/>
                </a:lnTo>
                <a:cubicBezTo>
                  <a:pt x="18747" y="20763"/>
                  <a:pt x="20277" y="20673"/>
                  <a:pt x="19989" y="20009"/>
                </a:cubicBezTo>
                <a:close/>
              </a:path>
            </a:pathLst>
          </a:custGeom>
          <a:solidFill>
            <a:srgbClr val="7DA97A">
              <a:alpha val="46000"/>
            </a:srgbClr>
          </a:solidFill>
          <a:ln w="12700">
            <a:miter lim="400000"/>
          </a:ln>
        </p:spPr>
        <p:txBody>
          <a:bodyPr lIns="38100" tIns="38100" rIns="38100" bIns="38100" anchor="ctr"/>
          <a:lstStyle/>
          <a:p>
            <a:pPr lvl="0"/>
            <a:endParaRPr>
              <a:cs typeface="+mn-ea"/>
              <a:sym typeface="+mn-lt"/>
            </a:endParaRPr>
          </a:p>
        </p:txBody>
      </p:sp>
      <p:sp>
        <p:nvSpPr>
          <p:cNvPr id="106" name="Shape 2309"/>
          <p:cNvSpPr/>
          <p:nvPr/>
        </p:nvSpPr>
        <p:spPr>
          <a:xfrm>
            <a:off x="5013205" y="3804552"/>
            <a:ext cx="1058562" cy="105856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7DA97A"/>
          </a:solidFill>
          <a:ln w="12700" cap="flat">
            <a:noFill/>
            <a:miter lim="400000"/>
          </a:ln>
          <a:effectLst/>
        </p:spPr>
        <p:txBody>
          <a:bodyPr wrap="square" lIns="50800" tIns="50800" rIns="50800" bIns="50800" numCol="1" anchor="ctr">
            <a:noAutofit/>
          </a:bodyPr>
          <a:lstStyle/>
          <a:p>
            <a:pPr lvl="0"/>
            <a:endParaRPr>
              <a:cs typeface="+mn-ea"/>
              <a:sym typeface="+mn-lt"/>
            </a:endParaRPr>
          </a:p>
        </p:txBody>
      </p:sp>
      <p:sp>
        <p:nvSpPr>
          <p:cNvPr id="107" name="Shape 2313"/>
          <p:cNvSpPr/>
          <p:nvPr/>
        </p:nvSpPr>
        <p:spPr>
          <a:xfrm>
            <a:off x="5322466" y="4151753"/>
            <a:ext cx="483322" cy="321992"/>
          </a:xfrm>
          <a:custGeom>
            <a:avLst/>
            <a:gdLst/>
            <a:ahLst/>
            <a:cxnLst>
              <a:cxn ang="0">
                <a:pos x="wd2" y="hd2"/>
              </a:cxn>
              <a:cxn ang="5400000">
                <a:pos x="wd2" y="hd2"/>
              </a:cxn>
              <a:cxn ang="10800000">
                <a:pos x="wd2" y="hd2"/>
              </a:cxn>
              <a:cxn ang="16200000">
                <a:pos x="wd2" y="hd2"/>
              </a:cxn>
            </a:cxnLst>
            <a:rect l="0" t="0" r="r" b="b"/>
            <a:pathLst>
              <a:path w="21547" h="21600" extrusionOk="0">
                <a:moveTo>
                  <a:pt x="18847" y="15749"/>
                </a:moveTo>
                <a:lnTo>
                  <a:pt x="2701" y="15749"/>
                </a:lnTo>
                <a:lnTo>
                  <a:pt x="2701" y="1346"/>
                </a:lnTo>
                <a:lnTo>
                  <a:pt x="18847" y="1346"/>
                </a:lnTo>
                <a:cubicBezTo>
                  <a:pt x="18847" y="1346"/>
                  <a:pt x="18847" y="15749"/>
                  <a:pt x="18847" y="15749"/>
                </a:cubicBezTo>
                <a:close/>
                <a:moveTo>
                  <a:pt x="0" y="20510"/>
                </a:moveTo>
                <a:cubicBezTo>
                  <a:pt x="0" y="20510"/>
                  <a:pt x="-26" y="21600"/>
                  <a:pt x="1603" y="21600"/>
                </a:cubicBezTo>
                <a:cubicBezTo>
                  <a:pt x="2568" y="21600"/>
                  <a:pt x="6216" y="21600"/>
                  <a:pt x="9032" y="21600"/>
                </a:cubicBezTo>
                <a:cubicBezTo>
                  <a:pt x="9032" y="21600"/>
                  <a:pt x="10576" y="21600"/>
                  <a:pt x="12515" y="21600"/>
                </a:cubicBezTo>
                <a:cubicBezTo>
                  <a:pt x="15331" y="21600"/>
                  <a:pt x="18979" y="21600"/>
                  <a:pt x="19943" y="21600"/>
                </a:cubicBezTo>
                <a:cubicBezTo>
                  <a:pt x="21574" y="21600"/>
                  <a:pt x="21547" y="20510"/>
                  <a:pt x="21547" y="20510"/>
                </a:cubicBezTo>
                <a:lnTo>
                  <a:pt x="19418" y="16436"/>
                </a:lnTo>
                <a:cubicBezTo>
                  <a:pt x="19512" y="16224"/>
                  <a:pt x="19569" y="15977"/>
                  <a:pt x="19569" y="15711"/>
                </a:cubicBezTo>
                <a:lnTo>
                  <a:pt x="19569" y="1384"/>
                </a:lnTo>
                <a:cubicBezTo>
                  <a:pt x="19569" y="621"/>
                  <a:pt x="19123" y="0"/>
                  <a:pt x="18571" y="0"/>
                </a:cubicBezTo>
                <a:lnTo>
                  <a:pt x="2977" y="0"/>
                </a:lnTo>
                <a:cubicBezTo>
                  <a:pt x="2425" y="0"/>
                  <a:pt x="1979" y="621"/>
                  <a:pt x="1979" y="1384"/>
                </a:cubicBezTo>
                <a:lnTo>
                  <a:pt x="1979" y="15711"/>
                </a:lnTo>
                <a:cubicBezTo>
                  <a:pt x="1979" y="15978"/>
                  <a:pt x="2035" y="16224"/>
                  <a:pt x="2129" y="16436"/>
                </a:cubicBezTo>
                <a:cubicBezTo>
                  <a:pt x="2129" y="16436"/>
                  <a:pt x="0" y="20510"/>
                  <a:pt x="0" y="20510"/>
                </a:cubicBezTo>
                <a:close/>
              </a:path>
            </a:pathLst>
          </a:custGeom>
          <a:solidFill>
            <a:srgbClr val="FFFFFF"/>
          </a:solidFill>
          <a:ln w="12700" cap="flat">
            <a:noFill/>
            <a:miter lim="400000"/>
          </a:ln>
          <a:effectLst/>
        </p:spPr>
        <p:txBody>
          <a:bodyPr wrap="square" lIns="38100" tIns="38100" rIns="38100" bIns="38100" numCol="1" anchor="ctr">
            <a:noAutofit/>
          </a:bodyPr>
          <a:lstStyle/>
          <a:p>
            <a:pPr lvl="0"/>
            <a:endParaRPr>
              <a:cs typeface="+mn-ea"/>
              <a:sym typeface="+mn-lt"/>
            </a:endParaRPr>
          </a:p>
        </p:txBody>
      </p:sp>
      <p:sp>
        <p:nvSpPr>
          <p:cNvPr id="108" name="Shape 2284"/>
          <p:cNvSpPr/>
          <p:nvPr/>
        </p:nvSpPr>
        <p:spPr>
          <a:xfrm rot="3709188">
            <a:off x="6757393" y="3194515"/>
            <a:ext cx="1512472" cy="3043352"/>
          </a:xfrm>
          <a:custGeom>
            <a:avLst/>
            <a:gdLst/>
            <a:ahLst/>
            <a:cxnLst>
              <a:cxn ang="0">
                <a:pos x="wd2" y="hd2"/>
              </a:cxn>
              <a:cxn ang="5400000">
                <a:pos x="wd2" y="hd2"/>
              </a:cxn>
              <a:cxn ang="10800000">
                <a:pos x="wd2" y="hd2"/>
              </a:cxn>
              <a:cxn ang="16200000">
                <a:pos x="wd2" y="hd2"/>
              </a:cxn>
            </a:cxnLst>
            <a:rect l="0" t="0" r="r" b="b"/>
            <a:pathLst>
              <a:path w="20025" h="20820" extrusionOk="0">
                <a:moveTo>
                  <a:pt x="6920" y="8159"/>
                </a:moveTo>
                <a:cubicBezTo>
                  <a:pt x="3317" y="7491"/>
                  <a:pt x="1444" y="5440"/>
                  <a:pt x="2738" y="3578"/>
                </a:cubicBezTo>
                <a:cubicBezTo>
                  <a:pt x="4031" y="1716"/>
                  <a:pt x="8001" y="749"/>
                  <a:pt x="11604" y="1417"/>
                </a:cubicBezTo>
                <a:cubicBezTo>
                  <a:pt x="15207" y="2085"/>
                  <a:pt x="17079" y="4136"/>
                  <a:pt x="15786" y="5998"/>
                </a:cubicBezTo>
                <a:cubicBezTo>
                  <a:pt x="14493" y="7860"/>
                  <a:pt x="10523" y="8827"/>
                  <a:pt x="6920" y="8159"/>
                </a:cubicBezTo>
                <a:close/>
                <a:moveTo>
                  <a:pt x="19989" y="20009"/>
                </a:moveTo>
                <a:cubicBezTo>
                  <a:pt x="19702" y="19345"/>
                  <a:pt x="14734" y="11897"/>
                  <a:pt x="14734" y="11897"/>
                </a:cubicBezTo>
                <a:cubicBezTo>
                  <a:pt x="14734" y="11897"/>
                  <a:pt x="14597" y="11709"/>
                  <a:pt x="14207" y="11734"/>
                </a:cubicBezTo>
                <a:lnTo>
                  <a:pt x="12631" y="9299"/>
                </a:lnTo>
                <a:cubicBezTo>
                  <a:pt x="13045" y="9217"/>
                  <a:pt x="13453" y="9119"/>
                  <a:pt x="13852" y="9004"/>
                </a:cubicBezTo>
                <a:cubicBezTo>
                  <a:pt x="18336" y="7706"/>
                  <a:pt x="19936" y="4777"/>
                  <a:pt x="17426" y="2460"/>
                </a:cubicBezTo>
                <a:cubicBezTo>
                  <a:pt x="14915" y="143"/>
                  <a:pt x="9245" y="-684"/>
                  <a:pt x="4761" y="613"/>
                </a:cubicBezTo>
                <a:cubicBezTo>
                  <a:pt x="277" y="1910"/>
                  <a:pt x="-1323" y="4840"/>
                  <a:pt x="1188" y="7157"/>
                </a:cubicBezTo>
                <a:cubicBezTo>
                  <a:pt x="3160" y="8978"/>
                  <a:pt x="7085" y="9878"/>
                  <a:pt x="10852" y="9551"/>
                </a:cubicBezTo>
                <a:lnTo>
                  <a:pt x="12372" y="12022"/>
                </a:lnTo>
                <a:cubicBezTo>
                  <a:pt x="12029" y="12121"/>
                  <a:pt x="12133" y="12314"/>
                  <a:pt x="12133" y="12314"/>
                </a:cubicBezTo>
                <a:cubicBezTo>
                  <a:pt x="12133" y="12314"/>
                  <a:pt x="16623" y="19843"/>
                  <a:pt x="17149" y="20467"/>
                </a:cubicBezTo>
                <a:cubicBezTo>
                  <a:pt x="17527" y="20916"/>
                  <a:pt x="18326" y="20838"/>
                  <a:pt x="18744" y="20759"/>
                </a:cubicBezTo>
                <a:lnTo>
                  <a:pt x="18747" y="20763"/>
                </a:lnTo>
                <a:cubicBezTo>
                  <a:pt x="18747" y="20763"/>
                  <a:pt x="20277" y="20673"/>
                  <a:pt x="19989" y="20009"/>
                </a:cubicBezTo>
                <a:close/>
              </a:path>
            </a:pathLst>
          </a:custGeom>
          <a:solidFill>
            <a:srgbClr val="7DA97A">
              <a:alpha val="46000"/>
            </a:srgbClr>
          </a:solidFill>
          <a:ln w="12700">
            <a:miter lim="400000"/>
          </a:ln>
        </p:spPr>
        <p:txBody>
          <a:bodyPr lIns="38100" tIns="38100" rIns="38100" bIns="38100" anchor="ctr"/>
          <a:lstStyle/>
          <a:p>
            <a:pPr lvl="0"/>
            <a:endParaRPr>
              <a:cs typeface="+mn-ea"/>
              <a:sym typeface="+mn-lt"/>
            </a:endParaRPr>
          </a:p>
        </p:txBody>
      </p:sp>
      <p:sp>
        <p:nvSpPr>
          <p:cNvPr id="109" name="Shape 2309"/>
          <p:cNvSpPr/>
          <p:nvPr/>
        </p:nvSpPr>
        <p:spPr>
          <a:xfrm>
            <a:off x="7678588" y="3753036"/>
            <a:ext cx="1058562" cy="105856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7DA97A"/>
          </a:solidFill>
          <a:ln w="12700" cap="flat">
            <a:noFill/>
            <a:miter lim="400000"/>
          </a:ln>
          <a:effectLst/>
        </p:spPr>
        <p:txBody>
          <a:bodyPr wrap="square" lIns="50800" tIns="50800" rIns="50800" bIns="50800" numCol="1" anchor="ctr">
            <a:noAutofit/>
          </a:bodyPr>
          <a:lstStyle/>
          <a:p>
            <a:pPr lvl="0"/>
            <a:endParaRPr>
              <a:cs typeface="+mn-ea"/>
              <a:sym typeface="+mn-lt"/>
            </a:endParaRPr>
          </a:p>
        </p:txBody>
      </p:sp>
      <p:grpSp>
        <p:nvGrpSpPr>
          <p:cNvPr id="110" name="Group 2320"/>
          <p:cNvGrpSpPr/>
          <p:nvPr/>
        </p:nvGrpSpPr>
        <p:grpSpPr>
          <a:xfrm>
            <a:off x="8026828" y="4086046"/>
            <a:ext cx="348809" cy="298134"/>
            <a:chOff x="0" y="0"/>
            <a:chExt cx="961862" cy="822124"/>
          </a:xfrm>
        </p:grpSpPr>
        <p:sp>
          <p:nvSpPr>
            <p:cNvPr id="111" name="Shape 2316"/>
            <p:cNvSpPr/>
            <p:nvPr/>
          </p:nvSpPr>
          <p:spPr>
            <a:xfrm>
              <a:off x="0" y="411062"/>
              <a:ext cx="167725" cy="411063"/>
            </a:xfrm>
            <a:prstGeom prst="rect">
              <a:avLst/>
            </a:prstGeom>
            <a:solidFill>
              <a:srgbClr val="FFFFFF"/>
            </a:solidFill>
            <a:ln w="12700" cap="flat">
              <a:noFill/>
              <a:miter lim="400000"/>
            </a:ln>
            <a:effectLst/>
          </p:spPr>
          <p:txBody>
            <a:bodyPr wrap="square" lIns="50800" tIns="50800" rIns="50800" bIns="50800" numCol="1" anchor="ctr">
              <a:noAutofit/>
            </a:bodyPr>
            <a:lstStyle/>
            <a:p>
              <a:pPr lvl="0"/>
              <a:endParaRPr>
                <a:cs typeface="+mn-ea"/>
                <a:sym typeface="+mn-lt"/>
              </a:endParaRPr>
            </a:p>
          </p:txBody>
        </p:sp>
        <p:sp>
          <p:nvSpPr>
            <p:cNvPr id="112" name="Shape 2317"/>
            <p:cNvSpPr/>
            <p:nvPr/>
          </p:nvSpPr>
          <p:spPr>
            <a:xfrm>
              <a:off x="264712" y="235390"/>
              <a:ext cx="167726" cy="586735"/>
            </a:xfrm>
            <a:prstGeom prst="rect">
              <a:avLst/>
            </a:prstGeom>
            <a:solidFill>
              <a:srgbClr val="FFFFFF"/>
            </a:solidFill>
            <a:ln w="12700" cap="flat">
              <a:noFill/>
              <a:miter lim="400000"/>
            </a:ln>
            <a:effectLst/>
          </p:spPr>
          <p:txBody>
            <a:bodyPr wrap="square" lIns="50800" tIns="50800" rIns="50800" bIns="50800" numCol="1" anchor="ctr">
              <a:noAutofit/>
            </a:bodyPr>
            <a:lstStyle/>
            <a:p>
              <a:pPr lvl="0"/>
              <a:endParaRPr>
                <a:cs typeface="+mn-ea"/>
                <a:sym typeface="+mn-lt"/>
              </a:endParaRPr>
            </a:p>
          </p:txBody>
        </p:sp>
        <p:sp>
          <p:nvSpPr>
            <p:cNvPr id="113" name="Shape 2318"/>
            <p:cNvSpPr/>
            <p:nvPr/>
          </p:nvSpPr>
          <p:spPr>
            <a:xfrm>
              <a:off x="529424" y="90476"/>
              <a:ext cx="167726" cy="731649"/>
            </a:xfrm>
            <a:prstGeom prst="rect">
              <a:avLst/>
            </a:prstGeom>
            <a:solidFill>
              <a:srgbClr val="FFFFFF"/>
            </a:solidFill>
            <a:ln w="12700" cap="flat">
              <a:noFill/>
              <a:miter lim="400000"/>
            </a:ln>
            <a:effectLst/>
          </p:spPr>
          <p:txBody>
            <a:bodyPr wrap="square" lIns="50800" tIns="50800" rIns="50800" bIns="50800" numCol="1" anchor="ctr">
              <a:noAutofit/>
            </a:bodyPr>
            <a:lstStyle/>
            <a:p>
              <a:pPr lvl="0"/>
              <a:endParaRPr>
                <a:cs typeface="+mn-ea"/>
                <a:sym typeface="+mn-lt"/>
              </a:endParaRPr>
            </a:p>
          </p:txBody>
        </p:sp>
        <p:sp>
          <p:nvSpPr>
            <p:cNvPr id="114" name="Shape 2319"/>
            <p:cNvSpPr/>
            <p:nvPr/>
          </p:nvSpPr>
          <p:spPr>
            <a:xfrm>
              <a:off x="794137" y="0"/>
              <a:ext cx="167726" cy="822125"/>
            </a:xfrm>
            <a:prstGeom prst="rect">
              <a:avLst/>
            </a:prstGeom>
            <a:solidFill>
              <a:srgbClr val="FFFFFF"/>
            </a:solidFill>
            <a:ln w="12700" cap="flat">
              <a:noFill/>
              <a:miter lim="400000"/>
            </a:ln>
            <a:effectLst/>
          </p:spPr>
          <p:txBody>
            <a:bodyPr wrap="square" lIns="50800" tIns="50800" rIns="50800" bIns="50800" numCol="1" anchor="ctr">
              <a:noAutofit/>
            </a:bodyPr>
            <a:lstStyle/>
            <a:p>
              <a:pPr lvl="0"/>
              <a:endParaRPr>
                <a:cs typeface="+mn-ea"/>
                <a:sym typeface="+mn-lt"/>
              </a:endParaRPr>
            </a:p>
          </p:txBody>
        </p:sp>
      </p:grpSp>
      <p:sp>
        <p:nvSpPr>
          <p:cNvPr id="115" name="文本框 114"/>
          <p:cNvSpPr txBox="1"/>
          <p:nvPr/>
        </p:nvSpPr>
        <p:spPr>
          <a:xfrm>
            <a:off x="2183167" y="2463239"/>
            <a:ext cx="2056838" cy="784830"/>
          </a:xfrm>
          <a:prstGeom prst="rect">
            <a:avLst/>
          </a:prstGeom>
          <a:noFill/>
        </p:spPr>
        <p:txBody>
          <a:bodyPr wrap="square" rtlCol="0">
            <a:spAutoFit/>
          </a:bodyPr>
          <a:lstStyle/>
          <a:p>
            <a:pPr algn="ctr">
              <a:lnSpc>
                <a:spcPct val="125000"/>
              </a:lnSpc>
            </a:pPr>
            <a:r>
              <a:rPr lang="zh-CN" altLang="en-US" sz="1200" dirty="0">
                <a:solidFill>
                  <a:schemeClr val="tx1">
                    <a:lumMod val="75000"/>
                    <a:lumOff val="25000"/>
                  </a:schemeClr>
                </a:solidFill>
                <a:cs typeface="+mn-ea"/>
                <a:sym typeface="+mn-lt"/>
              </a:rPr>
              <a:t>点击文本框即可进行编辑输入相关内容点击文本框即可进行编辑输入相关内容</a:t>
            </a:r>
          </a:p>
        </p:txBody>
      </p:sp>
      <p:sp>
        <p:nvSpPr>
          <p:cNvPr id="116" name="文本框 115"/>
          <p:cNvSpPr txBox="1"/>
          <p:nvPr/>
        </p:nvSpPr>
        <p:spPr>
          <a:xfrm>
            <a:off x="2569134" y="2162785"/>
            <a:ext cx="1284902" cy="338554"/>
          </a:xfrm>
          <a:prstGeom prst="rect">
            <a:avLst/>
          </a:prstGeom>
          <a:noFill/>
        </p:spPr>
        <p:txBody>
          <a:bodyPr wrap="square" rtlCol="0">
            <a:spAutoFit/>
          </a:bodyPr>
          <a:lstStyle/>
          <a:p>
            <a:pPr algn="ctr"/>
            <a:r>
              <a:rPr lang="zh-CN" altLang="en-US" sz="1600" dirty="0">
                <a:solidFill>
                  <a:schemeClr val="tx1">
                    <a:lumMod val="75000"/>
                    <a:lumOff val="25000"/>
                  </a:schemeClr>
                </a:solidFill>
                <a:cs typeface="+mn-ea"/>
                <a:sym typeface="+mn-lt"/>
              </a:rPr>
              <a:t>编辑标题</a:t>
            </a:r>
          </a:p>
        </p:txBody>
      </p:sp>
      <p:sp>
        <p:nvSpPr>
          <p:cNvPr id="117" name="文本框 116"/>
          <p:cNvSpPr txBox="1"/>
          <p:nvPr/>
        </p:nvSpPr>
        <p:spPr>
          <a:xfrm>
            <a:off x="4466555" y="2463239"/>
            <a:ext cx="2056838" cy="784830"/>
          </a:xfrm>
          <a:prstGeom prst="rect">
            <a:avLst/>
          </a:prstGeom>
          <a:noFill/>
        </p:spPr>
        <p:txBody>
          <a:bodyPr wrap="square" rtlCol="0">
            <a:spAutoFit/>
          </a:bodyPr>
          <a:lstStyle/>
          <a:p>
            <a:pPr algn="ctr">
              <a:lnSpc>
                <a:spcPct val="125000"/>
              </a:lnSpc>
            </a:pPr>
            <a:r>
              <a:rPr lang="zh-CN" altLang="en-US" sz="1200" dirty="0">
                <a:solidFill>
                  <a:schemeClr val="tx1">
                    <a:lumMod val="75000"/>
                    <a:lumOff val="25000"/>
                  </a:schemeClr>
                </a:solidFill>
                <a:cs typeface="+mn-ea"/>
                <a:sym typeface="+mn-lt"/>
              </a:rPr>
              <a:t>点击文本框即可进行编辑输入相关内容点击文本框即可进行编辑输入相关内容</a:t>
            </a:r>
          </a:p>
        </p:txBody>
      </p:sp>
      <p:sp>
        <p:nvSpPr>
          <p:cNvPr id="118" name="文本框 117"/>
          <p:cNvSpPr txBox="1"/>
          <p:nvPr/>
        </p:nvSpPr>
        <p:spPr>
          <a:xfrm>
            <a:off x="4852522" y="2162785"/>
            <a:ext cx="1284902" cy="338554"/>
          </a:xfrm>
          <a:prstGeom prst="rect">
            <a:avLst/>
          </a:prstGeom>
          <a:noFill/>
        </p:spPr>
        <p:txBody>
          <a:bodyPr wrap="square" rtlCol="0">
            <a:spAutoFit/>
          </a:bodyPr>
          <a:lstStyle/>
          <a:p>
            <a:pPr algn="ctr"/>
            <a:r>
              <a:rPr lang="zh-CN" altLang="en-US" sz="1600" dirty="0">
                <a:solidFill>
                  <a:schemeClr val="tx1">
                    <a:lumMod val="75000"/>
                    <a:lumOff val="25000"/>
                  </a:schemeClr>
                </a:solidFill>
                <a:cs typeface="+mn-ea"/>
                <a:sym typeface="+mn-lt"/>
              </a:rPr>
              <a:t>编辑标题</a:t>
            </a:r>
          </a:p>
        </p:txBody>
      </p:sp>
      <p:sp>
        <p:nvSpPr>
          <p:cNvPr id="119" name="文本框 118"/>
          <p:cNvSpPr txBox="1"/>
          <p:nvPr/>
        </p:nvSpPr>
        <p:spPr>
          <a:xfrm>
            <a:off x="7155228" y="2463239"/>
            <a:ext cx="2056838" cy="784830"/>
          </a:xfrm>
          <a:prstGeom prst="rect">
            <a:avLst/>
          </a:prstGeom>
          <a:noFill/>
        </p:spPr>
        <p:txBody>
          <a:bodyPr wrap="square" rtlCol="0">
            <a:spAutoFit/>
          </a:bodyPr>
          <a:lstStyle/>
          <a:p>
            <a:pPr algn="ctr">
              <a:lnSpc>
                <a:spcPct val="125000"/>
              </a:lnSpc>
            </a:pPr>
            <a:r>
              <a:rPr lang="zh-CN" altLang="en-US" sz="1200" dirty="0">
                <a:solidFill>
                  <a:schemeClr val="tx1">
                    <a:lumMod val="75000"/>
                    <a:lumOff val="25000"/>
                  </a:schemeClr>
                </a:solidFill>
                <a:cs typeface="+mn-ea"/>
                <a:sym typeface="+mn-lt"/>
              </a:rPr>
              <a:t>点击文本框即可进行编辑输入相关内容点击文本框即可进行编辑输入相关内容</a:t>
            </a:r>
          </a:p>
        </p:txBody>
      </p:sp>
      <p:sp>
        <p:nvSpPr>
          <p:cNvPr id="120" name="文本框 119"/>
          <p:cNvSpPr txBox="1"/>
          <p:nvPr/>
        </p:nvSpPr>
        <p:spPr>
          <a:xfrm>
            <a:off x="7541195" y="2162785"/>
            <a:ext cx="1284902" cy="338554"/>
          </a:xfrm>
          <a:prstGeom prst="rect">
            <a:avLst/>
          </a:prstGeom>
          <a:noFill/>
        </p:spPr>
        <p:txBody>
          <a:bodyPr wrap="square" rtlCol="0">
            <a:spAutoFit/>
          </a:bodyPr>
          <a:lstStyle/>
          <a:p>
            <a:pPr algn="ctr"/>
            <a:r>
              <a:rPr lang="zh-CN" altLang="en-US" sz="1600" dirty="0">
                <a:solidFill>
                  <a:schemeClr val="tx1">
                    <a:lumMod val="75000"/>
                    <a:lumOff val="25000"/>
                  </a:schemeClr>
                </a:solidFill>
                <a:cs typeface="+mn-ea"/>
                <a:sym typeface="+mn-lt"/>
              </a:rPr>
              <a:t>编辑标题</a:t>
            </a:r>
          </a:p>
        </p:txBody>
      </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 calcmode="lin" valueType="num">
                                      <p:cBhvr>
                                        <p:cTn id="7" dur="500" fill="hold"/>
                                        <p:tgtEl>
                                          <p:spTgt spid="102"/>
                                        </p:tgtEl>
                                        <p:attrNameLst>
                                          <p:attrName>ppt_w</p:attrName>
                                        </p:attrNameLst>
                                      </p:cBhvr>
                                      <p:tavLst>
                                        <p:tav tm="0">
                                          <p:val>
                                            <p:fltVal val="0"/>
                                          </p:val>
                                        </p:tav>
                                        <p:tav tm="100000">
                                          <p:val>
                                            <p:strVal val="#ppt_w"/>
                                          </p:val>
                                        </p:tav>
                                      </p:tavLst>
                                    </p:anim>
                                    <p:anim calcmode="lin" valueType="num">
                                      <p:cBhvr>
                                        <p:cTn id="8" dur="500" fill="hold"/>
                                        <p:tgtEl>
                                          <p:spTgt spid="102"/>
                                        </p:tgtEl>
                                        <p:attrNameLst>
                                          <p:attrName>ppt_h</p:attrName>
                                        </p:attrNameLst>
                                      </p:cBhvr>
                                      <p:tavLst>
                                        <p:tav tm="0">
                                          <p:val>
                                            <p:fltVal val="0"/>
                                          </p:val>
                                        </p:tav>
                                        <p:tav tm="100000">
                                          <p:val>
                                            <p:strVal val="#ppt_h"/>
                                          </p:val>
                                        </p:tav>
                                      </p:tavLst>
                                    </p:anim>
                                    <p:animEffect transition="in" filter="fade">
                                      <p:cBhvr>
                                        <p:cTn id="9" dur="500"/>
                                        <p:tgtEl>
                                          <p:spTgt spid="10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05"/>
                                        </p:tgtEl>
                                        <p:attrNameLst>
                                          <p:attrName>style.visibility</p:attrName>
                                        </p:attrNameLst>
                                      </p:cBhvr>
                                      <p:to>
                                        <p:strVal val="visible"/>
                                      </p:to>
                                    </p:set>
                                    <p:anim calcmode="lin" valueType="num">
                                      <p:cBhvr>
                                        <p:cTn id="13" dur="500" fill="hold"/>
                                        <p:tgtEl>
                                          <p:spTgt spid="105"/>
                                        </p:tgtEl>
                                        <p:attrNameLst>
                                          <p:attrName>ppt_w</p:attrName>
                                        </p:attrNameLst>
                                      </p:cBhvr>
                                      <p:tavLst>
                                        <p:tav tm="0">
                                          <p:val>
                                            <p:fltVal val="0"/>
                                          </p:val>
                                        </p:tav>
                                        <p:tav tm="100000">
                                          <p:val>
                                            <p:strVal val="#ppt_w"/>
                                          </p:val>
                                        </p:tav>
                                      </p:tavLst>
                                    </p:anim>
                                    <p:anim calcmode="lin" valueType="num">
                                      <p:cBhvr>
                                        <p:cTn id="14" dur="500" fill="hold"/>
                                        <p:tgtEl>
                                          <p:spTgt spid="105"/>
                                        </p:tgtEl>
                                        <p:attrNameLst>
                                          <p:attrName>ppt_h</p:attrName>
                                        </p:attrNameLst>
                                      </p:cBhvr>
                                      <p:tavLst>
                                        <p:tav tm="0">
                                          <p:val>
                                            <p:fltVal val="0"/>
                                          </p:val>
                                        </p:tav>
                                        <p:tav tm="100000">
                                          <p:val>
                                            <p:strVal val="#ppt_h"/>
                                          </p:val>
                                        </p:tav>
                                      </p:tavLst>
                                    </p:anim>
                                    <p:animEffect transition="in" filter="fade">
                                      <p:cBhvr>
                                        <p:cTn id="15" dur="500"/>
                                        <p:tgtEl>
                                          <p:spTgt spid="105"/>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108"/>
                                        </p:tgtEl>
                                        <p:attrNameLst>
                                          <p:attrName>style.visibility</p:attrName>
                                        </p:attrNameLst>
                                      </p:cBhvr>
                                      <p:to>
                                        <p:strVal val="visible"/>
                                      </p:to>
                                    </p:set>
                                    <p:anim calcmode="lin" valueType="num">
                                      <p:cBhvr>
                                        <p:cTn id="19" dur="500" fill="hold"/>
                                        <p:tgtEl>
                                          <p:spTgt spid="108"/>
                                        </p:tgtEl>
                                        <p:attrNameLst>
                                          <p:attrName>ppt_w</p:attrName>
                                        </p:attrNameLst>
                                      </p:cBhvr>
                                      <p:tavLst>
                                        <p:tav tm="0">
                                          <p:val>
                                            <p:fltVal val="0"/>
                                          </p:val>
                                        </p:tav>
                                        <p:tav tm="100000">
                                          <p:val>
                                            <p:strVal val="#ppt_w"/>
                                          </p:val>
                                        </p:tav>
                                      </p:tavLst>
                                    </p:anim>
                                    <p:anim calcmode="lin" valueType="num">
                                      <p:cBhvr>
                                        <p:cTn id="20" dur="500" fill="hold"/>
                                        <p:tgtEl>
                                          <p:spTgt spid="108"/>
                                        </p:tgtEl>
                                        <p:attrNameLst>
                                          <p:attrName>ppt_h</p:attrName>
                                        </p:attrNameLst>
                                      </p:cBhvr>
                                      <p:tavLst>
                                        <p:tav tm="0">
                                          <p:val>
                                            <p:fltVal val="0"/>
                                          </p:val>
                                        </p:tav>
                                        <p:tav tm="100000">
                                          <p:val>
                                            <p:strVal val="#ppt_h"/>
                                          </p:val>
                                        </p:tav>
                                      </p:tavLst>
                                    </p:anim>
                                    <p:animEffect transition="in" filter="fade">
                                      <p:cBhvr>
                                        <p:cTn id="21"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5" grpId="0" animBg="1"/>
      <p:bldP spid="10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Callout 40"/>
          <p:cNvSpPr/>
          <p:nvPr/>
        </p:nvSpPr>
        <p:spPr>
          <a:xfrm>
            <a:off x="4963019" y="2018228"/>
            <a:ext cx="2266251" cy="1639297"/>
          </a:xfrm>
          <a:prstGeom prst="wedgeEllipseCallout">
            <a:avLst>
              <a:gd name="adj1" fmla="val -284"/>
              <a:gd name="adj2" fmla="val 67135"/>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solidFill>
                <a:schemeClr val="bg1"/>
              </a:solidFill>
              <a:cs typeface="+mn-ea"/>
              <a:sym typeface="+mn-lt"/>
            </a:endParaRPr>
          </a:p>
        </p:txBody>
      </p:sp>
      <p:sp>
        <p:nvSpPr>
          <p:cNvPr id="42" name="Oval Callout 41"/>
          <p:cNvSpPr/>
          <p:nvPr/>
        </p:nvSpPr>
        <p:spPr>
          <a:xfrm>
            <a:off x="6890192" y="2201864"/>
            <a:ext cx="1830414" cy="1324031"/>
          </a:xfrm>
          <a:prstGeom prst="wedgeEllipseCallout">
            <a:avLst>
              <a:gd name="adj1" fmla="val -9789"/>
              <a:gd name="adj2" fmla="val 67814"/>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solidFill>
                <a:srgbClr val="F33745"/>
              </a:solidFill>
              <a:cs typeface="+mn-ea"/>
              <a:sym typeface="+mn-lt"/>
            </a:endParaRPr>
          </a:p>
        </p:txBody>
      </p:sp>
      <p:sp>
        <p:nvSpPr>
          <p:cNvPr id="43" name="Oval Callout 42"/>
          <p:cNvSpPr/>
          <p:nvPr/>
        </p:nvSpPr>
        <p:spPr>
          <a:xfrm>
            <a:off x="8379041" y="2460138"/>
            <a:ext cx="1632302" cy="1180729"/>
          </a:xfrm>
          <a:prstGeom prst="wedgeEllipseCallout">
            <a:avLst>
              <a:gd name="adj1" fmla="val -23371"/>
              <a:gd name="adj2" fmla="val 65777"/>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sp>
        <p:nvSpPr>
          <p:cNvPr id="44" name="Oval Callout 43"/>
          <p:cNvSpPr/>
          <p:nvPr/>
        </p:nvSpPr>
        <p:spPr>
          <a:xfrm flipH="1">
            <a:off x="3492664" y="2201864"/>
            <a:ext cx="1830414" cy="1324031"/>
          </a:xfrm>
          <a:prstGeom prst="wedgeEllipseCallout">
            <a:avLst>
              <a:gd name="adj1" fmla="val -9789"/>
              <a:gd name="adj2" fmla="val 67814"/>
            </a:avLst>
          </a:prstGeom>
          <a:solidFill>
            <a:srgbClr val="82B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solidFill>
                <a:srgbClr val="F33745"/>
              </a:solidFill>
              <a:cs typeface="+mn-ea"/>
              <a:sym typeface="+mn-lt"/>
            </a:endParaRPr>
          </a:p>
        </p:txBody>
      </p:sp>
      <p:sp>
        <p:nvSpPr>
          <p:cNvPr id="64" name="Oval Callout 63"/>
          <p:cNvSpPr/>
          <p:nvPr/>
        </p:nvSpPr>
        <p:spPr>
          <a:xfrm flipH="1">
            <a:off x="2177874" y="2460138"/>
            <a:ext cx="1632302" cy="1180729"/>
          </a:xfrm>
          <a:prstGeom prst="wedgeEllipseCallout">
            <a:avLst>
              <a:gd name="adj1" fmla="val -23371"/>
              <a:gd name="adj2" fmla="val 65777"/>
            </a:avLst>
          </a:prstGeom>
          <a:solidFill>
            <a:srgbClr val="86B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grpSp>
        <p:nvGrpSpPr>
          <p:cNvPr id="2" name="Group 64"/>
          <p:cNvGrpSpPr/>
          <p:nvPr/>
        </p:nvGrpSpPr>
        <p:grpSpPr>
          <a:xfrm>
            <a:off x="5508271" y="2366932"/>
            <a:ext cx="1168278" cy="912120"/>
            <a:chOff x="5358001" y="1775580"/>
            <a:chExt cx="1454622" cy="1050691"/>
          </a:xfrm>
        </p:grpSpPr>
        <p:sp>
          <p:nvSpPr>
            <p:cNvPr id="82" name="Text Placeholder 32"/>
            <p:cNvSpPr txBox="1"/>
            <p:nvPr/>
          </p:nvSpPr>
          <p:spPr>
            <a:xfrm>
              <a:off x="5358001" y="2020073"/>
              <a:ext cx="1454622" cy="806198"/>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en-US" altLang="zh-CN" sz="760" dirty="0">
                  <a:solidFill>
                    <a:schemeClr val="bg1"/>
                  </a:solidFill>
                  <a:latin typeface="+mn-lt"/>
                  <a:cs typeface="+mn-ea"/>
                  <a:sym typeface="+mn-lt"/>
                </a:rPr>
                <a:t>Please replace text, click add relevant headline, modify the text content, also can copy your content to this directly.</a:t>
              </a:r>
              <a:endParaRPr lang="en-US" sz="760" dirty="0">
                <a:solidFill>
                  <a:schemeClr val="bg1"/>
                </a:solidFill>
                <a:latin typeface="+mn-lt"/>
                <a:cs typeface="+mn-ea"/>
                <a:sym typeface="+mn-lt"/>
              </a:endParaRPr>
            </a:p>
          </p:txBody>
        </p:sp>
        <p:sp>
          <p:nvSpPr>
            <p:cNvPr id="84" name="TextBox 83"/>
            <p:cNvSpPr txBox="1"/>
            <p:nvPr/>
          </p:nvSpPr>
          <p:spPr>
            <a:xfrm>
              <a:off x="5641565" y="1775580"/>
              <a:ext cx="846260" cy="258146"/>
            </a:xfrm>
            <a:prstGeom prst="rect">
              <a:avLst/>
            </a:prstGeom>
            <a:noFill/>
          </p:spPr>
          <p:txBody>
            <a:bodyPr wrap="none" lIns="0" tIns="0" rIns="0" bIns="0" rtlCol="0">
              <a:spAutoFit/>
            </a:bodyPr>
            <a:lstStyle/>
            <a:p>
              <a:pPr algn="just">
                <a:lnSpc>
                  <a:spcPct val="120000"/>
                </a:lnSpc>
              </a:pPr>
              <a:r>
                <a:rPr lang="zh-CN" altLang="en-US" sz="1330" dirty="0">
                  <a:solidFill>
                    <a:schemeClr val="bg1"/>
                  </a:solidFill>
                  <a:cs typeface="+mn-ea"/>
                  <a:sym typeface="+mn-lt"/>
                </a:rPr>
                <a:t>文字内容</a:t>
              </a:r>
              <a:endParaRPr lang="en-US" altLang="zh-CN" sz="1330" dirty="0">
                <a:solidFill>
                  <a:schemeClr val="bg1"/>
                </a:solidFill>
                <a:cs typeface="+mn-ea"/>
                <a:sym typeface="+mn-lt"/>
              </a:endParaRPr>
            </a:p>
          </p:txBody>
        </p:sp>
      </p:grpSp>
      <p:grpSp>
        <p:nvGrpSpPr>
          <p:cNvPr id="3" name="Group 65"/>
          <p:cNvGrpSpPr/>
          <p:nvPr/>
        </p:nvGrpSpPr>
        <p:grpSpPr>
          <a:xfrm>
            <a:off x="7292179" y="2416230"/>
            <a:ext cx="1013470" cy="1066031"/>
            <a:chOff x="7355481" y="1860073"/>
            <a:chExt cx="1261870" cy="1227978"/>
          </a:xfrm>
        </p:grpSpPr>
        <p:sp>
          <p:nvSpPr>
            <p:cNvPr id="79" name="Text Placeholder 32"/>
            <p:cNvSpPr txBox="1"/>
            <p:nvPr/>
          </p:nvSpPr>
          <p:spPr>
            <a:xfrm>
              <a:off x="7355481" y="2120620"/>
              <a:ext cx="1261870" cy="967431"/>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en-US" altLang="zh-CN" sz="760" dirty="0">
                  <a:solidFill>
                    <a:schemeClr val="bg1"/>
                  </a:solidFill>
                  <a:latin typeface="+mn-lt"/>
                  <a:cs typeface="+mn-ea"/>
                  <a:sym typeface="+mn-lt"/>
                </a:rPr>
                <a:t>Please replace text, click add relevant headline, modify the text content, also can copy your content to this directly.</a:t>
              </a:r>
            </a:p>
          </p:txBody>
        </p:sp>
        <p:sp>
          <p:nvSpPr>
            <p:cNvPr id="81" name="TextBox 80"/>
            <p:cNvSpPr txBox="1"/>
            <p:nvPr/>
          </p:nvSpPr>
          <p:spPr>
            <a:xfrm>
              <a:off x="7545403" y="1860073"/>
              <a:ext cx="846260" cy="258144"/>
            </a:xfrm>
            <a:prstGeom prst="rect">
              <a:avLst/>
            </a:prstGeom>
            <a:noFill/>
          </p:spPr>
          <p:txBody>
            <a:bodyPr wrap="none" lIns="0" tIns="0" rIns="0" bIns="0" rtlCol="0">
              <a:spAutoFit/>
            </a:bodyPr>
            <a:lstStyle/>
            <a:p>
              <a:pPr algn="just">
                <a:lnSpc>
                  <a:spcPct val="120000"/>
                </a:lnSpc>
              </a:pPr>
              <a:r>
                <a:rPr lang="zh-CN" altLang="en-US" sz="1330" dirty="0">
                  <a:solidFill>
                    <a:schemeClr val="bg1"/>
                  </a:solidFill>
                  <a:cs typeface="+mn-ea"/>
                  <a:sym typeface="+mn-lt"/>
                </a:rPr>
                <a:t>文字内容</a:t>
              </a:r>
              <a:endParaRPr lang="en-US" sz="1330" dirty="0">
                <a:solidFill>
                  <a:schemeClr val="bg1"/>
                </a:solidFill>
                <a:cs typeface="+mn-ea"/>
                <a:sym typeface="+mn-lt"/>
              </a:endParaRPr>
            </a:p>
          </p:txBody>
        </p:sp>
      </p:grpSp>
      <p:grpSp>
        <p:nvGrpSpPr>
          <p:cNvPr id="4" name="Group 66"/>
          <p:cNvGrpSpPr/>
          <p:nvPr/>
        </p:nvGrpSpPr>
        <p:grpSpPr>
          <a:xfrm>
            <a:off x="3874356" y="2373327"/>
            <a:ext cx="1013470" cy="1085717"/>
            <a:chOff x="7355481" y="1810655"/>
            <a:chExt cx="1261870" cy="1250658"/>
          </a:xfrm>
        </p:grpSpPr>
        <p:sp>
          <p:nvSpPr>
            <p:cNvPr id="76" name="Text Placeholder 32"/>
            <p:cNvSpPr txBox="1"/>
            <p:nvPr/>
          </p:nvSpPr>
          <p:spPr>
            <a:xfrm>
              <a:off x="7355481" y="2093880"/>
              <a:ext cx="1261870" cy="967433"/>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en-US" altLang="zh-CN" sz="760" dirty="0">
                  <a:solidFill>
                    <a:schemeClr val="bg1"/>
                  </a:solidFill>
                  <a:latin typeface="+mn-lt"/>
                  <a:cs typeface="+mn-ea"/>
                  <a:sym typeface="+mn-lt"/>
                </a:rPr>
                <a:t>Please replace text, click add relevant headline, modify the text content, also can copy your content to this directly.</a:t>
              </a:r>
            </a:p>
          </p:txBody>
        </p:sp>
        <p:sp>
          <p:nvSpPr>
            <p:cNvPr id="78" name="TextBox 77"/>
            <p:cNvSpPr txBox="1"/>
            <p:nvPr/>
          </p:nvSpPr>
          <p:spPr>
            <a:xfrm>
              <a:off x="7545403" y="1810655"/>
              <a:ext cx="846260" cy="258145"/>
            </a:xfrm>
            <a:prstGeom prst="rect">
              <a:avLst/>
            </a:prstGeom>
            <a:noFill/>
          </p:spPr>
          <p:txBody>
            <a:bodyPr wrap="none" lIns="0" tIns="0" rIns="0" bIns="0" rtlCol="0">
              <a:spAutoFit/>
            </a:bodyPr>
            <a:lstStyle/>
            <a:p>
              <a:pPr algn="just">
                <a:lnSpc>
                  <a:spcPct val="120000"/>
                </a:lnSpc>
              </a:pPr>
              <a:r>
                <a:rPr lang="zh-CN" altLang="en-US" sz="1330" dirty="0">
                  <a:solidFill>
                    <a:schemeClr val="bg1"/>
                  </a:solidFill>
                  <a:cs typeface="+mn-ea"/>
                  <a:sym typeface="+mn-lt"/>
                </a:rPr>
                <a:t>文字内容</a:t>
              </a:r>
              <a:endParaRPr lang="en-US" sz="1330" dirty="0">
                <a:solidFill>
                  <a:schemeClr val="bg1"/>
                </a:solidFill>
                <a:cs typeface="+mn-ea"/>
                <a:sym typeface="+mn-lt"/>
              </a:endParaRPr>
            </a:p>
          </p:txBody>
        </p:sp>
      </p:grpSp>
      <p:grpSp>
        <p:nvGrpSpPr>
          <p:cNvPr id="5" name="Group 67"/>
          <p:cNvGrpSpPr/>
          <p:nvPr/>
        </p:nvGrpSpPr>
        <p:grpSpPr>
          <a:xfrm>
            <a:off x="8720606" y="2593571"/>
            <a:ext cx="1013470" cy="1073165"/>
            <a:chOff x="7355481" y="1858135"/>
            <a:chExt cx="1261870" cy="1236196"/>
          </a:xfrm>
        </p:grpSpPr>
        <p:sp>
          <p:nvSpPr>
            <p:cNvPr id="73" name="Text Placeholder 32"/>
            <p:cNvSpPr txBox="1"/>
            <p:nvPr/>
          </p:nvSpPr>
          <p:spPr>
            <a:xfrm>
              <a:off x="7355481" y="2126900"/>
              <a:ext cx="1261870" cy="967431"/>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en-US" altLang="zh-CN" sz="760" dirty="0">
                  <a:solidFill>
                    <a:schemeClr val="bg1"/>
                  </a:solidFill>
                  <a:latin typeface="+mn-lt"/>
                  <a:cs typeface="+mn-ea"/>
                  <a:sym typeface="+mn-lt"/>
                </a:rPr>
                <a:t>Please replace text, click add relevant headline, modify the text content, also can copy your content to this directly.</a:t>
              </a:r>
            </a:p>
          </p:txBody>
        </p:sp>
        <p:sp>
          <p:nvSpPr>
            <p:cNvPr id="75" name="TextBox 74"/>
            <p:cNvSpPr txBox="1"/>
            <p:nvPr/>
          </p:nvSpPr>
          <p:spPr>
            <a:xfrm>
              <a:off x="7545403" y="1858135"/>
              <a:ext cx="846260" cy="258144"/>
            </a:xfrm>
            <a:prstGeom prst="rect">
              <a:avLst/>
            </a:prstGeom>
            <a:noFill/>
          </p:spPr>
          <p:txBody>
            <a:bodyPr wrap="none" lIns="0" tIns="0" rIns="0" bIns="0" rtlCol="0">
              <a:spAutoFit/>
            </a:bodyPr>
            <a:lstStyle/>
            <a:p>
              <a:pPr algn="just">
                <a:lnSpc>
                  <a:spcPct val="120000"/>
                </a:lnSpc>
              </a:pPr>
              <a:r>
                <a:rPr lang="zh-CN" altLang="en-US" sz="1330" dirty="0">
                  <a:solidFill>
                    <a:schemeClr val="bg1"/>
                  </a:solidFill>
                  <a:cs typeface="+mn-ea"/>
                  <a:sym typeface="+mn-lt"/>
                </a:rPr>
                <a:t>文字内容</a:t>
              </a:r>
              <a:endParaRPr lang="en-US" sz="1330" dirty="0">
                <a:solidFill>
                  <a:schemeClr val="bg1"/>
                </a:solidFill>
                <a:cs typeface="+mn-ea"/>
                <a:sym typeface="+mn-lt"/>
              </a:endParaRPr>
            </a:p>
          </p:txBody>
        </p:sp>
      </p:grpSp>
      <p:grpSp>
        <p:nvGrpSpPr>
          <p:cNvPr id="6" name="Group 68"/>
          <p:cNvGrpSpPr/>
          <p:nvPr/>
        </p:nvGrpSpPr>
        <p:grpSpPr>
          <a:xfrm>
            <a:off x="2421099" y="2545474"/>
            <a:ext cx="1013471" cy="1061854"/>
            <a:chOff x="7355481" y="1802729"/>
            <a:chExt cx="1261870" cy="1223169"/>
          </a:xfrm>
        </p:grpSpPr>
        <p:sp>
          <p:nvSpPr>
            <p:cNvPr id="70" name="Text Placeholder 32"/>
            <p:cNvSpPr txBox="1"/>
            <p:nvPr/>
          </p:nvSpPr>
          <p:spPr>
            <a:xfrm>
              <a:off x="7355481" y="2058465"/>
              <a:ext cx="1261870" cy="967433"/>
            </a:xfrm>
            <a:prstGeom prst="rect">
              <a:avLst/>
            </a:prstGeom>
          </p:spPr>
          <p:txBody>
            <a:bodyPr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en-US" altLang="zh-CN" sz="760" dirty="0">
                  <a:solidFill>
                    <a:schemeClr val="bg1"/>
                  </a:solidFill>
                  <a:latin typeface="+mn-lt"/>
                  <a:cs typeface="+mn-ea"/>
                  <a:sym typeface="+mn-lt"/>
                </a:rPr>
                <a:t>Please replace text, click add relevant headline, modify the text content, also can copy your content to this directly.</a:t>
              </a:r>
            </a:p>
          </p:txBody>
        </p:sp>
        <p:sp>
          <p:nvSpPr>
            <p:cNvPr id="72" name="TextBox 71"/>
            <p:cNvSpPr txBox="1"/>
            <p:nvPr/>
          </p:nvSpPr>
          <p:spPr>
            <a:xfrm>
              <a:off x="7545402" y="1802729"/>
              <a:ext cx="846259" cy="258145"/>
            </a:xfrm>
            <a:prstGeom prst="rect">
              <a:avLst/>
            </a:prstGeom>
            <a:noFill/>
          </p:spPr>
          <p:txBody>
            <a:bodyPr wrap="none" lIns="0" tIns="0" rIns="0" bIns="0" rtlCol="0">
              <a:spAutoFit/>
            </a:bodyPr>
            <a:lstStyle/>
            <a:p>
              <a:pPr algn="just">
                <a:lnSpc>
                  <a:spcPct val="120000"/>
                </a:lnSpc>
              </a:pPr>
              <a:r>
                <a:rPr lang="zh-CN" altLang="en-US" sz="1330" dirty="0">
                  <a:solidFill>
                    <a:schemeClr val="bg1"/>
                  </a:solidFill>
                  <a:cs typeface="+mn-ea"/>
                  <a:sym typeface="+mn-lt"/>
                </a:rPr>
                <a:t>文字内容</a:t>
              </a:r>
              <a:endParaRPr lang="en-US" sz="1330" dirty="0">
                <a:solidFill>
                  <a:schemeClr val="bg1"/>
                </a:solidFill>
                <a:cs typeface="+mn-ea"/>
                <a:sym typeface="+mn-lt"/>
              </a:endParaRPr>
            </a:p>
          </p:txBody>
        </p:sp>
      </p:grpSp>
      <p:sp>
        <p:nvSpPr>
          <p:cNvPr id="86" name="Oval 85"/>
          <p:cNvSpPr>
            <a:spLocks noChangeAspect="1"/>
          </p:cNvSpPr>
          <p:nvPr/>
        </p:nvSpPr>
        <p:spPr>
          <a:xfrm>
            <a:off x="3661339" y="5857704"/>
            <a:ext cx="131109" cy="13110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950">
              <a:cs typeface="+mn-ea"/>
              <a:sym typeface="+mn-lt"/>
            </a:endParaRPr>
          </a:p>
        </p:txBody>
      </p:sp>
      <p:sp>
        <p:nvSpPr>
          <p:cNvPr id="87" name="TextBox 86"/>
          <p:cNvSpPr txBox="1"/>
          <p:nvPr/>
        </p:nvSpPr>
        <p:spPr>
          <a:xfrm>
            <a:off x="3877947" y="5765729"/>
            <a:ext cx="436017" cy="287899"/>
          </a:xfrm>
          <a:prstGeom prst="rect">
            <a:avLst/>
          </a:prstGeom>
          <a:noFill/>
        </p:spPr>
        <p:txBody>
          <a:bodyPr wrap="none" lIns="0" tIns="0" rIns="0" bIns="0" rtlCol="0">
            <a:spAutoFit/>
          </a:bodyPr>
          <a:lstStyle/>
          <a:p>
            <a:pPr algn="just">
              <a:lnSpc>
                <a:spcPct val="120000"/>
              </a:lnSpc>
            </a:pPr>
            <a:r>
              <a:rPr lang="zh-CN" altLang="en-US" sz="1705" dirty="0">
                <a:solidFill>
                  <a:schemeClr val="bg1">
                    <a:lumMod val="65000"/>
                  </a:schemeClr>
                </a:solidFill>
                <a:cs typeface="+mn-ea"/>
                <a:sym typeface="+mn-lt"/>
              </a:rPr>
              <a:t>文字</a:t>
            </a:r>
            <a:endParaRPr lang="en-AU" sz="1705" dirty="0">
              <a:solidFill>
                <a:schemeClr val="bg1">
                  <a:lumMod val="65000"/>
                </a:schemeClr>
              </a:solidFill>
              <a:cs typeface="+mn-ea"/>
              <a:sym typeface="+mn-lt"/>
            </a:endParaRPr>
          </a:p>
        </p:txBody>
      </p:sp>
      <p:sp>
        <p:nvSpPr>
          <p:cNvPr id="89" name="Oval 88"/>
          <p:cNvSpPr>
            <a:spLocks noChangeAspect="1"/>
          </p:cNvSpPr>
          <p:nvPr/>
        </p:nvSpPr>
        <p:spPr>
          <a:xfrm>
            <a:off x="4630910" y="5857704"/>
            <a:ext cx="131109" cy="1311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950">
              <a:cs typeface="+mn-ea"/>
              <a:sym typeface="+mn-lt"/>
            </a:endParaRPr>
          </a:p>
        </p:txBody>
      </p:sp>
      <p:sp>
        <p:nvSpPr>
          <p:cNvPr id="90" name="TextBox 89"/>
          <p:cNvSpPr txBox="1"/>
          <p:nvPr/>
        </p:nvSpPr>
        <p:spPr>
          <a:xfrm>
            <a:off x="4848837" y="5765729"/>
            <a:ext cx="436017" cy="287899"/>
          </a:xfrm>
          <a:prstGeom prst="rect">
            <a:avLst/>
          </a:prstGeom>
          <a:noFill/>
        </p:spPr>
        <p:txBody>
          <a:bodyPr wrap="none" lIns="0" tIns="0" rIns="0" bIns="0" rtlCol="0">
            <a:spAutoFit/>
          </a:bodyPr>
          <a:lstStyle/>
          <a:p>
            <a:pPr algn="just">
              <a:lnSpc>
                <a:spcPct val="120000"/>
              </a:lnSpc>
            </a:pPr>
            <a:r>
              <a:rPr lang="zh-CN" altLang="en-US" sz="1705" dirty="0">
                <a:solidFill>
                  <a:schemeClr val="bg1">
                    <a:lumMod val="65000"/>
                  </a:schemeClr>
                </a:solidFill>
                <a:cs typeface="+mn-ea"/>
                <a:sym typeface="+mn-lt"/>
              </a:rPr>
              <a:t>文字</a:t>
            </a:r>
            <a:endParaRPr lang="en-AU" sz="1705" dirty="0">
              <a:solidFill>
                <a:schemeClr val="bg1">
                  <a:lumMod val="65000"/>
                </a:schemeClr>
              </a:solidFill>
              <a:cs typeface="+mn-ea"/>
              <a:sym typeface="+mn-lt"/>
            </a:endParaRPr>
          </a:p>
        </p:txBody>
      </p:sp>
      <p:sp>
        <p:nvSpPr>
          <p:cNvPr id="92" name="Oval 91"/>
          <p:cNvSpPr>
            <a:spLocks noChangeAspect="1"/>
          </p:cNvSpPr>
          <p:nvPr/>
        </p:nvSpPr>
        <p:spPr>
          <a:xfrm>
            <a:off x="5613050" y="5857704"/>
            <a:ext cx="131109" cy="13110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950">
              <a:cs typeface="+mn-ea"/>
              <a:sym typeface="+mn-lt"/>
            </a:endParaRPr>
          </a:p>
        </p:txBody>
      </p:sp>
      <p:sp>
        <p:nvSpPr>
          <p:cNvPr id="93" name="TextBox 92"/>
          <p:cNvSpPr txBox="1"/>
          <p:nvPr/>
        </p:nvSpPr>
        <p:spPr>
          <a:xfrm>
            <a:off x="5861324" y="5765729"/>
            <a:ext cx="436017" cy="287899"/>
          </a:xfrm>
          <a:prstGeom prst="rect">
            <a:avLst/>
          </a:prstGeom>
          <a:noFill/>
        </p:spPr>
        <p:txBody>
          <a:bodyPr wrap="none" lIns="0" tIns="0" rIns="0" bIns="0" rtlCol="0">
            <a:spAutoFit/>
          </a:bodyPr>
          <a:lstStyle/>
          <a:p>
            <a:pPr algn="just">
              <a:lnSpc>
                <a:spcPct val="120000"/>
              </a:lnSpc>
            </a:pPr>
            <a:r>
              <a:rPr lang="zh-CN" altLang="en-US" sz="1705" dirty="0">
                <a:solidFill>
                  <a:schemeClr val="bg1">
                    <a:lumMod val="65000"/>
                  </a:schemeClr>
                </a:solidFill>
                <a:cs typeface="+mn-ea"/>
                <a:sym typeface="+mn-lt"/>
              </a:rPr>
              <a:t>文字</a:t>
            </a:r>
            <a:endParaRPr lang="en-AU" sz="1705" dirty="0">
              <a:solidFill>
                <a:schemeClr val="bg1">
                  <a:lumMod val="65000"/>
                </a:schemeClr>
              </a:solidFill>
              <a:cs typeface="+mn-ea"/>
              <a:sym typeface="+mn-lt"/>
            </a:endParaRPr>
          </a:p>
        </p:txBody>
      </p:sp>
      <p:sp>
        <p:nvSpPr>
          <p:cNvPr id="95" name="Oval 94"/>
          <p:cNvSpPr>
            <a:spLocks noChangeAspect="1"/>
          </p:cNvSpPr>
          <p:nvPr/>
        </p:nvSpPr>
        <p:spPr>
          <a:xfrm>
            <a:off x="6664885" y="5857704"/>
            <a:ext cx="131109" cy="13110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950">
              <a:cs typeface="+mn-ea"/>
              <a:sym typeface="+mn-lt"/>
            </a:endParaRPr>
          </a:p>
        </p:txBody>
      </p:sp>
      <p:sp>
        <p:nvSpPr>
          <p:cNvPr id="96" name="TextBox 95"/>
          <p:cNvSpPr txBox="1"/>
          <p:nvPr/>
        </p:nvSpPr>
        <p:spPr>
          <a:xfrm>
            <a:off x="6889408" y="5765729"/>
            <a:ext cx="436017" cy="287899"/>
          </a:xfrm>
          <a:prstGeom prst="rect">
            <a:avLst/>
          </a:prstGeom>
          <a:noFill/>
        </p:spPr>
        <p:txBody>
          <a:bodyPr wrap="none" lIns="0" tIns="0" rIns="0" bIns="0" rtlCol="0">
            <a:spAutoFit/>
          </a:bodyPr>
          <a:lstStyle/>
          <a:p>
            <a:pPr algn="just">
              <a:lnSpc>
                <a:spcPct val="120000"/>
              </a:lnSpc>
            </a:pPr>
            <a:r>
              <a:rPr lang="zh-CN" altLang="en-US" sz="1705" dirty="0">
                <a:solidFill>
                  <a:schemeClr val="bg1">
                    <a:lumMod val="65000"/>
                  </a:schemeClr>
                </a:solidFill>
                <a:cs typeface="+mn-ea"/>
                <a:sym typeface="+mn-lt"/>
              </a:rPr>
              <a:t>文字</a:t>
            </a:r>
            <a:endParaRPr lang="en-AU" sz="1705" dirty="0">
              <a:solidFill>
                <a:schemeClr val="bg1">
                  <a:lumMod val="65000"/>
                </a:schemeClr>
              </a:solidFill>
              <a:cs typeface="+mn-ea"/>
              <a:sym typeface="+mn-lt"/>
            </a:endParaRPr>
          </a:p>
        </p:txBody>
      </p:sp>
      <p:sp>
        <p:nvSpPr>
          <p:cNvPr id="98" name="Oval 97"/>
          <p:cNvSpPr>
            <a:spLocks noChangeAspect="1"/>
          </p:cNvSpPr>
          <p:nvPr/>
        </p:nvSpPr>
        <p:spPr>
          <a:xfrm>
            <a:off x="7684219" y="5857704"/>
            <a:ext cx="131109" cy="13110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950">
              <a:cs typeface="+mn-ea"/>
              <a:sym typeface="+mn-lt"/>
            </a:endParaRPr>
          </a:p>
        </p:txBody>
      </p:sp>
      <p:sp>
        <p:nvSpPr>
          <p:cNvPr id="99" name="TextBox 98"/>
          <p:cNvSpPr txBox="1"/>
          <p:nvPr/>
        </p:nvSpPr>
        <p:spPr>
          <a:xfrm>
            <a:off x="7898846" y="5765729"/>
            <a:ext cx="436017" cy="287899"/>
          </a:xfrm>
          <a:prstGeom prst="rect">
            <a:avLst/>
          </a:prstGeom>
          <a:noFill/>
        </p:spPr>
        <p:txBody>
          <a:bodyPr wrap="none" lIns="0" tIns="0" rIns="0" bIns="0" rtlCol="0">
            <a:spAutoFit/>
          </a:bodyPr>
          <a:lstStyle/>
          <a:p>
            <a:pPr algn="just">
              <a:lnSpc>
                <a:spcPct val="120000"/>
              </a:lnSpc>
            </a:pPr>
            <a:r>
              <a:rPr lang="zh-CN" altLang="en-US" sz="1705" dirty="0">
                <a:solidFill>
                  <a:schemeClr val="bg1">
                    <a:lumMod val="65000"/>
                  </a:schemeClr>
                </a:solidFill>
                <a:cs typeface="+mn-ea"/>
                <a:sym typeface="+mn-lt"/>
              </a:rPr>
              <a:t>文字</a:t>
            </a:r>
            <a:endParaRPr lang="en-AU" sz="1705" dirty="0">
              <a:solidFill>
                <a:schemeClr val="bg1">
                  <a:lumMod val="65000"/>
                </a:schemeClr>
              </a:solidFill>
              <a:cs typeface="+mn-ea"/>
              <a:sym typeface="+mn-lt"/>
            </a:endParaRPr>
          </a:p>
        </p:txBody>
      </p:sp>
      <p:grpSp>
        <p:nvGrpSpPr>
          <p:cNvPr id="7" name="Group 99"/>
          <p:cNvGrpSpPr/>
          <p:nvPr/>
        </p:nvGrpSpPr>
        <p:grpSpPr>
          <a:xfrm>
            <a:off x="7543099" y="4200139"/>
            <a:ext cx="1343983" cy="1393766"/>
            <a:chOff x="7748920" y="4020058"/>
            <a:chExt cx="1548157" cy="1605504"/>
          </a:xfrm>
          <a:solidFill>
            <a:srgbClr val="86BD7D"/>
          </a:solidFill>
        </p:grpSpPr>
        <p:sp>
          <p:nvSpPr>
            <p:cNvPr id="101" name="Freeform 100"/>
            <p:cNvSpPr/>
            <p:nvPr/>
          </p:nvSpPr>
          <p:spPr>
            <a:xfrm>
              <a:off x="7748920" y="4020058"/>
              <a:ext cx="1548157" cy="1546161"/>
            </a:xfrm>
            <a:custGeom>
              <a:avLst/>
              <a:gdLst>
                <a:gd name="connsiteX0" fmla="*/ 1246360 w 2340862"/>
                <a:gd name="connsiteY0" fmla="*/ 0 h 2337846"/>
                <a:gd name="connsiteX1" fmla="*/ 1207741 w 2340862"/>
                <a:gd name="connsiteY1" fmla="*/ 126135 h 2337846"/>
                <a:gd name="connsiteX2" fmla="*/ 1389933 w 2340862"/>
                <a:gd name="connsiteY2" fmla="*/ 60821 h 2337846"/>
                <a:gd name="connsiteX3" fmla="*/ 1362433 w 2340862"/>
                <a:gd name="connsiteY3" fmla="*/ 133010 h 2337846"/>
                <a:gd name="connsiteX4" fmla="*/ 1486186 w 2340862"/>
                <a:gd name="connsiteY4" fmla="*/ 105509 h 2337846"/>
                <a:gd name="connsiteX5" fmla="*/ 1444935 w 2340862"/>
                <a:gd name="connsiteY5" fmla="*/ 174261 h 2337846"/>
                <a:gd name="connsiteX6" fmla="*/ 1594094 w 2340862"/>
                <a:gd name="connsiteY6" fmla="*/ 262618 h 2337846"/>
                <a:gd name="connsiteX7" fmla="*/ 1664941 w 2340862"/>
                <a:gd name="connsiteY7" fmla="*/ 438956 h 2337846"/>
                <a:gd name="connsiteX8" fmla="*/ 1678691 w 2340862"/>
                <a:gd name="connsiteY8" fmla="*/ 793028 h 2337846"/>
                <a:gd name="connsiteX9" fmla="*/ 1709630 w 2340862"/>
                <a:gd name="connsiteY9" fmla="*/ 875530 h 2337846"/>
                <a:gd name="connsiteX10" fmla="*/ 1678691 w 2340862"/>
                <a:gd name="connsiteY10" fmla="*/ 1013034 h 2337846"/>
                <a:gd name="connsiteX11" fmla="*/ 1604926 w 2340862"/>
                <a:gd name="connsiteY11" fmla="*/ 1097650 h 2337846"/>
                <a:gd name="connsiteX12" fmla="*/ 1541707 w 2340862"/>
                <a:gd name="connsiteY12" fmla="*/ 1293341 h 2337846"/>
                <a:gd name="connsiteX13" fmla="*/ 1472420 w 2340862"/>
                <a:gd name="connsiteY13" fmla="*/ 1385548 h 2337846"/>
                <a:gd name="connsiteX14" fmla="*/ 1471364 w 2340862"/>
                <a:gd name="connsiteY14" fmla="*/ 1386394 h 2337846"/>
                <a:gd name="connsiteX15" fmla="*/ 1485438 w 2340862"/>
                <a:gd name="connsiteY15" fmla="*/ 1386394 h 2337846"/>
                <a:gd name="connsiteX16" fmla="*/ 1480078 w 2340862"/>
                <a:gd name="connsiteY16" fmla="*/ 1395490 h 2337846"/>
                <a:gd name="connsiteX17" fmla="*/ 1466971 w 2340862"/>
                <a:gd name="connsiteY17" fmla="*/ 1428525 h 2337846"/>
                <a:gd name="connsiteX18" fmla="*/ 1482292 w 2340862"/>
                <a:gd name="connsiteY18" fmla="*/ 1524281 h 2337846"/>
                <a:gd name="connsiteX19" fmla="*/ 1516764 w 2340862"/>
                <a:gd name="connsiteY19" fmla="*/ 1539603 h 2337846"/>
                <a:gd name="connsiteX20" fmla="*/ 1555065 w 2340862"/>
                <a:gd name="connsiteY20" fmla="*/ 1593225 h 2337846"/>
                <a:gd name="connsiteX21" fmla="*/ 1796369 w 2340862"/>
                <a:gd name="connsiteY21" fmla="*/ 1662168 h 2337846"/>
                <a:gd name="connsiteX22" fmla="*/ 2018522 w 2340862"/>
                <a:gd name="connsiteY22" fmla="*/ 1719622 h 2337846"/>
                <a:gd name="connsiteX23" fmla="*/ 2148749 w 2340862"/>
                <a:gd name="connsiteY23" fmla="*/ 1761754 h 2337846"/>
                <a:gd name="connsiteX24" fmla="*/ 2259825 w 2340862"/>
                <a:gd name="connsiteY24" fmla="*/ 1803886 h 2337846"/>
                <a:gd name="connsiteX25" fmla="*/ 2294297 w 2340862"/>
                <a:gd name="connsiteY25" fmla="*/ 1953264 h 2337846"/>
                <a:gd name="connsiteX26" fmla="*/ 2321108 w 2340862"/>
                <a:gd name="connsiteY26" fmla="*/ 2148605 h 2337846"/>
                <a:gd name="connsiteX27" fmla="*/ 2340259 w 2340862"/>
                <a:gd name="connsiteY27" fmla="*/ 2324795 h 2337846"/>
                <a:gd name="connsiteX28" fmla="*/ 2336430 w 2340862"/>
                <a:gd name="connsiteY28" fmla="*/ 2324795 h 2337846"/>
                <a:gd name="connsiteX29" fmla="*/ 1195027 w 2340862"/>
                <a:gd name="connsiteY29" fmla="*/ 2328624 h 2337846"/>
                <a:gd name="connsiteX30" fmla="*/ 0 w 2340862"/>
                <a:gd name="connsiteY30" fmla="*/ 2324795 h 2337846"/>
                <a:gd name="connsiteX31" fmla="*/ 57453 w 2340862"/>
                <a:gd name="connsiteY31" fmla="*/ 1937944 h 2337846"/>
                <a:gd name="connsiteX32" fmla="*/ 103415 w 2340862"/>
                <a:gd name="connsiteY32" fmla="*/ 1800056 h 2337846"/>
                <a:gd name="connsiteX33" fmla="*/ 214492 w 2340862"/>
                <a:gd name="connsiteY33" fmla="*/ 1746433 h 2337846"/>
                <a:gd name="connsiteX34" fmla="*/ 831157 w 2340862"/>
                <a:gd name="connsiteY34" fmla="*/ 1570243 h 2337846"/>
                <a:gd name="connsiteX35" fmla="*/ 854139 w 2340862"/>
                <a:gd name="connsiteY35" fmla="*/ 1516622 h 2337846"/>
                <a:gd name="connsiteX36" fmla="*/ 877119 w 2340862"/>
                <a:gd name="connsiteY36" fmla="*/ 1482148 h 2337846"/>
                <a:gd name="connsiteX37" fmla="*/ 876639 w 2340862"/>
                <a:gd name="connsiteY37" fmla="*/ 1432116 h 2337846"/>
                <a:gd name="connsiteX38" fmla="*/ 867840 w 2340862"/>
                <a:gd name="connsiteY38" fmla="*/ 1386394 h 2337846"/>
                <a:gd name="connsiteX39" fmla="*/ 870670 w 2340862"/>
                <a:gd name="connsiteY39" fmla="*/ 1386394 h 2337846"/>
                <a:gd name="connsiteX40" fmla="*/ 845132 w 2340862"/>
                <a:gd name="connsiteY40" fmla="*/ 1351221 h 2337846"/>
                <a:gd name="connsiteX41" fmla="*/ 812418 w 2340862"/>
                <a:gd name="connsiteY41" fmla="*/ 1298354 h 2337846"/>
                <a:gd name="connsiteX42" fmla="*/ 753979 w 2340862"/>
                <a:gd name="connsiteY42" fmla="*/ 1092099 h 2337846"/>
                <a:gd name="connsiteX43" fmla="*/ 661164 w 2340862"/>
                <a:gd name="connsiteY43" fmla="*/ 992408 h 2337846"/>
                <a:gd name="connsiteX44" fmla="*/ 625193 w 2340862"/>
                <a:gd name="connsiteY44" fmla="*/ 833491 h 2337846"/>
                <a:gd name="connsiteX45" fmla="*/ 668039 w 2340862"/>
                <a:gd name="connsiteY45" fmla="*/ 768965 h 2337846"/>
                <a:gd name="connsiteX46" fmla="*/ 643976 w 2340862"/>
                <a:gd name="connsiteY46" fmla="*/ 603960 h 2337846"/>
                <a:gd name="connsiteX47" fmla="*/ 685227 w 2340862"/>
                <a:gd name="connsiteY47" fmla="*/ 339266 h 2337846"/>
                <a:gd name="connsiteX48" fmla="*/ 795230 w 2340862"/>
                <a:gd name="connsiteY48" fmla="*/ 174261 h 2337846"/>
                <a:gd name="connsiteX49" fmla="*/ 798667 w 2340862"/>
                <a:gd name="connsiteY49" fmla="*/ 212075 h 2337846"/>
                <a:gd name="connsiteX50" fmla="*/ 949921 w 2340862"/>
                <a:gd name="connsiteY50" fmla="*/ 105509 h 2337846"/>
                <a:gd name="connsiteX51" fmla="*/ 953359 w 2340862"/>
                <a:gd name="connsiteY51" fmla="*/ 143323 h 2337846"/>
                <a:gd name="connsiteX52" fmla="*/ 1246360 w 2340862"/>
                <a:gd name="connsiteY52" fmla="*/ 0 h 23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340862" h="2337846">
                  <a:moveTo>
                    <a:pt x="1246360" y="0"/>
                  </a:moveTo>
                  <a:cubicBezTo>
                    <a:pt x="1260182" y="32854"/>
                    <a:pt x="1242153" y="87820"/>
                    <a:pt x="1207741" y="126135"/>
                  </a:cubicBezTo>
                  <a:cubicBezTo>
                    <a:pt x="1259055" y="100157"/>
                    <a:pt x="1309383" y="78725"/>
                    <a:pt x="1389933" y="60821"/>
                  </a:cubicBezTo>
                  <a:cubicBezTo>
                    <a:pt x="1391903" y="92923"/>
                    <a:pt x="1346391" y="125562"/>
                    <a:pt x="1362433" y="133010"/>
                  </a:cubicBezTo>
                  <a:cubicBezTo>
                    <a:pt x="1378475" y="140458"/>
                    <a:pt x="1472436" y="98634"/>
                    <a:pt x="1486186" y="105509"/>
                  </a:cubicBezTo>
                  <a:cubicBezTo>
                    <a:pt x="1499936" y="112384"/>
                    <a:pt x="1432903" y="158792"/>
                    <a:pt x="1444935" y="174261"/>
                  </a:cubicBezTo>
                  <a:cubicBezTo>
                    <a:pt x="1497448" y="184968"/>
                    <a:pt x="1557426" y="218502"/>
                    <a:pt x="1594094" y="262618"/>
                  </a:cubicBezTo>
                  <a:cubicBezTo>
                    <a:pt x="1630762" y="306734"/>
                    <a:pt x="1650842" y="350554"/>
                    <a:pt x="1664941" y="438956"/>
                  </a:cubicBezTo>
                  <a:cubicBezTo>
                    <a:pt x="1679040" y="527358"/>
                    <a:pt x="1705619" y="713391"/>
                    <a:pt x="1678691" y="793028"/>
                  </a:cubicBezTo>
                  <a:cubicBezTo>
                    <a:pt x="1706764" y="827977"/>
                    <a:pt x="1709630" y="838862"/>
                    <a:pt x="1709630" y="875530"/>
                  </a:cubicBezTo>
                  <a:cubicBezTo>
                    <a:pt x="1709630" y="912198"/>
                    <a:pt x="1696142" y="976014"/>
                    <a:pt x="1678691" y="1013034"/>
                  </a:cubicBezTo>
                  <a:cubicBezTo>
                    <a:pt x="1661240" y="1050054"/>
                    <a:pt x="1624979" y="1054107"/>
                    <a:pt x="1604926" y="1097650"/>
                  </a:cubicBezTo>
                  <a:cubicBezTo>
                    <a:pt x="1584872" y="1181674"/>
                    <a:pt x="1564535" y="1218054"/>
                    <a:pt x="1541707" y="1293341"/>
                  </a:cubicBezTo>
                  <a:cubicBezTo>
                    <a:pt x="1529102" y="1320268"/>
                    <a:pt x="1504884" y="1354282"/>
                    <a:pt x="1472420" y="1385548"/>
                  </a:cubicBezTo>
                  <a:lnTo>
                    <a:pt x="1471364" y="1386394"/>
                  </a:lnTo>
                  <a:lnTo>
                    <a:pt x="1485438" y="1386394"/>
                  </a:lnTo>
                  <a:lnTo>
                    <a:pt x="1480078" y="1395490"/>
                  </a:lnTo>
                  <a:cubicBezTo>
                    <a:pt x="1471759" y="1407938"/>
                    <a:pt x="1467929" y="1410332"/>
                    <a:pt x="1466971" y="1428525"/>
                  </a:cubicBezTo>
                  <a:cubicBezTo>
                    <a:pt x="1465694" y="1452783"/>
                    <a:pt x="1473993" y="1505769"/>
                    <a:pt x="1482292" y="1524281"/>
                  </a:cubicBezTo>
                  <a:cubicBezTo>
                    <a:pt x="1490591" y="1542794"/>
                    <a:pt x="1505911" y="1526198"/>
                    <a:pt x="1516764" y="1539603"/>
                  </a:cubicBezTo>
                  <a:cubicBezTo>
                    <a:pt x="1527616" y="1553009"/>
                    <a:pt x="1508463" y="1572798"/>
                    <a:pt x="1555065" y="1593225"/>
                  </a:cubicBezTo>
                  <a:cubicBezTo>
                    <a:pt x="1601666" y="1613652"/>
                    <a:pt x="1719126" y="1641103"/>
                    <a:pt x="1796369" y="1662168"/>
                  </a:cubicBezTo>
                  <a:cubicBezTo>
                    <a:pt x="1873612" y="1683235"/>
                    <a:pt x="1959792" y="1703024"/>
                    <a:pt x="2018522" y="1719622"/>
                  </a:cubicBezTo>
                  <a:cubicBezTo>
                    <a:pt x="2077252" y="1736219"/>
                    <a:pt x="2108531" y="1747709"/>
                    <a:pt x="2148749" y="1761754"/>
                  </a:cubicBezTo>
                  <a:cubicBezTo>
                    <a:pt x="2188967" y="1775798"/>
                    <a:pt x="2235567" y="1771967"/>
                    <a:pt x="2259825" y="1803886"/>
                  </a:cubicBezTo>
                  <a:cubicBezTo>
                    <a:pt x="2284083" y="1835805"/>
                    <a:pt x="2284083" y="1895811"/>
                    <a:pt x="2294297" y="1953264"/>
                  </a:cubicBezTo>
                  <a:cubicBezTo>
                    <a:pt x="2304510" y="2010718"/>
                    <a:pt x="2313448" y="2086683"/>
                    <a:pt x="2321108" y="2148605"/>
                  </a:cubicBezTo>
                  <a:cubicBezTo>
                    <a:pt x="2328769" y="2210527"/>
                    <a:pt x="2337705" y="2295430"/>
                    <a:pt x="2340259" y="2324795"/>
                  </a:cubicBezTo>
                  <a:cubicBezTo>
                    <a:pt x="2342813" y="2354160"/>
                    <a:pt x="2336430" y="2324795"/>
                    <a:pt x="2336430" y="2324795"/>
                  </a:cubicBezTo>
                  <a:lnTo>
                    <a:pt x="1195027" y="2328624"/>
                  </a:lnTo>
                  <a:cubicBezTo>
                    <a:pt x="924359" y="2335646"/>
                    <a:pt x="597513" y="2326709"/>
                    <a:pt x="0" y="2324795"/>
                  </a:cubicBezTo>
                  <a:cubicBezTo>
                    <a:pt x="1915" y="2282663"/>
                    <a:pt x="40218" y="2025401"/>
                    <a:pt x="57453" y="1937944"/>
                  </a:cubicBezTo>
                  <a:cubicBezTo>
                    <a:pt x="74689" y="1850487"/>
                    <a:pt x="77242" y="1831975"/>
                    <a:pt x="103415" y="1800056"/>
                  </a:cubicBezTo>
                  <a:cubicBezTo>
                    <a:pt x="129589" y="1768137"/>
                    <a:pt x="93202" y="1784736"/>
                    <a:pt x="214492" y="1746433"/>
                  </a:cubicBezTo>
                  <a:cubicBezTo>
                    <a:pt x="335781" y="1708131"/>
                    <a:pt x="820304" y="1577904"/>
                    <a:pt x="831157" y="1570243"/>
                  </a:cubicBezTo>
                  <a:cubicBezTo>
                    <a:pt x="842010" y="1562583"/>
                    <a:pt x="846478" y="1531304"/>
                    <a:pt x="854139" y="1516622"/>
                  </a:cubicBezTo>
                  <a:cubicBezTo>
                    <a:pt x="861799" y="1501939"/>
                    <a:pt x="875204" y="1505768"/>
                    <a:pt x="877119" y="1482148"/>
                  </a:cubicBezTo>
                  <a:cubicBezTo>
                    <a:pt x="878076" y="1470339"/>
                    <a:pt x="878236" y="1451826"/>
                    <a:pt x="876639" y="1432116"/>
                  </a:cubicBezTo>
                  <a:lnTo>
                    <a:pt x="867840" y="1386394"/>
                  </a:lnTo>
                  <a:lnTo>
                    <a:pt x="870670" y="1386394"/>
                  </a:lnTo>
                  <a:lnTo>
                    <a:pt x="845132" y="1351221"/>
                  </a:lnTo>
                  <a:cubicBezTo>
                    <a:pt x="833213" y="1332821"/>
                    <a:pt x="822447" y="1314706"/>
                    <a:pt x="812418" y="1298354"/>
                  </a:cubicBezTo>
                  <a:cubicBezTo>
                    <a:pt x="772304" y="1232947"/>
                    <a:pt x="760411" y="1175431"/>
                    <a:pt x="753979" y="1092099"/>
                  </a:cubicBezTo>
                  <a:cubicBezTo>
                    <a:pt x="737302" y="1069817"/>
                    <a:pt x="682628" y="1035509"/>
                    <a:pt x="661164" y="992408"/>
                  </a:cubicBezTo>
                  <a:cubicBezTo>
                    <a:pt x="639700" y="949307"/>
                    <a:pt x="624047" y="870731"/>
                    <a:pt x="625193" y="833491"/>
                  </a:cubicBezTo>
                  <a:cubicBezTo>
                    <a:pt x="626339" y="796250"/>
                    <a:pt x="650224" y="779439"/>
                    <a:pt x="668039" y="768965"/>
                  </a:cubicBezTo>
                  <a:cubicBezTo>
                    <a:pt x="669185" y="732297"/>
                    <a:pt x="641111" y="675576"/>
                    <a:pt x="643976" y="603960"/>
                  </a:cubicBezTo>
                  <a:cubicBezTo>
                    <a:pt x="646841" y="532344"/>
                    <a:pt x="660018" y="410883"/>
                    <a:pt x="685227" y="339266"/>
                  </a:cubicBezTo>
                  <a:cubicBezTo>
                    <a:pt x="710436" y="267649"/>
                    <a:pt x="776323" y="195459"/>
                    <a:pt x="795230" y="174261"/>
                  </a:cubicBezTo>
                  <a:cubicBezTo>
                    <a:pt x="814137" y="153062"/>
                    <a:pt x="772885" y="223534"/>
                    <a:pt x="798667" y="212075"/>
                  </a:cubicBezTo>
                  <a:cubicBezTo>
                    <a:pt x="824449" y="200616"/>
                    <a:pt x="924139" y="116968"/>
                    <a:pt x="949921" y="105509"/>
                  </a:cubicBezTo>
                  <a:cubicBezTo>
                    <a:pt x="975703" y="94050"/>
                    <a:pt x="949196" y="127570"/>
                    <a:pt x="953359" y="143323"/>
                  </a:cubicBezTo>
                  <a:cubicBezTo>
                    <a:pt x="1076584" y="47156"/>
                    <a:pt x="1203963" y="2865"/>
                    <a:pt x="12463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grpSp>
          <p:nvGrpSpPr>
            <p:cNvPr id="8" name="Group 101"/>
            <p:cNvGrpSpPr/>
            <p:nvPr/>
          </p:nvGrpSpPr>
          <p:grpSpPr>
            <a:xfrm>
              <a:off x="8334301" y="5073670"/>
              <a:ext cx="377558" cy="551892"/>
              <a:chOff x="8334300" y="5005568"/>
              <a:chExt cx="435951" cy="637247"/>
            </a:xfrm>
            <a:grpFill/>
          </p:grpSpPr>
          <p:sp>
            <p:nvSpPr>
              <p:cNvPr id="103" name="Freeform 102"/>
              <p:cNvSpPr/>
              <p:nvPr/>
            </p:nvSpPr>
            <p:spPr>
              <a:xfrm>
                <a:off x="8334300" y="5025839"/>
                <a:ext cx="172407" cy="61697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35428" h="616976">
                    <a:moveTo>
                      <a:pt x="957" y="0"/>
                    </a:moveTo>
                    <a:cubicBezTo>
                      <a:pt x="36815" y="65555"/>
                      <a:pt x="45781" y="66115"/>
                      <a:pt x="95087" y="90768"/>
                    </a:cubicBezTo>
                    <a:cubicBezTo>
                      <a:pt x="104052" y="145676"/>
                      <a:pt x="101810" y="183217"/>
                      <a:pt x="135428" y="208429"/>
                    </a:cubicBezTo>
                    <a:cubicBezTo>
                      <a:pt x="132066" y="277905"/>
                      <a:pt x="111896" y="504826"/>
                      <a:pt x="95087" y="564777"/>
                    </a:cubicBezTo>
                    <a:cubicBezTo>
                      <a:pt x="78278" y="624728"/>
                      <a:pt x="81080" y="647139"/>
                      <a:pt x="64831" y="554691"/>
                    </a:cubicBezTo>
                    <a:cubicBezTo>
                      <a:pt x="48582" y="462243"/>
                      <a:pt x="-8008" y="75640"/>
                      <a:pt x="95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sp>
            <p:nvSpPr>
              <p:cNvPr id="104" name="Freeform 103"/>
              <p:cNvSpPr/>
              <p:nvPr/>
            </p:nvSpPr>
            <p:spPr>
              <a:xfrm flipH="1">
                <a:off x="8593754" y="5005568"/>
                <a:ext cx="176497" cy="60821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 name="connsiteX0-219" fmla="*/ 957 w 135428"/>
                  <a:gd name="connsiteY0-220" fmla="*/ 0 h 616976"/>
                  <a:gd name="connsiteX1-221" fmla="*/ 85052 w 135428"/>
                  <a:gd name="connsiteY1-222" fmla="*/ 94129 h 616976"/>
                  <a:gd name="connsiteX2-223" fmla="*/ 135428 w 135428"/>
                  <a:gd name="connsiteY2-224" fmla="*/ 208429 h 616976"/>
                  <a:gd name="connsiteX3-225" fmla="*/ 95087 w 135428"/>
                  <a:gd name="connsiteY3-226" fmla="*/ 564777 h 616976"/>
                  <a:gd name="connsiteX4-227" fmla="*/ 64831 w 135428"/>
                  <a:gd name="connsiteY4-228" fmla="*/ 554691 h 616976"/>
                  <a:gd name="connsiteX5-229" fmla="*/ 957 w 135428"/>
                  <a:gd name="connsiteY5-230" fmla="*/ 0 h 616976"/>
                  <a:gd name="connsiteX0-231" fmla="*/ 680 w 165258"/>
                  <a:gd name="connsiteY0-232" fmla="*/ 0 h 631958"/>
                  <a:gd name="connsiteX1-233" fmla="*/ 114882 w 165258"/>
                  <a:gd name="connsiteY1-234" fmla="*/ 107576 h 631958"/>
                  <a:gd name="connsiteX2-235" fmla="*/ 165258 w 165258"/>
                  <a:gd name="connsiteY2-236" fmla="*/ 221876 h 631958"/>
                  <a:gd name="connsiteX3-237" fmla="*/ 124917 w 165258"/>
                  <a:gd name="connsiteY3-238" fmla="*/ 578224 h 631958"/>
                  <a:gd name="connsiteX4-239" fmla="*/ 94661 w 165258"/>
                  <a:gd name="connsiteY4-240" fmla="*/ 568138 h 631958"/>
                  <a:gd name="connsiteX5-241" fmla="*/ 680 w 165258"/>
                  <a:gd name="connsiteY5-242" fmla="*/ 0 h 631958"/>
                  <a:gd name="connsiteX0-243" fmla="*/ 1069 w 165647"/>
                  <a:gd name="connsiteY0-244" fmla="*/ 0 h 641425"/>
                  <a:gd name="connsiteX1-245" fmla="*/ 115271 w 165647"/>
                  <a:gd name="connsiteY1-246" fmla="*/ 107576 h 641425"/>
                  <a:gd name="connsiteX2-247" fmla="*/ 165647 w 165647"/>
                  <a:gd name="connsiteY2-248" fmla="*/ 221876 h 641425"/>
                  <a:gd name="connsiteX3-249" fmla="*/ 125306 w 165647"/>
                  <a:gd name="connsiteY3-250" fmla="*/ 578224 h 641425"/>
                  <a:gd name="connsiteX4-251" fmla="*/ 95050 w 165647"/>
                  <a:gd name="connsiteY4-252" fmla="*/ 568138 h 641425"/>
                  <a:gd name="connsiteX5-253" fmla="*/ 1069 w 165647"/>
                  <a:gd name="connsiteY5-254" fmla="*/ 0 h 641425"/>
                  <a:gd name="connsiteX0-255" fmla="*/ 1069 w 165647"/>
                  <a:gd name="connsiteY0-256" fmla="*/ 0 h 641425"/>
                  <a:gd name="connsiteX1-257" fmla="*/ 115271 w 165647"/>
                  <a:gd name="connsiteY1-258" fmla="*/ 107576 h 641425"/>
                  <a:gd name="connsiteX2-259" fmla="*/ 165647 w 165647"/>
                  <a:gd name="connsiteY2-260" fmla="*/ 221876 h 641425"/>
                  <a:gd name="connsiteX3-261" fmla="*/ 125306 w 165647"/>
                  <a:gd name="connsiteY3-262" fmla="*/ 578224 h 641425"/>
                  <a:gd name="connsiteX4-263" fmla="*/ 95050 w 165647"/>
                  <a:gd name="connsiteY4-264" fmla="*/ 568138 h 641425"/>
                  <a:gd name="connsiteX5-265" fmla="*/ 1069 w 165647"/>
                  <a:gd name="connsiteY5-266" fmla="*/ 0 h 641425"/>
                  <a:gd name="connsiteX0-267" fmla="*/ 1069 w 165647"/>
                  <a:gd name="connsiteY0-268" fmla="*/ 0 h 641425"/>
                  <a:gd name="connsiteX1-269" fmla="*/ 115271 w 165647"/>
                  <a:gd name="connsiteY1-270" fmla="*/ 107576 h 641425"/>
                  <a:gd name="connsiteX2-271" fmla="*/ 165647 w 165647"/>
                  <a:gd name="connsiteY2-272" fmla="*/ 221876 h 641425"/>
                  <a:gd name="connsiteX3-273" fmla="*/ 125306 w 165647"/>
                  <a:gd name="connsiteY3-274" fmla="*/ 578224 h 641425"/>
                  <a:gd name="connsiteX4-275" fmla="*/ 95050 w 165647"/>
                  <a:gd name="connsiteY4-276" fmla="*/ 568138 h 641425"/>
                  <a:gd name="connsiteX5-277" fmla="*/ 1069 w 165647"/>
                  <a:gd name="connsiteY5-278" fmla="*/ 0 h 641425"/>
                  <a:gd name="connsiteX0-279" fmla="*/ 1069 w 166511"/>
                  <a:gd name="connsiteY0-280" fmla="*/ 0 h 630644"/>
                  <a:gd name="connsiteX1-281" fmla="*/ 115271 w 166511"/>
                  <a:gd name="connsiteY1-282" fmla="*/ 107576 h 630644"/>
                  <a:gd name="connsiteX2-283" fmla="*/ 165647 w 166511"/>
                  <a:gd name="connsiteY2-284" fmla="*/ 221876 h 630644"/>
                  <a:gd name="connsiteX3-285" fmla="*/ 143686 w 166511"/>
                  <a:gd name="connsiteY3-286" fmla="*/ 416005 h 630644"/>
                  <a:gd name="connsiteX4-287" fmla="*/ 125306 w 166511"/>
                  <a:gd name="connsiteY4-288" fmla="*/ 578224 h 630644"/>
                  <a:gd name="connsiteX5-289" fmla="*/ 95050 w 166511"/>
                  <a:gd name="connsiteY5-290" fmla="*/ 568138 h 630644"/>
                  <a:gd name="connsiteX6-291" fmla="*/ 1069 w 166511"/>
                  <a:gd name="connsiteY6-292" fmla="*/ 0 h 630644"/>
                  <a:gd name="connsiteX0-293" fmla="*/ 5716 w 171158"/>
                  <a:gd name="connsiteY0-294" fmla="*/ 0 h 601393"/>
                  <a:gd name="connsiteX1-295" fmla="*/ 119918 w 171158"/>
                  <a:gd name="connsiteY1-296" fmla="*/ 107576 h 601393"/>
                  <a:gd name="connsiteX2-297" fmla="*/ 170294 w 171158"/>
                  <a:gd name="connsiteY2-298" fmla="*/ 221876 h 601393"/>
                  <a:gd name="connsiteX3-299" fmla="*/ 148333 w 171158"/>
                  <a:gd name="connsiteY3-300" fmla="*/ 416005 h 601393"/>
                  <a:gd name="connsiteX4-301" fmla="*/ 129953 w 171158"/>
                  <a:gd name="connsiteY4-302" fmla="*/ 578224 h 601393"/>
                  <a:gd name="connsiteX5-303" fmla="*/ 99697 w 171158"/>
                  <a:gd name="connsiteY5-304" fmla="*/ 568138 h 601393"/>
                  <a:gd name="connsiteX6-305" fmla="*/ 22713 w 171158"/>
                  <a:gd name="connsiteY6-306" fmla="*/ 276115 h 601393"/>
                  <a:gd name="connsiteX7" fmla="*/ 5716 w 171158"/>
                  <a:gd name="connsiteY7" fmla="*/ 0 h 601393"/>
                  <a:gd name="connsiteX0-307" fmla="*/ 4248 w 179875"/>
                  <a:gd name="connsiteY0-308" fmla="*/ 0 h 608216"/>
                  <a:gd name="connsiteX1-309" fmla="*/ 128635 w 179875"/>
                  <a:gd name="connsiteY1-310" fmla="*/ 114399 h 608216"/>
                  <a:gd name="connsiteX2-311" fmla="*/ 179011 w 179875"/>
                  <a:gd name="connsiteY2-312" fmla="*/ 228699 h 608216"/>
                  <a:gd name="connsiteX3-313" fmla="*/ 157050 w 179875"/>
                  <a:gd name="connsiteY3-314" fmla="*/ 422828 h 608216"/>
                  <a:gd name="connsiteX4-315" fmla="*/ 138670 w 179875"/>
                  <a:gd name="connsiteY4-316" fmla="*/ 585047 h 608216"/>
                  <a:gd name="connsiteX5-317" fmla="*/ 108414 w 179875"/>
                  <a:gd name="connsiteY5-318" fmla="*/ 574961 h 608216"/>
                  <a:gd name="connsiteX6-319" fmla="*/ 31430 w 179875"/>
                  <a:gd name="connsiteY6-320" fmla="*/ 282938 h 608216"/>
                  <a:gd name="connsiteX7-321" fmla="*/ 4248 w 179875"/>
                  <a:gd name="connsiteY7-322" fmla="*/ 0 h 608216"/>
                  <a:gd name="connsiteX0-323" fmla="*/ 0 w 175627"/>
                  <a:gd name="connsiteY0-324" fmla="*/ 0 h 608216"/>
                  <a:gd name="connsiteX1-325" fmla="*/ 124387 w 175627"/>
                  <a:gd name="connsiteY1-326" fmla="*/ 114399 h 608216"/>
                  <a:gd name="connsiteX2-327" fmla="*/ 174763 w 175627"/>
                  <a:gd name="connsiteY2-328" fmla="*/ 228699 h 608216"/>
                  <a:gd name="connsiteX3-329" fmla="*/ 152802 w 175627"/>
                  <a:gd name="connsiteY3-330" fmla="*/ 422828 h 608216"/>
                  <a:gd name="connsiteX4-331" fmla="*/ 134422 w 175627"/>
                  <a:gd name="connsiteY4-332" fmla="*/ 585047 h 608216"/>
                  <a:gd name="connsiteX5-333" fmla="*/ 104166 w 175627"/>
                  <a:gd name="connsiteY5-334" fmla="*/ 574961 h 608216"/>
                  <a:gd name="connsiteX6-335" fmla="*/ 27182 w 175627"/>
                  <a:gd name="connsiteY6-336" fmla="*/ 282938 h 608216"/>
                  <a:gd name="connsiteX7-337" fmla="*/ 0 w 175627"/>
                  <a:gd name="connsiteY7-338" fmla="*/ 0 h 608216"/>
                  <a:gd name="connsiteX0-339" fmla="*/ 0 w 175627"/>
                  <a:gd name="connsiteY0-340" fmla="*/ 0 h 608216"/>
                  <a:gd name="connsiteX1-341" fmla="*/ 124387 w 175627"/>
                  <a:gd name="connsiteY1-342" fmla="*/ 114399 h 608216"/>
                  <a:gd name="connsiteX2-343" fmla="*/ 129035 w 175627"/>
                  <a:gd name="connsiteY2-344" fmla="*/ 173757 h 608216"/>
                  <a:gd name="connsiteX3-345" fmla="*/ 174763 w 175627"/>
                  <a:gd name="connsiteY3-346" fmla="*/ 228699 h 608216"/>
                  <a:gd name="connsiteX4-347" fmla="*/ 152802 w 175627"/>
                  <a:gd name="connsiteY4-348" fmla="*/ 422828 h 608216"/>
                  <a:gd name="connsiteX5-349" fmla="*/ 134422 w 175627"/>
                  <a:gd name="connsiteY5-350" fmla="*/ 585047 h 608216"/>
                  <a:gd name="connsiteX6-351" fmla="*/ 104166 w 175627"/>
                  <a:gd name="connsiteY6-352" fmla="*/ 574961 h 608216"/>
                  <a:gd name="connsiteX7-353" fmla="*/ 27182 w 175627"/>
                  <a:gd name="connsiteY7-354" fmla="*/ 282938 h 608216"/>
                  <a:gd name="connsiteX8" fmla="*/ 0 w 175627"/>
                  <a:gd name="connsiteY8" fmla="*/ 0 h 608216"/>
                  <a:gd name="connsiteX0-355" fmla="*/ 0 w 175627"/>
                  <a:gd name="connsiteY0-356" fmla="*/ 0 h 608216"/>
                  <a:gd name="connsiteX1-357" fmla="*/ 124387 w 175627"/>
                  <a:gd name="connsiteY1-358" fmla="*/ 114399 h 608216"/>
                  <a:gd name="connsiteX2-359" fmla="*/ 129035 w 175627"/>
                  <a:gd name="connsiteY2-360" fmla="*/ 173757 h 608216"/>
                  <a:gd name="connsiteX3-361" fmla="*/ 174763 w 175627"/>
                  <a:gd name="connsiteY3-362" fmla="*/ 228699 h 608216"/>
                  <a:gd name="connsiteX4-363" fmla="*/ 152802 w 175627"/>
                  <a:gd name="connsiteY4-364" fmla="*/ 422828 h 608216"/>
                  <a:gd name="connsiteX5-365" fmla="*/ 134422 w 175627"/>
                  <a:gd name="connsiteY5-366" fmla="*/ 585047 h 608216"/>
                  <a:gd name="connsiteX6-367" fmla="*/ 104166 w 175627"/>
                  <a:gd name="connsiteY6-368" fmla="*/ 574961 h 608216"/>
                  <a:gd name="connsiteX7-369" fmla="*/ 27182 w 175627"/>
                  <a:gd name="connsiteY7-370" fmla="*/ 282938 h 608216"/>
                  <a:gd name="connsiteX8-371" fmla="*/ 0 w 175627"/>
                  <a:gd name="connsiteY8-372" fmla="*/ 0 h 608216"/>
                  <a:gd name="connsiteX0-373" fmla="*/ 0 w 175627"/>
                  <a:gd name="connsiteY0-374" fmla="*/ 0 h 608216"/>
                  <a:gd name="connsiteX1-375" fmla="*/ 124387 w 175627"/>
                  <a:gd name="connsiteY1-376" fmla="*/ 114399 h 608216"/>
                  <a:gd name="connsiteX2-377" fmla="*/ 129035 w 175627"/>
                  <a:gd name="connsiteY2-378" fmla="*/ 173757 h 608216"/>
                  <a:gd name="connsiteX3-379" fmla="*/ 174763 w 175627"/>
                  <a:gd name="connsiteY3-380" fmla="*/ 228699 h 608216"/>
                  <a:gd name="connsiteX4-381" fmla="*/ 152802 w 175627"/>
                  <a:gd name="connsiteY4-382" fmla="*/ 422828 h 608216"/>
                  <a:gd name="connsiteX5-383" fmla="*/ 134422 w 175627"/>
                  <a:gd name="connsiteY5-384" fmla="*/ 585047 h 608216"/>
                  <a:gd name="connsiteX6-385" fmla="*/ 104166 w 175627"/>
                  <a:gd name="connsiteY6-386" fmla="*/ 574961 h 608216"/>
                  <a:gd name="connsiteX7-387" fmla="*/ 27182 w 175627"/>
                  <a:gd name="connsiteY7-388" fmla="*/ 282938 h 608216"/>
                  <a:gd name="connsiteX8-389" fmla="*/ 0 w 175627"/>
                  <a:gd name="connsiteY8-390" fmla="*/ 0 h 60821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321" y="connsiteY7-322"/>
                  </a:cxn>
                  <a:cxn ang="0">
                    <a:pos x="connsiteX8-371" y="connsiteY8-372"/>
                  </a:cxn>
                </a:cxnLst>
                <a:rect l="l" t="t" r="r" b="b"/>
                <a:pathLst>
                  <a:path w="175627" h="608216">
                    <a:moveTo>
                      <a:pt x="0" y="0"/>
                    </a:moveTo>
                    <a:cubicBezTo>
                      <a:pt x="35858" y="65555"/>
                      <a:pt x="98847" y="86334"/>
                      <a:pt x="124387" y="114399"/>
                    </a:cubicBezTo>
                    <a:cubicBezTo>
                      <a:pt x="120428" y="142221"/>
                      <a:pt x="120639" y="154707"/>
                      <a:pt x="129035" y="173757"/>
                    </a:cubicBezTo>
                    <a:cubicBezTo>
                      <a:pt x="137431" y="192807"/>
                      <a:pt x="152129" y="206522"/>
                      <a:pt x="174763" y="228699"/>
                    </a:cubicBezTo>
                    <a:cubicBezTo>
                      <a:pt x="180065" y="280673"/>
                      <a:pt x="159526" y="363437"/>
                      <a:pt x="152802" y="422828"/>
                    </a:cubicBezTo>
                    <a:cubicBezTo>
                      <a:pt x="146079" y="482219"/>
                      <a:pt x="143094" y="560260"/>
                      <a:pt x="134422" y="585047"/>
                    </a:cubicBezTo>
                    <a:cubicBezTo>
                      <a:pt x="125750" y="609834"/>
                      <a:pt x="122039" y="625312"/>
                      <a:pt x="104166" y="574961"/>
                    </a:cubicBezTo>
                    <a:cubicBezTo>
                      <a:pt x="86293" y="524610"/>
                      <a:pt x="42845" y="377628"/>
                      <a:pt x="27182" y="282938"/>
                    </a:cubicBezTo>
                    <a:cubicBezTo>
                      <a:pt x="11519" y="188248"/>
                      <a:pt x="9262" y="68464"/>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grpSp>
      </p:grpSp>
      <p:grpSp>
        <p:nvGrpSpPr>
          <p:cNvPr id="9" name="Group 104"/>
          <p:cNvGrpSpPr/>
          <p:nvPr/>
        </p:nvGrpSpPr>
        <p:grpSpPr>
          <a:xfrm>
            <a:off x="3329261" y="4200139"/>
            <a:ext cx="1343983" cy="1393766"/>
            <a:chOff x="2894923" y="4020058"/>
            <a:chExt cx="1548157" cy="1605504"/>
          </a:xfrm>
          <a:solidFill>
            <a:srgbClr val="86BD7D"/>
          </a:solidFill>
        </p:grpSpPr>
        <p:sp>
          <p:nvSpPr>
            <p:cNvPr id="106" name="Freeform 105"/>
            <p:cNvSpPr/>
            <p:nvPr/>
          </p:nvSpPr>
          <p:spPr>
            <a:xfrm>
              <a:off x="2894923" y="4020058"/>
              <a:ext cx="1548157" cy="1546161"/>
            </a:xfrm>
            <a:custGeom>
              <a:avLst/>
              <a:gdLst>
                <a:gd name="connsiteX0" fmla="*/ 1246360 w 2340862"/>
                <a:gd name="connsiteY0" fmla="*/ 0 h 2337846"/>
                <a:gd name="connsiteX1" fmla="*/ 1207741 w 2340862"/>
                <a:gd name="connsiteY1" fmla="*/ 126135 h 2337846"/>
                <a:gd name="connsiteX2" fmla="*/ 1389933 w 2340862"/>
                <a:gd name="connsiteY2" fmla="*/ 60821 h 2337846"/>
                <a:gd name="connsiteX3" fmla="*/ 1362433 w 2340862"/>
                <a:gd name="connsiteY3" fmla="*/ 133010 h 2337846"/>
                <a:gd name="connsiteX4" fmla="*/ 1486186 w 2340862"/>
                <a:gd name="connsiteY4" fmla="*/ 105509 h 2337846"/>
                <a:gd name="connsiteX5" fmla="*/ 1444935 w 2340862"/>
                <a:gd name="connsiteY5" fmla="*/ 174261 h 2337846"/>
                <a:gd name="connsiteX6" fmla="*/ 1594094 w 2340862"/>
                <a:gd name="connsiteY6" fmla="*/ 262618 h 2337846"/>
                <a:gd name="connsiteX7" fmla="*/ 1664941 w 2340862"/>
                <a:gd name="connsiteY7" fmla="*/ 438956 h 2337846"/>
                <a:gd name="connsiteX8" fmla="*/ 1678691 w 2340862"/>
                <a:gd name="connsiteY8" fmla="*/ 793028 h 2337846"/>
                <a:gd name="connsiteX9" fmla="*/ 1709630 w 2340862"/>
                <a:gd name="connsiteY9" fmla="*/ 875530 h 2337846"/>
                <a:gd name="connsiteX10" fmla="*/ 1678691 w 2340862"/>
                <a:gd name="connsiteY10" fmla="*/ 1013034 h 2337846"/>
                <a:gd name="connsiteX11" fmla="*/ 1604926 w 2340862"/>
                <a:gd name="connsiteY11" fmla="*/ 1097650 h 2337846"/>
                <a:gd name="connsiteX12" fmla="*/ 1541707 w 2340862"/>
                <a:gd name="connsiteY12" fmla="*/ 1293341 h 2337846"/>
                <a:gd name="connsiteX13" fmla="*/ 1472420 w 2340862"/>
                <a:gd name="connsiteY13" fmla="*/ 1385548 h 2337846"/>
                <a:gd name="connsiteX14" fmla="*/ 1471364 w 2340862"/>
                <a:gd name="connsiteY14" fmla="*/ 1386394 h 2337846"/>
                <a:gd name="connsiteX15" fmla="*/ 1485438 w 2340862"/>
                <a:gd name="connsiteY15" fmla="*/ 1386394 h 2337846"/>
                <a:gd name="connsiteX16" fmla="*/ 1480078 w 2340862"/>
                <a:gd name="connsiteY16" fmla="*/ 1395490 h 2337846"/>
                <a:gd name="connsiteX17" fmla="*/ 1466971 w 2340862"/>
                <a:gd name="connsiteY17" fmla="*/ 1428525 h 2337846"/>
                <a:gd name="connsiteX18" fmla="*/ 1482292 w 2340862"/>
                <a:gd name="connsiteY18" fmla="*/ 1524281 h 2337846"/>
                <a:gd name="connsiteX19" fmla="*/ 1516764 w 2340862"/>
                <a:gd name="connsiteY19" fmla="*/ 1539603 h 2337846"/>
                <a:gd name="connsiteX20" fmla="*/ 1555065 w 2340862"/>
                <a:gd name="connsiteY20" fmla="*/ 1593225 h 2337846"/>
                <a:gd name="connsiteX21" fmla="*/ 1796369 w 2340862"/>
                <a:gd name="connsiteY21" fmla="*/ 1662168 h 2337846"/>
                <a:gd name="connsiteX22" fmla="*/ 2018522 w 2340862"/>
                <a:gd name="connsiteY22" fmla="*/ 1719622 h 2337846"/>
                <a:gd name="connsiteX23" fmla="*/ 2148749 w 2340862"/>
                <a:gd name="connsiteY23" fmla="*/ 1761754 h 2337846"/>
                <a:gd name="connsiteX24" fmla="*/ 2259825 w 2340862"/>
                <a:gd name="connsiteY24" fmla="*/ 1803886 h 2337846"/>
                <a:gd name="connsiteX25" fmla="*/ 2294297 w 2340862"/>
                <a:gd name="connsiteY25" fmla="*/ 1953264 h 2337846"/>
                <a:gd name="connsiteX26" fmla="*/ 2321108 w 2340862"/>
                <a:gd name="connsiteY26" fmla="*/ 2148605 h 2337846"/>
                <a:gd name="connsiteX27" fmla="*/ 2340259 w 2340862"/>
                <a:gd name="connsiteY27" fmla="*/ 2324795 h 2337846"/>
                <a:gd name="connsiteX28" fmla="*/ 2336430 w 2340862"/>
                <a:gd name="connsiteY28" fmla="*/ 2324795 h 2337846"/>
                <a:gd name="connsiteX29" fmla="*/ 1195027 w 2340862"/>
                <a:gd name="connsiteY29" fmla="*/ 2328624 h 2337846"/>
                <a:gd name="connsiteX30" fmla="*/ 0 w 2340862"/>
                <a:gd name="connsiteY30" fmla="*/ 2324795 h 2337846"/>
                <a:gd name="connsiteX31" fmla="*/ 57453 w 2340862"/>
                <a:gd name="connsiteY31" fmla="*/ 1937944 h 2337846"/>
                <a:gd name="connsiteX32" fmla="*/ 103415 w 2340862"/>
                <a:gd name="connsiteY32" fmla="*/ 1800056 h 2337846"/>
                <a:gd name="connsiteX33" fmla="*/ 214492 w 2340862"/>
                <a:gd name="connsiteY33" fmla="*/ 1746433 h 2337846"/>
                <a:gd name="connsiteX34" fmla="*/ 831157 w 2340862"/>
                <a:gd name="connsiteY34" fmla="*/ 1570243 h 2337846"/>
                <a:gd name="connsiteX35" fmla="*/ 854139 w 2340862"/>
                <a:gd name="connsiteY35" fmla="*/ 1516622 h 2337846"/>
                <a:gd name="connsiteX36" fmla="*/ 877119 w 2340862"/>
                <a:gd name="connsiteY36" fmla="*/ 1482148 h 2337846"/>
                <a:gd name="connsiteX37" fmla="*/ 876639 w 2340862"/>
                <a:gd name="connsiteY37" fmla="*/ 1432116 h 2337846"/>
                <a:gd name="connsiteX38" fmla="*/ 867840 w 2340862"/>
                <a:gd name="connsiteY38" fmla="*/ 1386394 h 2337846"/>
                <a:gd name="connsiteX39" fmla="*/ 870670 w 2340862"/>
                <a:gd name="connsiteY39" fmla="*/ 1386394 h 2337846"/>
                <a:gd name="connsiteX40" fmla="*/ 845132 w 2340862"/>
                <a:gd name="connsiteY40" fmla="*/ 1351221 h 2337846"/>
                <a:gd name="connsiteX41" fmla="*/ 812418 w 2340862"/>
                <a:gd name="connsiteY41" fmla="*/ 1298354 h 2337846"/>
                <a:gd name="connsiteX42" fmla="*/ 753979 w 2340862"/>
                <a:gd name="connsiteY42" fmla="*/ 1092099 h 2337846"/>
                <a:gd name="connsiteX43" fmla="*/ 661164 w 2340862"/>
                <a:gd name="connsiteY43" fmla="*/ 992408 h 2337846"/>
                <a:gd name="connsiteX44" fmla="*/ 625193 w 2340862"/>
                <a:gd name="connsiteY44" fmla="*/ 833491 h 2337846"/>
                <a:gd name="connsiteX45" fmla="*/ 668039 w 2340862"/>
                <a:gd name="connsiteY45" fmla="*/ 768965 h 2337846"/>
                <a:gd name="connsiteX46" fmla="*/ 643976 w 2340862"/>
                <a:gd name="connsiteY46" fmla="*/ 603960 h 2337846"/>
                <a:gd name="connsiteX47" fmla="*/ 685227 w 2340862"/>
                <a:gd name="connsiteY47" fmla="*/ 339266 h 2337846"/>
                <a:gd name="connsiteX48" fmla="*/ 795230 w 2340862"/>
                <a:gd name="connsiteY48" fmla="*/ 174261 h 2337846"/>
                <a:gd name="connsiteX49" fmla="*/ 798667 w 2340862"/>
                <a:gd name="connsiteY49" fmla="*/ 212075 h 2337846"/>
                <a:gd name="connsiteX50" fmla="*/ 949921 w 2340862"/>
                <a:gd name="connsiteY50" fmla="*/ 105509 h 2337846"/>
                <a:gd name="connsiteX51" fmla="*/ 953359 w 2340862"/>
                <a:gd name="connsiteY51" fmla="*/ 143323 h 2337846"/>
                <a:gd name="connsiteX52" fmla="*/ 1246360 w 2340862"/>
                <a:gd name="connsiteY52" fmla="*/ 0 h 2337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340862" h="2337846">
                  <a:moveTo>
                    <a:pt x="1246360" y="0"/>
                  </a:moveTo>
                  <a:cubicBezTo>
                    <a:pt x="1260182" y="32854"/>
                    <a:pt x="1242153" y="87820"/>
                    <a:pt x="1207741" y="126135"/>
                  </a:cubicBezTo>
                  <a:cubicBezTo>
                    <a:pt x="1259055" y="100157"/>
                    <a:pt x="1309383" y="78725"/>
                    <a:pt x="1389933" y="60821"/>
                  </a:cubicBezTo>
                  <a:cubicBezTo>
                    <a:pt x="1391903" y="92923"/>
                    <a:pt x="1346391" y="125562"/>
                    <a:pt x="1362433" y="133010"/>
                  </a:cubicBezTo>
                  <a:cubicBezTo>
                    <a:pt x="1378475" y="140458"/>
                    <a:pt x="1472436" y="98634"/>
                    <a:pt x="1486186" y="105509"/>
                  </a:cubicBezTo>
                  <a:cubicBezTo>
                    <a:pt x="1499936" y="112384"/>
                    <a:pt x="1432903" y="158792"/>
                    <a:pt x="1444935" y="174261"/>
                  </a:cubicBezTo>
                  <a:cubicBezTo>
                    <a:pt x="1497448" y="184968"/>
                    <a:pt x="1557426" y="218502"/>
                    <a:pt x="1594094" y="262618"/>
                  </a:cubicBezTo>
                  <a:cubicBezTo>
                    <a:pt x="1630762" y="306734"/>
                    <a:pt x="1650842" y="350554"/>
                    <a:pt x="1664941" y="438956"/>
                  </a:cubicBezTo>
                  <a:cubicBezTo>
                    <a:pt x="1679040" y="527358"/>
                    <a:pt x="1705619" y="713391"/>
                    <a:pt x="1678691" y="793028"/>
                  </a:cubicBezTo>
                  <a:cubicBezTo>
                    <a:pt x="1706764" y="827977"/>
                    <a:pt x="1709630" y="838862"/>
                    <a:pt x="1709630" y="875530"/>
                  </a:cubicBezTo>
                  <a:cubicBezTo>
                    <a:pt x="1709630" y="912198"/>
                    <a:pt x="1696142" y="976014"/>
                    <a:pt x="1678691" y="1013034"/>
                  </a:cubicBezTo>
                  <a:cubicBezTo>
                    <a:pt x="1661240" y="1050054"/>
                    <a:pt x="1624979" y="1054107"/>
                    <a:pt x="1604926" y="1097650"/>
                  </a:cubicBezTo>
                  <a:cubicBezTo>
                    <a:pt x="1584872" y="1181674"/>
                    <a:pt x="1564535" y="1218054"/>
                    <a:pt x="1541707" y="1293341"/>
                  </a:cubicBezTo>
                  <a:cubicBezTo>
                    <a:pt x="1529102" y="1320268"/>
                    <a:pt x="1504884" y="1354282"/>
                    <a:pt x="1472420" y="1385548"/>
                  </a:cubicBezTo>
                  <a:lnTo>
                    <a:pt x="1471364" y="1386394"/>
                  </a:lnTo>
                  <a:lnTo>
                    <a:pt x="1485438" y="1386394"/>
                  </a:lnTo>
                  <a:lnTo>
                    <a:pt x="1480078" y="1395490"/>
                  </a:lnTo>
                  <a:cubicBezTo>
                    <a:pt x="1471759" y="1407938"/>
                    <a:pt x="1467929" y="1410332"/>
                    <a:pt x="1466971" y="1428525"/>
                  </a:cubicBezTo>
                  <a:cubicBezTo>
                    <a:pt x="1465694" y="1452783"/>
                    <a:pt x="1473993" y="1505769"/>
                    <a:pt x="1482292" y="1524281"/>
                  </a:cubicBezTo>
                  <a:cubicBezTo>
                    <a:pt x="1490591" y="1542794"/>
                    <a:pt x="1505911" y="1526198"/>
                    <a:pt x="1516764" y="1539603"/>
                  </a:cubicBezTo>
                  <a:cubicBezTo>
                    <a:pt x="1527616" y="1553009"/>
                    <a:pt x="1508463" y="1572798"/>
                    <a:pt x="1555065" y="1593225"/>
                  </a:cubicBezTo>
                  <a:cubicBezTo>
                    <a:pt x="1601666" y="1613652"/>
                    <a:pt x="1719126" y="1641103"/>
                    <a:pt x="1796369" y="1662168"/>
                  </a:cubicBezTo>
                  <a:cubicBezTo>
                    <a:pt x="1873612" y="1683235"/>
                    <a:pt x="1959792" y="1703024"/>
                    <a:pt x="2018522" y="1719622"/>
                  </a:cubicBezTo>
                  <a:cubicBezTo>
                    <a:pt x="2077252" y="1736219"/>
                    <a:pt x="2108531" y="1747709"/>
                    <a:pt x="2148749" y="1761754"/>
                  </a:cubicBezTo>
                  <a:cubicBezTo>
                    <a:pt x="2188967" y="1775798"/>
                    <a:pt x="2235567" y="1771967"/>
                    <a:pt x="2259825" y="1803886"/>
                  </a:cubicBezTo>
                  <a:cubicBezTo>
                    <a:pt x="2284083" y="1835805"/>
                    <a:pt x="2284083" y="1895811"/>
                    <a:pt x="2294297" y="1953264"/>
                  </a:cubicBezTo>
                  <a:cubicBezTo>
                    <a:pt x="2304510" y="2010718"/>
                    <a:pt x="2313448" y="2086683"/>
                    <a:pt x="2321108" y="2148605"/>
                  </a:cubicBezTo>
                  <a:cubicBezTo>
                    <a:pt x="2328769" y="2210527"/>
                    <a:pt x="2337705" y="2295430"/>
                    <a:pt x="2340259" y="2324795"/>
                  </a:cubicBezTo>
                  <a:cubicBezTo>
                    <a:pt x="2342813" y="2354160"/>
                    <a:pt x="2336430" y="2324795"/>
                    <a:pt x="2336430" y="2324795"/>
                  </a:cubicBezTo>
                  <a:lnTo>
                    <a:pt x="1195027" y="2328624"/>
                  </a:lnTo>
                  <a:cubicBezTo>
                    <a:pt x="924359" y="2335646"/>
                    <a:pt x="597513" y="2326709"/>
                    <a:pt x="0" y="2324795"/>
                  </a:cubicBezTo>
                  <a:cubicBezTo>
                    <a:pt x="1915" y="2282663"/>
                    <a:pt x="40218" y="2025401"/>
                    <a:pt x="57453" y="1937944"/>
                  </a:cubicBezTo>
                  <a:cubicBezTo>
                    <a:pt x="74689" y="1850487"/>
                    <a:pt x="77242" y="1831975"/>
                    <a:pt x="103415" y="1800056"/>
                  </a:cubicBezTo>
                  <a:cubicBezTo>
                    <a:pt x="129589" y="1768137"/>
                    <a:pt x="93202" y="1784736"/>
                    <a:pt x="214492" y="1746433"/>
                  </a:cubicBezTo>
                  <a:cubicBezTo>
                    <a:pt x="335781" y="1708131"/>
                    <a:pt x="820304" y="1577904"/>
                    <a:pt x="831157" y="1570243"/>
                  </a:cubicBezTo>
                  <a:cubicBezTo>
                    <a:pt x="842010" y="1562583"/>
                    <a:pt x="846478" y="1531304"/>
                    <a:pt x="854139" y="1516622"/>
                  </a:cubicBezTo>
                  <a:cubicBezTo>
                    <a:pt x="861799" y="1501939"/>
                    <a:pt x="875204" y="1505768"/>
                    <a:pt x="877119" y="1482148"/>
                  </a:cubicBezTo>
                  <a:cubicBezTo>
                    <a:pt x="878076" y="1470339"/>
                    <a:pt x="878236" y="1451826"/>
                    <a:pt x="876639" y="1432116"/>
                  </a:cubicBezTo>
                  <a:lnTo>
                    <a:pt x="867840" y="1386394"/>
                  </a:lnTo>
                  <a:lnTo>
                    <a:pt x="870670" y="1386394"/>
                  </a:lnTo>
                  <a:lnTo>
                    <a:pt x="845132" y="1351221"/>
                  </a:lnTo>
                  <a:cubicBezTo>
                    <a:pt x="833213" y="1332821"/>
                    <a:pt x="822447" y="1314706"/>
                    <a:pt x="812418" y="1298354"/>
                  </a:cubicBezTo>
                  <a:cubicBezTo>
                    <a:pt x="772304" y="1232947"/>
                    <a:pt x="760411" y="1175431"/>
                    <a:pt x="753979" y="1092099"/>
                  </a:cubicBezTo>
                  <a:cubicBezTo>
                    <a:pt x="737302" y="1069817"/>
                    <a:pt x="682628" y="1035509"/>
                    <a:pt x="661164" y="992408"/>
                  </a:cubicBezTo>
                  <a:cubicBezTo>
                    <a:pt x="639700" y="949307"/>
                    <a:pt x="624047" y="870731"/>
                    <a:pt x="625193" y="833491"/>
                  </a:cubicBezTo>
                  <a:cubicBezTo>
                    <a:pt x="626339" y="796250"/>
                    <a:pt x="650224" y="779439"/>
                    <a:pt x="668039" y="768965"/>
                  </a:cubicBezTo>
                  <a:cubicBezTo>
                    <a:pt x="669185" y="732297"/>
                    <a:pt x="641111" y="675576"/>
                    <a:pt x="643976" y="603960"/>
                  </a:cubicBezTo>
                  <a:cubicBezTo>
                    <a:pt x="646841" y="532344"/>
                    <a:pt x="660018" y="410883"/>
                    <a:pt x="685227" y="339266"/>
                  </a:cubicBezTo>
                  <a:cubicBezTo>
                    <a:pt x="710436" y="267649"/>
                    <a:pt x="776323" y="195459"/>
                    <a:pt x="795230" y="174261"/>
                  </a:cubicBezTo>
                  <a:cubicBezTo>
                    <a:pt x="814137" y="153062"/>
                    <a:pt x="772885" y="223534"/>
                    <a:pt x="798667" y="212075"/>
                  </a:cubicBezTo>
                  <a:cubicBezTo>
                    <a:pt x="824449" y="200616"/>
                    <a:pt x="924139" y="116968"/>
                    <a:pt x="949921" y="105509"/>
                  </a:cubicBezTo>
                  <a:cubicBezTo>
                    <a:pt x="975703" y="94050"/>
                    <a:pt x="949196" y="127570"/>
                    <a:pt x="953359" y="143323"/>
                  </a:cubicBezTo>
                  <a:cubicBezTo>
                    <a:pt x="1076584" y="47156"/>
                    <a:pt x="1203963" y="2865"/>
                    <a:pt x="12463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grpSp>
          <p:nvGrpSpPr>
            <p:cNvPr id="10" name="Group 106"/>
            <p:cNvGrpSpPr/>
            <p:nvPr/>
          </p:nvGrpSpPr>
          <p:grpSpPr>
            <a:xfrm>
              <a:off x="3461062" y="5073670"/>
              <a:ext cx="377558" cy="551892"/>
              <a:chOff x="8334300" y="5005568"/>
              <a:chExt cx="435951" cy="637247"/>
            </a:xfrm>
            <a:grpFill/>
          </p:grpSpPr>
          <p:sp>
            <p:nvSpPr>
              <p:cNvPr id="108" name="Freeform 107"/>
              <p:cNvSpPr/>
              <p:nvPr/>
            </p:nvSpPr>
            <p:spPr>
              <a:xfrm>
                <a:off x="8334300" y="5025839"/>
                <a:ext cx="172407" cy="61697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35428" h="616976">
                    <a:moveTo>
                      <a:pt x="957" y="0"/>
                    </a:moveTo>
                    <a:cubicBezTo>
                      <a:pt x="36815" y="65555"/>
                      <a:pt x="45781" y="66115"/>
                      <a:pt x="95087" y="90768"/>
                    </a:cubicBezTo>
                    <a:cubicBezTo>
                      <a:pt x="104052" y="145676"/>
                      <a:pt x="101810" y="183217"/>
                      <a:pt x="135428" y="208429"/>
                    </a:cubicBezTo>
                    <a:cubicBezTo>
                      <a:pt x="132066" y="277905"/>
                      <a:pt x="111896" y="504826"/>
                      <a:pt x="95087" y="564777"/>
                    </a:cubicBezTo>
                    <a:cubicBezTo>
                      <a:pt x="78278" y="624728"/>
                      <a:pt x="81080" y="647139"/>
                      <a:pt x="64831" y="554691"/>
                    </a:cubicBezTo>
                    <a:cubicBezTo>
                      <a:pt x="48582" y="462243"/>
                      <a:pt x="-8008" y="75640"/>
                      <a:pt x="95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sp>
            <p:nvSpPr>
              <p:cNvPr id="109" name="Freeform 108"/>
              <p:cNvSpPr/>
              <p:nvPr/>
            </p:nvSpPr>
            <p:spPr>
              <a:xfrm flipH="1">
                <a:off x="8593754" y="5005568"/>
                <a:ext cx="176497" cy="60821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 name="connsiteX0-219" fmla="*/ 957 w 135428"/>
                  <a:gd name="connsiteY0-220" fmla="*/ 0 h 616976"/>
                  <a:gd name="connsiteX1-221" fmla="*/ 85052 w 135428"/>
                  <a:gd name="connsiteY1-222" fmla="*/ 94129 h 616976"/>
                  <a:gd name="connsiteX2-223" fmla="*/ 135428 w 135428"/>
                  <a:gd name="connsiteY2-224" fmla="*/ 208429 h 616976"/>
                  <a:gd name="connsiteX3-225" fmla="*/ 95087 w 135428"/>
                  <a:gd name="connsiteY3-226" fmla="*/ 564777 h 616976"/>
                  <a:gd name="connsiteX4-227" fmla="*/ 64831 w 135428"/>
                  <a:gd name="connsiteY4-228" fmla="*/ 554691 h 616976"/>
                  <a:gd name="connsiteX5-229" fmla="*/ 957 w 135428"/>
                  <a:gd name="connsiteY5-230" fmla="*/ 0 h 616976"/>
                  <a:gd name="connsiteX0-231" fmla="*/ 680 w 165258"/>
                  <a:gd name="connsiteY0-232" fmla="*/ 0 h 631958"/>
                  <a:gd name="connsiteX1-233" fmla="*/ 114882 w 165258"/>
                  <a:gd name="connsiteY1-234" fmla="*/ 107576 h 631958"/>
                  <a:gd name="connsiteX2-235" fmla="*/ 165258 w 165258"/>
                  <a:gd name="connsiteY2-236" fmla="*/ 221876 h 631958"/>
                  <a:gd name="connsiteX3-237" fmla="*/ 124917 w 165258"/>
                  <a:gd name="connsiteY3-238" fmla="*/ 578224 h 631958"/>
                  <a:gd name="connsiteX4-239" fmla="*/ 94661 w 165258"/>
                  <a:gd name="connsiteY4-240" fmla="*/ 568138 h 631958"/>
                  <a:gd name="connsiteX5-241" fmla="*/ 680 w 165258"/>
                  <a:gd name="connsiteY5-242" fmla="*/ 0 h 631958"/>
                  <a:gd name="connsiteX0-243" fmla="*/ 1069 w 165647"/>
                  <a:gd name="connsiteY0-244" fmla="*/ 0 h 641425"/>
                  <a:gd name="connsiteX1-245" fmla="*/ 115271 w 165647"/>
                  <a:gd name="connsiteY1-246" fmla="*/ 107576 h 641425"/>
                  <a:gd name="connsiteX2-247" fmla="*/ 165647 w 165647"/>
                  <a:gd name="connsiteY2-248" fmla="*/ 221876 h 641425"/>
                  <a:gd name="connsiteX3-249" fmla="*/ 125306 w 165647"/>
                  <a:gd name="connsiteY3-250" fmla="*/ 578224 h 641425"/>
                  <a:gd name="connsiteX4-251" fmla="*/ 95050 w 165647"/>
                  <a:gd name="connsiteY4-252" fmla="*/ 568138 h 641425"/>
                  <a:gd name="connsiteX5-253" fmla="*/ 1069 w 165647"/>
                  <a:gd name="connsiteY5-254" fmla="*/ 0 h 641425"/>
                  <a:gd name="connsiteX0-255" fmla="*/ 1069 w 165647"/>
                  <a:gd name="connsiteY0-256" fmla="*/ 0 h 641425"/>
                  <a:gd name="connsiteX1-257" fmla="*/ 115271 w 165647"/>
                  <a:gd name="connsiteY1-258" fmla="*/ 107576 h 641425"/>
                  <a:gd name="connsiteX2-259" fmla="*/ 165647 w 165647"/>
                  <a:gd name="connsiteY2-260" fmla="*/ 221876 h 641425"/>
                  <a:gd name="connsiteX3-261" fmla="*/ 125306 w 165647"/>
                  <a:gd name="connsiteY3-262" fmla="*/ 578224 h 641425"/>
                  <a:gd name="connsiteX4-263" fmla="*/ 95050 w 165647"/>
                  <a:gd name="connsiteY4-264" fmla="*/ 568138 h 641425"/>
                  <a:gd name="connsiteX5-265" fmla="*/ 1069 w 165647"/>
                  <a:gd name="connsiteY5-266" fmla="*/ 0 h 641425"/>
                  <a:gd name="connsiteX0-267" fmla="*/ 1069 w 165647"/>
                  <a:gd name="connsiteY0-268" fmla="*/ 0 h 641425"/>
                  <a:gd name="connsiteX1-269" fmla="*/ 115271 w 165647"/>
                  <a:gd name="connsiteY1-270" fmla="*/ 107576 h 641425"/>
                  <a:gd name="connsiteX2-271" fmla="*/ 165647 w 165647"/>
                  <a:gd name="connsiteY2-272" fmla="*/ 221876 h 641425"/>
                  <a:gd name="connsiteX3-273" fmla="*/ 125306 w 165647"/>
                  <a:gd name="connsiteY3-274" fmla="*/ 578224 h 641425"/>
                  <a:gd name="connsiteX4-275" fmla="*/ 95050 w 165647"/>
                  <a:gd name="connsiteY4-276" fmla="*/ 568138 h 641425"/>
                  <a:gd name="connsiteX5-277" fmla="*/ 1069 w 165647"/>
                  <a:gd name="connsiteY5-278" fmla="*/ 0 h 641425"/>
                  <a:gd name="connsiteX0-279" fmla="*/ 1069 w 166511"/>
                  <a:gd name="connsiteY0-280" fmla="*/ 0 h 630644"/>
                  <a:gd name="connsiteX1-281" fmla="*/ 115271 w 166511"/>
                  <a:gd name="connsiteY1-282" fmla="*/ 107576 h 630644"/>
                  <a:gd name="connsiteX2-283" fmla="*/ 165647 w 166511"/>
                  <a:gd name="connsiteY2-284" fmla="*/ 221876 h 630644"/>
                  <a:gd name="connsiteX3-285" fmla="*/ 143686 w 166511"/>
                  <a:gd name="connsiteY3-286" fmla="*/ 416005 h 630644"/>
                  <a:gd name="connsiteX4-287" fmla="*/ 125306 w 166511"/>
                  <a:gd name="connsiteY4-288" fmla="*/ 578224 h 630644"/>
                  <a:gd name="connsiteX5-289" fmla="*/ 95050 w 166511"/>
                  <a:gd name="connsiteY5-290" fmla="*/ 568138 h 630644"/>
                  <a:gd name="connsiteX6-291" fmla="*/ 1069 w 166511"/>
                  <a:gd name="connsiteY6-292" fmla="*/ 0 h 630644"/>
                  <a:gd name="connsiteX0-293" fmla="*/ 5716 w 171158"/>
                  <a:gd name="connsiteY0-294" fmla="*/ 0 h 601393"/>
                  <a:gd name="connsiteX1-295" fmla="*/ 119918 w 171158"/>
                  <a:gd name="connsiteY1-296" fmla="*/ 107576 h 601393"/>
                  <a:gd name="connsiteX2-297" fmla="*/ 170294 w 171158"/>
                  <a:gd name="connsiteY2-298" fmla="*/ 221876 h 601393"/>
                  <a:gd name="connsiteX3-299" fmla="*/ 148333 w 171158"/>
                  <a:gd name="connsiteY3-300" fmla="*/ 416005 h 601393"/>
                  <a:gd name="connsiteX4-301" fmla="*/ 129953 w 171158"/>
                  <a:gd name="connsiteY4-302" fmla="*/ 578224 h 601393"/>
                  <a:gd name="connsiteX5-303" fmla="*/ 99697 w 171158"/>
                  <a:gd name="connsiteY5-304" fmla="*/ 568138 h 601393"/>
                  <a:gd name="connsiteX6-305" fmla="*/ 22713 w 171158"/>
                  <a:gd name="connsiteY6-306" fmla="*/ 276115 h 601393"/>
                  <a:gd name="connsiteX7" fmla="*/ 5716 w 171158"/>
                  <a:gd name="connsiteY7" fmla="*/ 0 h 601393"/>
                  <a:gd name="connsiteX0-307" fmla="*/ 4248 w 179875"/>
                  <a:gd name="connsiteY0-308" fmla="*/ 0 h 608216"/>
                  <a:gd name="connsiteX1-309" fmla="*/ 128635 w 179875"/>
                  <a:gd name="connsiteY1-310" fmla="*/ 114399 h 608216"/>
                  <a:gd name="connsiteX2-311" fmla="*/ 179011 w 179875"/>
                  <a:gd name="connsiteY2-312" fmla="*/ 228699 h 608216"/>
                  <a:gd name="connsiteX3-313" fmla="*/ 157050 w 179875"/>
                  <a:gd name="connsiteY3-314" fmla="*/ 422828 h 608216"/>
                  <a:gd name="connsiteX4-315" fmla="*/ 138670 w 179875"/>
                  <a:gd name="connsiteY4-316" fmla="*/ 585047 h 608216"/>
                  <a:gd name="connsiteX5-317" fmla="*/ 108414 w 179875"/>
                  <a:gd name="connsiteY5-318" fmla="*/ 574961 h 608216"/>
                  <a:gd name="connsiteX6-319" fmla="*/ 31430 w 179875"/>
                  <a:gd name="connsiteY6-320" fmla="*/ 282938 h 608216"/>
                  <a:gd name="connsiteX7-321" fmla="*/ 4248 w 179875"/>
                  <a:gd name="connsiteY7-322" fmla="*/ 0 h 608216"/>
                  <a:gd name="connsiteX0-323" fmla="*/ 0 w 175627"/>
                  <a:gd name="connsiteY0-324" fmla="*/ 0 h 608216"/>
                  <a:gd name="connsiteX1-325" fmla="*/ 124387 w 175627"/>
                  <a:gd name="connsiteY1-326" fmla="*/ 114399 h 608216"/>
                  <a:gd name="connsiteX2-327" fmla="*/ 174763 w 175627"/>
                  <a:gd name="connsiteY2-328" fmla="*/ 228699 h 608216"/>
                  <a:gd name="connsiteX3-329" fmla="*/ 152802 w 175627"/>
                  <a:gd name="connsiteY3-330" fmla="*/ 422828 h 608216"/>
                  <a:gd name="connsiteX4-331" fmla="*/ 134422 w 175627"/>
                  <a:gd name="connsiteY4-332" fmla="*/ 585047 h 608216"/>
                  <a:gd name="connsiteX5-333" fmla="*/ 104166 w 175627"/>
                  <a:gd name="connsiteY5-334" fmla="*/ 574961 h 608216"/>
                  <a:gd name="connsiteX6-335" fmla="*/ 27182 w 175627"/>
                  <a:gd name="connsiteY6-336" fmla="*/ 282938 h 608216"/>
                  <a:gd name="connsiteX7-337" fmla="*/ 0 w 175627"/>
                  <a:gd name="connsiteY7-338" fmla="*/ 0 h 608216"/>
                  <a:gd name="connsiteX0-339" fmla="*/ 0 w 175627"/>
                  <a:gd name="connsiteY0-340" fmla="*/ 0 h 608216"/>
                  <a:gd name="connsiteX1-341" fmla="*/ 124387 w 175627"/>
                  <a:gd name="connsiteY1-342" fmla="*/ 114399 h 608216"/>
                  <a:gd name="connsiteX2-343" fmla="*/ 129035 w 175627"/>
                  <a:gd name="connsiteY2-344" fmla="*/ 173757 h 608216"/>
                  <a:gd name="connsiteX3-345" fmla="*/ 174763 w 175627"/>
                  <a:gd name="connsiteY3-346" fmla="*/ 228699 h 608216"/>
                  <a:gd name="connsiteX4-347" fmla="*/ 152802 w 175627"/>
                  <a:gd name="connsiteY4-348" fmla="*/ 422828 h 608216"/>
                  <a:gd name="connsiteX5-349" fmla="*/ 134422 w 175627"/>
                  <a:gd name="connsiteY5-350" fmla="*/ 585047 h 608216"/>
                  <a:gd name="connsiteX6-351" fmla="*/ 104166 w 175627"/>
                  <a:gd name="connsiteY6-352" fmla="*/ 574961 h 608216"/>
                  <a:gd name="connsiteX7-353" fmla="*/ 27182 w 175627"/>
                  <a:gd name="connsiteY7-354" fmla="*/ 282938 h 608216"/>
                  <a:gd name="connsiteX8" fmla="*/ 0 w 175627"/>
                  <a:gd name="connsiteY8" fmla="*/ 0 h 608216"/>
                  <a:gd name="connsiteX0-355" fmla="*/ 0 w 175627"/>
                  <a:gd name="connsiteY0-356" fmla="*/ 0 h 608216"/>
                  <a:gd name="connsiteX1-357" fmla="*/ 124387 w 175627"/>
                  <a:gd name="connsiteY1-358" fmla="*/ 114399 h 608216"/>
                  <a:gd name="connsiteX2-359" fmla="*/ 129035 w 175627"/>
                  <a:gd name="connsiteY2-360" fmla="*/ 173757 h 608216"/>
                  <a:gd name="connsiteX3-361" fmla="*/ 174763 w 175627"/>
                  <a:gd name="connsiteY3-362" fmla="*/ 228699 h 608216"/>
                  <a:gd name="connsiteX4-363" fmla="*/ 152802 w 175627"/>
                  <a:gd name="connsiteY4-364" fmla="*/ 422828 h 608216"/>
                  <a:gd name="connsiteX5-365" fmla="*/ 134422 w 175627"/>
                  <a:gd name="connsiteY5-366" fmla="*/ 585047 h 608216"/>
                  <a:gd name="connsiteX6-367" fmla="*/ 104166 w 175627"/>
                  <a:gd name="connsiteY6-368" fmla="*/ 574961 h 608216"/>
                  <a:gd name="connsiteX7-369" fmla="*/ 27182 w 175627"/>
                  <a:gd name="connsiteY7-370" fmla="*/ 282938 h 608216"/>
                  <a:gd name="connsiteX8-371" fmla="*/ 0 w 175627"/>
                  <a:gd name="connsiteY8-372" fmla="*/ 0 h 608216"/>
                  <a:gd name="connsiteX0-373" fmla="*/ 0 w 175627"/>
                  <a:gd name="connsiteY0-374" fmla="*/ 0 h 608216"/>
                  <a:gd name="connsiteX1-375" fmla="*/ 124387 w 175627"/>
                  <a:gd name="connsiteY1-376" fmla="*/ 114399 h 608216"/>
                  <a:gd name="connsiteX2-377" fmla="*/ 129035 w 175627"/>
                  <a:gd name="connsiteY2-378" fmla="*/ 173757 h 608216"/>
                  <a:gd name="connsiteX3-379" fmla="*/ 174763 w 175627"/>
                  <a:gd name="connsiteY3-380" fmla="*/ 228699 h 608216"/>
                  <a:gd name="connsiteX4-381" fmla="*/ 152802 w 175627"/>
                  <a:gd name="connsiteY4-382" fmla="*/ 422828 h 608216"/>
                  <a:gd name="connsiteX5-383" fmla="*/ 134422 w 175627"/>
                  <a:gd name="connsiteY5-384" fmla="*/ 585047 h 608216"/>
                  <a:gd name="connsiteX6-385" fmla="*/ 104166 w 175627"/>
                  <a:gd name="connsiteY6-386" fmla="*/ 574961 h 608216"/>
                  <a:gd name="connsiteX7-387" fmla="*/ 27182 w 175627"/>
                  <a:gd name="connsiteY7-388" fmla="*/ 282938 h 608216"/>
                  <a:gd name="connsiteX8-389" fmla="*/ 0 w 175627"/>
                  <a:gd name="connsiteY8-390" fmla="*/ 0 h 60821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321" y="connsiteY7-322"/>
                  </a:cxn>
                  <a:cxn ang="0">
                    <a:pos x="connsiteX8-371" y="connsiteY8-372"/>
                  </a:cxn>
                </a:cxnLst>
                <a:rect l="l" t="t" r="r" b="b"/>
                <a:pathLst>
                  <a:path w="175627" h="608216">
                    <a:moveTo>
                      <a:pt x="0" y="0"/>
                    </a:moveTo>
                    <a:cubicBezTo>
                      <a:pt x="35858" y="65555"/>
                      <a:pt x="98847" y="86334"/>
                      <a:pt x="124387" y="114399"/>
                    </a:cubicBezTo>
                    <a:cubicBezTo>
                      <a:pt x="120428" y="142221"/>
                      <a:pt x="120639" y="154707"/>
                      <a:pt x="129035" y="173757"/>
                    </a:cubicBezTo>
                    <a:cubicBezTo>
                      <a:pt x="137431" y="192807"/>
                      <a:pt x="152129" y="206522"/>
                      <a:pt x="174763" y="228699"/>
                    </a:cubicBezTo>
                    <a:cubicBezTo>
                      <a:pt x="180065" y="280673"/>
                      <a:pt x="159526" y="363437"/>
                      <a:pt x="152802" y="422828"/>
                    </a:cubicBezTo>
                    <a:cubicBezTo>
                      <a:pt x="146079" y="482219"/>
                      <a:pt x="143094" y="560260"/>
                      <a:pt x="134422" y="585047"/>
                    </a:cubicBezTo>
                    <a:cubicBezTo>
                      <a:pt x="125750" y="609834"/>
                      <a:pt x="122039" y="625312"/>
                      <a:pt x="104166" y="574961"/>
                    </a:cubicBezTo>
                    <a:cubicBezTo>
                      <a:pt x="86293" y="524610"/>
                      <a:pt x="42845" y="377628"/>
                      <a:pt x="27182" y="282938"/>
                    </a:cubicBezTo>
                    <a:cubicBezTo>
                      <a:pt x="11519" y="188248"/>
                      <a:pt x="9262" y="68464"/>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grpSp>
      </p:grpSp>
      <p:grpSp>
        <p:nvGrpSpPr>
          <p:cNvPr id="11" name="Group 109"/>
          <p:cNvGrpSpPr/>
          <p:nvPr/>
        </p:nvGrpSpPr>
        <p:grpSpPr>
          <a:xfrm>
            <a:off x="4382724" y="4235856"/>
            <a:ext cx="1281638" cy="1306534"/>
            <a:chOff x="4108423" y="4061198"/>
            <a:chExt cx="1476341" cy="1505021"/>
          </a:xfrm>
          <a:solidFill>
            <a:srgbClr val="82B864"/>
          </a:solidFill>
        </p:grpSpPr>
        <p:sp>
          <p:nvSpPr>
            <p:cNvPr id="112" name="Freeform 111"/>
            <p:cNvSpPr/>
            <p:nvPr/>
          </p:nvSpPr>
          <p:spPr>
            <a:xfrm>
              <a:off x="4108423" y="4061198"/>
              <a:ext cx="1476341" cy="1505021"/>
            </a:xfrm>
            <a:custGeom>
              <a:avLst/>
              <a:gdLst>
                <a:gd name="connsiteX0" fmla="*/ 1205855 w 2187259"/>
                <a:gd name="connsiteY0" fmla="*/ 0 h 2229751"/>
                <a:gd name="connsiteX1" fmla="*/ 1395041 w 2187259"/>
                <a:gd name="connsiteY1" fmla="*/ 70944 h 2229751"/>
                <a:gd name="connsiteX2" fmla="*/ 1473869 w 2187259"/>
                <a:gd name="connsiteY2" fmla="*/ 173421 h 2229751"/>
                <a:gd name="connsiteX3" fmla="*/ 1532990 w 2187259"/>
                <a:gd name="connsiteY3" fmla="*/ 201010 h 2229751"/>
                <a:gd name="connsiteX4" fmla="*/ 1655173 w 2187259"/>
                <a:gd name="connsiteY4" fmla="*/ 417786 h 2229751"/>
                <a:gd name="connsiteX5" fmla="*/ 1722176 w 2187259"/>
                <a:gd name="connsiteY5" fmla="*/ 827690 h 2229751"/>
                <a:gd name="connsiteX6" fmla="*/ 1670938 w 2187259"/>
                <a:gd name="connsiteY6" fmla="*/ 1119352 h 2229751"/>
                <a:gd name="connsiteX7" fmla="*/ 1639407 w 2187259"/>
                <a:gd name="connsiteY7" fmla="*/ 1308538 h 2229751"/>
                <a:gd name="connsiteX8" fmla="*/ 1749766 w 2187259"/>
                <a:gd name="connsiteY8" fmla="*/ 1450428 h 2229751"/>
                <a:gd name="connsiteX9" fmla="*/ 1879831 w 2187259"/>
                <a:gd name="connsiteY9" fmla="*/ 1501666 h 2229751"/>
                <a:gd name="connsiteX10" fmla="*/ 1787733 w 2187259"/>
                <a:gd name="connsiteY10" fmla="*/ 1589423 h 2229751"/>
                <a:gd name="connsiteX11" fmla="*/ 1726096 w 2187259"/>
                <a:gd name="connsiteY11" fmla="*/ 1610673 h 2229751"/>
                <a:gd name="connsiteX12" fmla="*/ 1788770 w 2187259"/>
                <a:gd name="connsiteY12" fmla="*/ 1626818 h 2229751"/>
                <a:gd name="connsiteX13" fmla="*/ 1886070 w 2187259"/>
                <a:gd name="connsiteY13" fmla="*/ 1652094 h 2229751"/>
                <a:gd name="connsiteX14" fmla="*/ 2007752 w 2187259"/>
                <a:gd name="connsiteY14" fmla="*/ 1691462 h 2229751"/>
                <a:gd name="connsiteX15" fmla="*/ 2111540 w 2187259"/>
                <a:gd name="connsiteY15" fmla="*/ 1730829 h 2229751"/>
                <a:gd name="connsiteX16" fmla="*/ 2143749 w 2187259"/>
                <a:gd name="connsiteY16" fmla="*/ 1870406 h 2229751"/>
                <a:gd name="connsiteX17" fmla="*/ 2168802 w 2187259"/>
                <a:gd name="connsiteY17" fmla="*/ 2052928 h 2229751"/>
                <a:gd name="connsiteX18" fmla="*/ 2186696 w 2187259"/>
                <a:gd name="connsiteY18" fmla="*/ 2217557 h 2229751"/>
                <a:gd name="connsiteX19" fmla="*/ 2183118 w 2187259"/>
                <a:gd name="connsiteY19" fmla="*/ 2217557 h 2229751"/>
                <a:gd name="connsiteX20" fmla="*/ 1116611 w 2187259"/>
                <a:gd name="connsiteY20" fmla="*/ 2221135 h 2229751"/>
                <a:gd name="connsiteX21" fmla="*/ 0 w 2187259"/>
                <a:gd name="connsiteY21" fmla="*/ 2217557 h 2229751"/>
                <a:gd name="connsiteX22" fmla="*/ 53683 w 2187259"/>
                <a:gd name="connsiteY22" fmla="*/ 1856091 h 2229751"/>
                <a:gd name="connsiteX23" fmla="*/ 96629 w 2187259"/>
                <a:gd name="connsiteY23" fmla="*/ 1727251 h 2229751"/>
                <a:gd name="connsiteX24" fmla="*/ 200417 w 2187259"/>
                <a:gd name="connsiteY24" fmla="*/ 1677146 h 2229751"/>
                <a:gd name="connsiteX25" fmla="*/ 429860 w 2187259"/>
                <a:gd name="connsiteY25" fmla="*/ 1611216 h 2229751"/>
                <a:gd name="connsiteX26" fmla="*/ 450554 w 2187259"/>
                <a:gd name="connsiteY26" fmla="*/ 1605451 h 2229751"/>
                <a:gd name="connsiteX27" fmla="*/ 449457 w 2187259"/>
                <a:gd name="connsiteY27" fmla="*/ 1605046 h 2229751"/>
                <a:gd name="connsiteX28" fmla="*/ 350576 w 2187259"/>
                <a:gd name="connsiteY28" fmla="*/ 1505607 h 2229751"/>
                <a:gd name="connsiteX29" fmla="*/ 484583 w 2187259"/>
                <a:gd name="connsiteY29" fmla="*/ 1430721 h 2229751"/>
                <a:gd name="connsiteX30" fmla="*/ 575235 w 2187259"/>
                <a:gd name="connsiteY30" fmla="*/ 1280948 h 2229751"/>
                <a:gd name="connsiteX31" fmla="*/ 512173 w 2187259"/>
                <a:gd name="connsiteY31" fmla="*/ 997169 h 2229751"/>
                <a:gd name="connsiteX32" fmla="*/ 508231 w 2187259"/>
                <a:gd name="connsiteY32" fmla="*/ 520262 h 2229751"/>
                <a:gd name="connsiteX33" fmla="*/ 638297 w 2187259"/>
                <a:gd name="connsiteY33" fmla="*/ 216776 h 2229751"/>
                <a:gd name="connsiteX34" fmla="*/ 859014 w 2187259"/>
                <a:gd name="connsiteY34" fmla="*/ 70945 h 2229751"/>
                <a:gd name="connsiteX35" fmla="*/ 1205855 w 2187259"/>
                <a:gd name="connsiteY35" fmla="*/ 0 h 2229751"/>
                <a:gd name="connsiteX0-1" fmla="*/ 1205855 w 2187259"/>
                <a:gd name="connsiteY0-2" fmla="*/ 0 h 2229751"/>
                <a:gd name="connsiteX1-3" fmla="*/ 1395041 w 2187259"/>
                <a:gd name="connsiteY1-4" fmla="*/ 70944 h 2229751"/>
                <a:gd name="connsiteX2-5" fmla="*/ 1473869 w 2187259"/>
                <a:gd name="connsiteY2-6" fmla="*/ 173421 h 2229751"/>
                <a:gd name="connsiteX3-7" fmla="*/ 1532990 w 2187259"/>
                <a:gd name="connsiteY3-8" fmla="*/ 201010 h 2229751"/>
                <a:gd name="connsiteX4-9" fmla="*/ 1655173 w 2187259"/>
                <a:gd name="connsiteY4-10" fmla="*/ 417786 h 2229751"/>
                <a:gd name="connsiteX5-11" fmla="*/ 1722176 w 2187259"/>
                <a:gd name="connsiteY5-12" fmla="*/ 827690 h 2229751"/>
                <a:gd name="connsiteX6-13" fmla="*/ 1670938 w 2187259"/>
                <a:gd name="connsiteY6-14" fmla="*/ 1119352 h 2229751"/>
                <a:gd name="connsiteX7-15" fmla="*/ 1639407 w 2187259"/>
                <a:gd name="connsiteY7-16" fmla="*/ 1308538 h 2229751"/>
                <a:gd name="connsiteX8-17" fmla="*/ 1749766 w 2187259"/>
                <a:gd name="connsiteY8-18" fmla="*/ 1450428 h 2229751"/>
                <a:gd name="connsiteX9-19" fmla="*/ 1879831 w 2187259"/>
                <a:gd name="connsiteY9-20" fmla="*/ 1501666 h 2229751"/>
                <a:gd name="connsiteX10-21" fmla="*/ 1787733 w 2187259"/>
                <a:gd name="connsiteY10-22" fmla="*/ 1589423 h 2229751"/>
                <a:gd name="connsiteX11-23" fmla="*/ 1726096 w 2187259"/>
                <a:gd name="connsiteY11-24" fmla="*/ 1610673 h 2229751"/>
                <a:gd name="connsiteX12-25" fmla="*/ 1788770 w 2187259"/>
                <a:gd name="connsiteY12-26" fmla="*/ 1626818 h 2229751"/>
                <a:gd name="connsiteX13-27" fmla="*/ 1886070 w 2187259"/>
                <a:gd name="connsiteY13-28" fmla="*/ 1652094 h 2229751"/>
                <a:gd name="connsiteX14-29" fmla="*/ 2007752 w 2187259"/>
                <a:gd name="connsiteY14-30" fmla="*/ 1691462 h 2229751"/>
                <a:gd name="connsiteX15-31" fmla="*/ 2111540 w 2187259"/>
                <a:gd name="connsiteY15-32" fmla="*/ 1730829 h 2229751"/>
                <a:gd name="connsiteX16-33" fmla="*/ 2143749 w 2187259"/>
                <a:gd name="connsiteY16-34" fmla="*/ 1870406 h 2229751"/>
                <a:gd name="connsiteX17-35" fmla="*/ 2168802 w 2187259"/>
                <a:gd name="connsiteY17-36" fmla="*/ 2052928 h 2229751"/>
                <a:gd name="connsiteX18-37" fmla="*/ 2186696 w 2187259"/>
                <a:gd name="connsiteY18-38" fmla="*/ 2217557 h 2229751"/>
                <a:gd name="connsiteX19-39" fmla="*/ 2183118 w 2187259"/>
                <a:gd name="connsiteY19-40" fmla="*/ 2217557 h 2229751"/>
                <a:gd name="connsiteX20-41" fmla="*/ 1116611 w 2187259"/>
                <a:gd name="connsiteY20-42" fmla="*/ 2221135 h 2229751"/>
                <a:gd name="connsiteX21-43" fmla="*/ 0 w 2187259"/>
                <a:gd name="connsiteY21-44" fmla="*/ 2217557 h 2229751"/>
                <a:gd name="connsiteX22-45" fmla="*/ 53683 w 2187259"/>
                <a:gd name="connsiteY22-46" fmla="*/ 1856091 h 2229751"/>
                <a:gd name="connsiteX23-47" fmla="*/ 96629 w 2187259"/>
                <a:gd name="connsiteY23-48" fmla="*/ 1727251 h 2229751"/>
                <a:gd name="connsiteX24-49" fmla="*/ 200417 w 2187259"/>
                <a:gd name="connsiteY24-50" fmla="*/ 1677146 h 2229751"/>
                <a:gd name="connsiteX25-51" fmla="*/ 429860 w 2187259"/>
                <a:gd name="connsiteY25-52" fmla="*/ 1611216 h 2229751"/>
                <a:gd name="connsiteX26-53" fmla="*/ 450554 w 2187259"/>
                <a:gd name="connsiteY26-54" fmla="*/ 1605451 h 2229751"/>
                <a:gd name="connsiteX27-55" fmla="*/ 449457 w 2187259"/>
                <a:gd name="connsiteY27-56" fmla="*/ 1605046 h 2229751"/>
                <a:gd name="connsiteX28-57" fmla="*/ 350576 w 2187259"/>
                <a:gd name="connsiteY28-58" fmla="*/ 1505607 h 2229751"/>
                <a:gd name="connsiteX29-59" fmla="*/ 484583 w 2187259"/>
                <a:gd name="connsiteY29-60" fmla="*/ 1430721 h 2229751"/>
                <a:gd name="connsiteX30-61" fmla="*/ 575235 w 2187259"/>
                <a:gd name="connsiteY30-62" fmla="*/ 1280948 h 2229751"/>
                <a:gd name="connsiteX31-63" fmla="*/ 512173 w 2187259"/>
                <a:gd name="connsiteY31-64" fmla="*/ 997169 h 2229751"/>
                <a:gd name="connsiteX32-65" fmla="*/ 508231 w 2187259"/>
                <a:gd name="connsiteY32-66" fmla="*/ 520262 h 2229751"/>
                <a:gd name="connsiteX33-67" fmla="*/ 638297 w 2187259"/>
                <a:gd name="connsiteY33-68" fmla="*/ 216776 h 2229751"/>
                <a:gd name="connsiteX34-69" fmla="*/ 859014 w 2187259"/>
                <a:gd name="connsiteY34-70" fmla="*/ 70945 h 2229751"/>
                <a:gd name="connsiteX35-71" fmla="*/ 1205855 w 2187259"/>
                <a:gd name="connsiteY35-72" fmla="*/ 0 h 2229751"/>
                <a:gd name="connsiteX0-73" fmla="*/ 1205855 w 2187259"/>
                <a:gd name="connsiteY0-74" fmla="*/ 0 h 2229751"/>
                <a:gd name="connsiteX1-75" fmla="*/ 1395041 w 2187259"/>
                <a:gd name="connsiteY1-76" fmla="*/ 70944 h 2229751"/>
                <a:gd name="connsiteX2-77" fmla="*/ 1473869 w 2187259"/>
                <a:gd name="connsiteY2-78" fmla="*/ 173421 h 2229751"/>
                <a:gd name="connsiteX3-79" fmla="*/ 1532990 w 2187259"/>
                <a:gd name="connsiteY3-80" fmla="*/ 201010 h 2229751"/>
                <a:gd name="connsiteX4-81" fmla="*/ 1655173 w 2187259"/>
                <a:gd name="connsiteY4-82" fmla="*/ 417786 h 2229751"/>
                <a:gd name="connsiteX5-83" fmla="*/ 1722176 w 2187259"/>
                <a:gd name="connsiteY5-84" fmla="*/ 827690 h 2229751"/>
                <a:gd name="connsiteX6-85" fmla="*/ 1670938 w 2187259"/>
                <a:gd name="connsiteY6-86" fmla="*/ 1119352 h 2229751"/>
                <a:gd name="connsiteX7-87" fmla="*/ 1639407 w 2187259"/>
                <a:gd name="connsiteY7-88" fmla="*/ 1308538 h 2229751"/>
                <a:gd name="connsiteX8-89" fmla="*/ 1749766 w 2187259"/>
                <a:gd name="connsiteY8-90" fmla="*/ 1450428 h 2229751"/>
                <a:gd name="connsiteX9-91" fmla="*/ 1879831 w 2187259"/>
                <a:gd name="connsiteY9-92" fmla="*/ 1501666 h 2229751"/>
                <a:gd name="connsiteX10-93" fmla="*/ 1787733 w 2187259"/>
                <a:gd name="connsiteY10-94" fmla="*/ 1589423 h 2229751"/>
                <a:gd name="connsiteX11-95" fmla="*/ 1726096 w 2187259"/>
                <a:gd name="connsiteY11-96" fmla="*/ 1610673 h 2229751"/>
                <a:gd name="connsiteX12-97" fmla="*/ 1788770 w 2187259"/>
                <a:gd name="connsiteY12-98" fmla="*/ 1626818 h 2229751"/>
                <a:gd name="connsiteX13-99" fmla="*/ 1886070 w 2187259"/>
                <a:gd name="connsiteY13-100" fmla="*/ 1652094 h 2229751"/>
                <a:gd name="connsiteX14-101" fmla="*/ 2007752 w 2187259"/>
                <a:gd name="connsiteY14-102" fmla="*/ 1691462 h 2229751"/>
                <a:gd name="connsiteX15-103" fmla="*/ 2111540 w 2187259"/>
                <a:gd name="connsiteY15-104" fmla="*/ 1730829 h 2229751"/>
                <a:gd name="connsiteX16-105" fmla="*/ 2143749 w 2187259"/>
                <a:gd name="connsiteY16-106" fmla="*/ 1870406 h 2229751"/>
                <a:gd name="connsiteX17-107" fmla="*/ 2168802 w 2187259"/>
                <a:gd name="connsiteY17-108" fmla="*/ 2052928 h 2229751"/>
                <a:gd name="connsiteX18-109" fmla="*/ 2186696 w 2187259"/>
                <a:gd name="connsiteY18-110" fmla="*/ 2217557 h 2229751"/>
                <a:gd name="connsiteX19-111" fmla="*/ 2183118 w 2187259"/>
                <a:gd name="connsiteY19-112" fmla="*/ 2217557 h 2229751"/>
                <a:gd name="connsiteX20-113" fmla="*/ 1116611 w 2187259"/>
                <a:gd name="connsiteY20-114" fmla="*/ 2221135 h 2229751"/>
                <a:gd name="connsiteX21-115" fmla="*/ 0 w 2187259"/>
                <a:gd name="connsiteY21-116" fmla="*/ 2217557 h 2229751"/>
                <a:gd name="connsiteX22-117" fmla="*/ 53683 w 2187259"/>
                <a:gd name="connsiteY22-118" fmla="*/ 1856091 h 2229751"/>
                <a:gd name="connsiteX23-119" fmla="*/ 96629 w 2187259"/>
                <a:gd name="connsiteY23-120" fmla="*/ 1727251 h 2229751"/>
                <a:gd name="connsiteX24-121" fmla="*/ 200417 w 2187259"/>
                <a:gd name="connsiteY24-122" fmla="*/ 1677146 h 2229751"/>
                <a:gd name="connsiteX25-123" fmla="*/ 429860 w 2187259"/>
                <a:gd name="connsiteY25-124" fmla="*/ 1611216 h 2229751"/>
                <a:gd name="connsiteX26-125" fmla="*/ 450554 w 2187259"/>
                <a:gd name="connsiteY26-126" fmla="*/ 1605451 h 2229751"/>
                <a:gd name="connsiteX27-127" fmla="*/ 449457 w 2187259"/>
                <a:gd name="connsiteY27-128" fmla="*/ 1605046 h 2229751"/>
                <a:gd name="connsiteX28-129" fmla="*/ 350576 w 2187259"/>
                <a:gd name="connsiteY28-130" fmla="*/ 1505607 h 2229751"/>
                <a:gd name="connsiteX29-131" fmla="*/ 484583 w 2187259"/>
                <a:gd name="connsiteY29-132" fmla="*/ 1430721 h 2229751"/>
                <a:gd name="connsiteX30-133" fmla="*/ 575235 w 2187259"/>
                <a:gd name="connsiteY30-134" fmla="*/ 1280948 h 2229751"/>
                <a:gd name="connsiteX31-135" fmla="*/ 512173 w 2187259"/>
                <a:gd name="connsiteY31-136" fmla="*/ 997169 h 2229751"/>
                <a:gd name="connsiteX32-137" fmla="*/ 508231 w 2187259"/>
                <a:gd name="connsiteY32-138" fmla="*/ 520262 h 2229751"/>
                <a:gd name="connsiteX33-139" fmla="*/ 638297 w 2187259"/>
                <a:gd name="connsiteY33-140" fmla="*/ 216776 h 2229751"/>
                <a:gd name="connsiteX34-141" fmla="*/ 859014 w 2187259"/>
                <a:gd name="connsiteY34-142" fmla="*/ 70945 h 2229751"/>
                <a:gd name="connsiteX35-143" fmla="*/ 1205855 w 2187259"/>
                <a:gd name="connsiteY35-144" fmla="*/ 0 h 2229751"/>
                <a:gd name="connsiteX0-145" fmla="*/ 1205855 w 2187259"/>
                <a:gd name="connsiteY0-146" fmla="*/ 0 h 2229751"/>
                <a:gd name="connsiteX1-147" fmla="*/ 1395041 w 2187259"/>
                <a:gd name="connsiteY1-148" fmla="*/ 70944 h 2229751"/>
                <a:gd name="connsiteX2-149" fmla="*/ 1462044 w 2187259"/>
                <a:gd name="connsiteY2-150" fmla="*/ 149772 h 2229751"/>
                <a:gd name="connsiteX3-151" fmla="*/ 1532990 w 2187259"/>
                <a:gd name="connsiteY3-152" fmla="*/ 201010 h 2229751"/>
                <a:gd name="connsiteX4-153" fmla="*/ 1655173 w 2187259"/>
                <a:gd name="connsiteY4-154" fmla="*/ 417786 h 2229751"/>
                <a:gd name="connsiteX5-155" fmla="*/ 1722176 w 2187259"/>
                <a:gd name="connsiteY5-156" fmla="*/ 827690 h 2229751"/>
                <a:gd name="connsiteX6-157" fmla="*/ 1670938 w 2187259"/>
                <a:gd name="connsiteY6-158" fmla="*/ 1119352 h 2229751"/>
                <a:gd name="connsiteX7-159" fmla="*/ 1639407 w 2187259"/>
                <a:gd name="connsiteY7-160" fmla="*/ 1308538 h 2229751"/>
                <a:gd name="connsiteX8-161" fmla="*/ 1749766 w 2187259"/>
                <a:gd name="connsiteY8-162" fmla="*/ 1450428 h 2229751"/>
                <a:gd name="connsiteX9-163" fmla="*/ 1879831 w 2187259"/>
                <a:gd name="connsiteY9-164" fmla="*/ 1501666 h 2229751"/>
                <a:gd name="connsiteX10-165" fmla="*/ 1787733 w 2187259"/>
                <a:gd name="connsiteY10-166" fmla="*/ 1589423 h 2229751"/>
                <a:gd name="connsiteX11-167" fmla="*/ 1726096 w 2187259"/>
                <a:gd name="connsiteY11-168" fmla="*/ 1610673 h 2229751"/>
                <a:gd name="connsiteX12-169" fmla="*/ 1788770 w 2187259"/>
                <a:gd name="connsiteY12-170" fmla="*/ 1626818 h 2229751"/>
                <a:gd name="connsiteX13-171" fmla="*/ 1886070 w 2187259"/>
                <a:gd name="connsiteY13-172" fmla="*/ 1652094 h 2229751"/>
                <a:gd name="connsiteX14-173" fmla="*/ 2007752 w 2187259"/>
                <a:gd name="connsiteY14-174" fmla="*/ 1691462 h 2229751"/>
                <a:gd name="connsiteX15-175" fmla="*/ 2111540 w 2187259"/>
                <a:gd name="connsiteY15-176" fmla="*/ 1730829 h 2229751"/>
                <a:gd name="connsiteX16-177" fmla="*/ 2143749 w 2187259"/>
                <a:gd name="connsiteY16-178" fmla="*/ 1870406 h 2229751"/>
                <a:gd name="connsiteX17-179" fmla="*/ 2168802 w 2187259"/>
                <a:gd name="connsiteY17-180" fmla="*/ 2052928 h 2229751"/>
                <a:gd name="connsiteX18-181" fmla="*/ 2186696 w 2187259"/>
                <a:gd name="connsiteY18-182" fmla="*/ 2217557 h 2229751"/>
                <a:gd name="connsiteX19-183" fmla="*/ 2183118 w 2187259"/>
                <a:gd name="connsiteY19-184" fmla="*/ 2217557 h 2229751"/>
                <a:gd name="connsiteX20-185" fmla="*/ 1116611 w 2187259"/>
                <a:gd name="connsiteY20-186" fmla="*/ 2221135 h 2229751"/>
                <a:gd name="connsiteX21-187" fmla="*/ 0 w 2187259"/>
                <a:gd name="connsiteY21-188" fmla="*/ 2217557 h 2229751"/>
                <a:gd name="connsiteX22-189" fmla="*/ 53683 w 2187259"/>
                <a:gd name="connsiteY22-190" fmla="*/ 1856091 h 2229751"/>
                <a:gd name="connsiteX23-191" fmla="*/ 96629 w 2187259"/>
                <a:gd name="connsiteY23-192" fmla="*/ 1727251 h 2229751"/>
                <a:gd name="connsiteX24-193" fmla="*/ 200417 w 2187259"/>
                <a:gd name="connsiteY24-194" fmla="*/ 1677146 h 2229751"/>
                <a:gd name="connsiteX25-195" fmla="*/ 429860 w 2187259"/>
                <a:gd name="connsiteY25-196" fmla="*/ 1611216 h 2229751"/>
                <a:gd name="connsiteX26-197" fmla="*/ 450554 w 2187259"/>
                <a:gd name="connsiteY26-198" fmla="*/ 1605451 h 2229751"/>
                <a:gd name="connsiteX27-199" fmla="*/ 449457 w 2187259"/>
                <a:gd name="connsiteY27-200" fmla="*/ 1605046 h 2229751"/>
                <a:gd name="connsiteX28-201" fmla="*/ 350576 w 2187259"/>
                <a:gd name="connsiteY28-202" fmla="*/ 1505607 h 2229751"/>
                <a:gd name="connsiteX29-203" fmla="*/ 484583 w 2187259"/>
                <a:gd name="connsiteY29-204" fmla="*/ 1430721 h 2229751"/>
                <a:gd name="connsiteX30-205" fmla="*/ 575235 w 2187259"/>
                <a:gd name="connsiteY30-206" fmla="*/ 1280948 h 2229751"/>
                <a:gd name="connsiteX31-207" fmla="*/ 512173 w 2187259"/>
                <a:gd name="connsiteY31-208" fmla="*/ 997169 h 2229751"/>
                <a:gd name="connsiteX32-209" fmla="*/ 508231 w 2187259"/>
                <a:gd name="connsiteY32-210" fmla="*/ 520262 h 2229751"/>
                <a:gd name="connsiteX33-211" fmla="*/ 638297 w 2187259"/>
                <a:gd name="connsiteY33-212" fmla="*/ 216776 h 2229751"/>
                <a:gd name="connsiteX34-213" fmla="*/ 859014 w 2187259"/>
                <a:gd name="connsiteY34-214" fmla="*/ 70945 h 2229751"/>
                <a:gd name="connsiteX35-215" fmla="*/ 1205855 w 2187259"/>
                <a:gd name="connsiteY35-216" fmla="*/ 0 h 2229751"/>
                <a:gd name="connsiteX0-217" fmla="*/ 1205855 w 2187259"/>
                <a:gd name="connsiteY0-218" fmla="*/ 0 h 2229751"/>
                <a:gd name="connsiteX1-219" fmla="*/ 1395041 w 2187259"/>
                <a:gd name="connsiteY1-220" fmla="*/ 70944 h 2229751"/>
                <a:gd name="connsiteX2-221" fmla="*/ 1462044 w 2187259"/>
                <a:gd name="connsiteY2-222" fmla="*/ 149772 h 2229751"/>
                <a:gd name="connsiteX3-223" fmla="*/ 1532990 w 2187259"/>
                <a:gd name="connsiteY3-224" fmla="*/ 201010 h 2229751"/>
                <a:gd name="connsiteX4-225" fmla="*/ 1655173 w 2187259"/>
                <a:gd name="connsiteY4-226" fmla="*/ 417786 h 2229751"/>
                <a:gd name="connsiteX5-227" fmla="*/ 1722176 w 2187259"/>
                <a:gd name="connsiteY5-228" fmla="*/ 827690 h 2229751"/>
                <a:gd name="connsiteX6-229" fmla="*/ 1670938 w 2187259"/>
                <a:gd name="connsiteY6-230" fmla="*/ 1119352 h 2229751"/>
                <a:gd name="connsiteX7-231" fmla="*/ 1639407 w 2187259"/>
                <a:gd name="connsiteY7-232" fmla="*/ 1308538 h 2229751"/>
                <a:gd name="connsiteX8-233" fmla="*/ 1749766 w 2187259"/>
                <a:gd name="connsiteY8-234" fmla="*/ 1450428 h 2229751"/>
                <a:gd name="connsiteX9-235" fmla="*/ 1879831 w 2187259"/>
                <a:gd name="connsiteY9-236" fmla="*/ 1501666 h 2229751"/>
                <a:gd name="connsiteX10-237" fmla="*/ 1787733 w 2187259"/>
                <a:gd name="connsiteY10-238" fmla="*/ 1589423 h 2229751"/>
                <a:gd name="connsiteX11-239" fmla="*/ 1726096 w 2187259"/>
                <a:gd name="connsiteY11-240" fmla="*/ 1610673 h 2229751"/>
                <a:gd name="connsiteX12-241" fmla="*/ 1788770 w 2187259"/>
                <a:gd name="connsiteY12-242" fmla="*/ 1626818 h 2229751"/>
                <a:gd name="connsiteX13-243" fmla="*/ 1886070 w 2187259"/>
                <a:gd name="connsiteY13-244" fmla="*/ 1652094 h 2229751"/>
                <a:gd name="connsiteX14-245" fmla="*/ 2007752 w 2187259"/>
                <a:gd name="connsiteY14-246" fmla="*/ 1691462 h 2229751"/>
                <a:gd name="connsiteX15-247" fmla="*/ 2111540 w 2187259"/>
                <a:gd name="connsiteY15-248" fmla="*/ 1730829 h 2229751"/>
                <a:gd name="connsiteX16-249" fmla="*/ 2143749 w 2187259"/>
                <a:gd name="connsiteY16-250" fmla="*/ 1870406 h 2229751"/>
                <a:gd name="connsiteX17-251" fmla="*/ 2168802 w 2187259"/>
                <a:gd name="connsiteY17-252" fmla="*/ 2052928 h 2229751"/>
                <a:gd name="connsiteX18-253" fmla="*/ 2186696 w 2187259"/>
                <a:gd name="connsiteY18-254" fmla="*/ 2217557 h 2229751"/>
                <a:gd name="connsiteX19-255" fmla="*/ 2183118 w 2187259"/>
                <a:gd name="connsiteY19-256" fmla="*/ 2217557 h 2229751"/>
                <a:gd name="connsiteX20-257" fmla="*/ 1116611 w 2187259"/>
                <a:gd name="connsiteY20-258" fmla="*/ 2221135 h 2229751"/>
                <a:gd name="connsiteX21-259" fmla="*/ 0 w 2187259"/>
                <a:gd name="connsiteY21-260" fmla="*/ 2217557 h 2229751"/>
                <a:gd name="connsiteX22-261" fmla="*/ 53683 w 2187259"/>
                <a:gd name="connsiteY22-262" fmla="*/ 1856091 h 2229751"/>
                <a:gd name="connsiteX23-263" fmla="*/ 96629 w 2187259"/>
                <a:gd name="connsiteY23-264" fmla="*/ 1727251 h 2229751"/>
                <a:gd name="connsiteX24-265" fmla="*/ 200417 w 2187259"/>
                <a:gd name="connsiteY24-266" fmla="*/ 1677146 h 2229751"/>
                <a:gd name="connsiteX25-267" fmla="*/ 429860 w 2187259"/>
                <a:gd name="connsiteY25-268" fmla="*/ 1611216 h 2229751"/>
                <a:gd name="connsiteX26-269" fmla="*/ 450554 w 2187259"/>
                <a:gd name="connsiteY26-270" fmla="*/ 1605451 h 2229751"/>
                <a:gd name="connsiteX27-271" fmla="*/ 449457 w 2187259"/>
                <a:gd name="connsiteY27-272" fmla="*/ 1605046 h 2229751"/>
                <a:gd name="connsiteX28-273" fmla="*/ 350576 w 2187259"/>
                <a:gd name="connsiteY28-274" fmla="*/ 1505607 h 2229751"/>
                <a:gd name="connsiteX29-275" fmla="*/ 484583 w 2187259"/>
                <a:gd name="connsiteY29-276" fmla="*/ 1430721 h 2229751"/>
                <a:gd name="connsiteX30-277" fmla="*/ 575235 w 2187259"/>
                <a:gd name="connsiteY30-278" fmla="*/ 1280948 h 2229751"/>
                <a:gd name="connsiteX31-279" fmla="*/ 512173 w 2187259"/>
                <a:gd name="connsiteY31-280" fmla="*/ 997169 h 2229751"/>
                <a:gd name="connsiteX32-281" fmla="*/ 508231 w 2187259"/>
                <a:gd name="connsiteY32-282" fmla="*/ 520262 h 2229751"/>
                <a:gd name="connsiteX33-283" fmla="*/ 638297 w 2187259"/>
                <a:gd name="connsiteY33-284" fmla="*/ 216776 h 2229751"/>
                <a:gd name="connsiteX34-285" fmla="*/ 859014 w 2187259"/>
                <a:gd name="connsiteY34-286" fmla="*/ 70945 h 2229751"/>
                <a:gd name="connsiteX35-287" fmla="*/ 1205855 w 2187259"/>
                <a:gd name="connsiteY35-288" fmla="*/ 0 h 222975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Lst>
              <a:rect l="l" t="t" r="r" b="b"/>
              <a:pathLst>
                <a:path w="2187259" h="2229751">
                  <a:moveTo>
                    <a:pt x="1205855" y="0"/>
                  </a:moveTo>
                  <a:cubicBezTo>
                    <a:pt x="1295193" y="0"/>
                    <a:pt x="1352343" y="45982"/>
                    <a:pt x="1395041" y="70944"/>
                  </a:cubicBezTo>
                  <a:cubicBezTo>
                    <a:pt x="1437739" y="95906"/>
                    <a:pt x="1454818" y="120212"/>
                    <a:pt x="1462044" y="149772"/>
                  </a:cubicBezTo>
                  <a:cubicBezTo>
                    <a:pt x="1496860" y="155684"/>
                    <a:pt x="1500802" y="156341"/>
                    <a:pt x="1532990" y="201010"/>
                  </a:cubicBezTo>
                  <a:cubicBezTo>
                    <a:pt x="1565178" y="245679"/>
                    <a:pt x="1623642" y="313339"/>
                    <a:pt x="1655173" y="417786"/>
                  </a:cubicBezTo>
                  <a:cubicBezTo>
                    <a:pt x="1686704" y="522233"/>
                    <a:pt x="1719549" y="710762"/>
                    <a:pt x="1722176" y="827690"/>
                  </a:cubicBezTo>
                  <a:cubicBezTo>
                    <a:pt x="1724803" y="944618"/>
                    <a:pt x="1684733" y="1039211"/>
                    <a:pt x="1670938" y="1119352"/>
                  </a:cubicBezTo>
                  <a:cubicBezTo>
                    <a:pt x="1657143" y="1199493"/>
                    <a:pt x="1626269" y="1253359"/>
                    <a:pt x="1639407" y="1308538"/>
                  </a:cubicBezTo>
                  <a:cubicBezTo>
                    <a:pt x="1652545" y="1363717"/>
                    <a:pt x="1709695" y="1418240"/>
                    <a:pt x="1749766" y="1450428"/>
                  </a:cubicBezTo>
                  <a:cubicBezTo>
                    <a:pt x="1789837" y="1482616"/>
                    <a:pt x="1833191" y="1498382"/>
                    <a:pt x="1879831" y="1501666"/>
                  </a:cubicBezTo>
                  <a:cubicBezTo>
                    <a:pt x="1876383" y="1521865"/>
                    <a:pt x="1844852" y="1561649"/>
                    <a:pt x="1787733" y="1589423"/>
                  </a:cubicBezTo>
                  <a:lnTo>
                    <a:pt x="1726096" y="1610673"/>
                  </a:lnTo>
                  <a:lnTo>
                    <a:pt x="1788770" y="1626818"/>
                  </a:lnTo>
                  <a:lnTo>
                    <a:pt x="1886070" y="1652094"/>
                  </a:lnTo>
                  <a:cubicBezTo>
                    <a:pt x="1940947" y="1667602"/>
                    <a:pt x="1970173" y="1678339"/>
                    <a:pt x="2007752" y="1691462"/>
                  </a:cubicBezTo>
                  <a:cubicBezTo>
                    <a:pt x="2045331" y="1704584"/>
                    <a:pt x="2088874" y="1701005"/>
                    <a:pt x="2111540" y="1730829"/>
                  </a:cubicBezTo>
                  <a:cubicBezTo>
                    <a:pt x="2134206" y="1760653"/>
                    <a:pt x="2134206" y="1816722"/>
                    <a:pt x="2143749" y="1870406"/>
                  </a:cubicBezTo>
                  <a:cubicBezTo>
                    <a:pt x="2153293" y="1924089"/>
                    <a:pt x="2161644" y="1995070"/>
                    <a:pt x="2168802" y="2052928"/>
                  </a:cubicBezTo>
                  <a:cubicBezTo>
                    <a:pt x="2175960" y="2110787"/>
                    <a:pt x="2184310" y="2190119"/>
                    <a:pt x="2186696" y="2217557"/>
                  </a:cubicBezTo>
                  <a:cubicBezTo>
                    <a:pt x="2189082" y="2244995"/>
                    <a:pt x="2183118" y="2217557"/>
                    <a:pt x="2183118" y="2217557"/>
                  </a:cubicBezTo>
                  <a:lnTo>
                    <a:pt x="1116611" y="2221135"/>
                  </a:lnTo>
                  <a:cubicBezTo>
                    <a:pt x="863704" y="2227696"/>
                    <a:pt x="558305" y="2219346"/>
                    <a:pt x="0" y="2217557"/>
                  </a:cubicBezTo>
                  <a:cubicBezTo>
                    <a:pt x="1790" y="2178190"/>
                    <a:pt x="37579" y="1937809"/>
                    <a:pt x="53683" y="1856091"/>
                  </a:cubicBezTo>
                  <a:cubicBezTo>
                    <a:pt x="69788" y="1774373"/>
                    <a:pt x="75753" y="1746338"/>
                    <a:pt x="96629" y="1727251"/>
                  </a:cubicBezTo>
                  <a:cubicBezTo>
                    <a:pt x="117506" y="1708163"/>
                    <a:pt x="87086" y="1712935"/>
                    <a:pt x="200417" y="1677146"/>
                  </a:cubicBezTo>
                  <a:cubicBezTo>
                    <a:pt x="242916" y="1663725"/>
                    <a:pt x="333143" y="1638226"/>
                    <a:pt x="429860" y="1611216"/>
                  </a:cubicBezTo>
                  <a:lnTo>
                    <a:pt x="450554" y="1605451"/>
                  </a:lnTo>
                  <a:lnTo>
                    <a:pt x="449457" y="1605046"/>
                  </a:lnTo>
                  <a:cubicBezTo>
                    <a:pt x="370437" y="1569655"/>
                    <a:pt x="349344" y="1527367"/>
                    <a:pt x="350576" y="1505607"/>
                  </a:cubicBezTo>
                  <a:cubicBezTo>
                    <a:pt x="388019" y="1502322"/>
                    <a:pt x="447140" y="1468164"/>
                    <a:pt x="484583" y="1430721"/>
                  </a:cubicBezTo>
                  <a:cubicBezTo>
                    <a:pt x="522026" y="1393278"/>
                    <a:pt x="570637" y="1353207"/>
                    <a:pt x="575235" y="1280948"/>
                  </a:cubicBezTo>
                  <a:cubicBezTo>
                    <a:pt x="579833" y="1208689"/>
                    <a:pt x="523340" y="1123950"/>
                    <a:pt x="512173" y="997169"/>
                  </a:cubicBezTo>
                  <a:cubicBezTo>
                    <a:pt x="501006" y="870388"/>
                    <a:pt x="487210" y="650327"/>
                    <a:pt x="508231" y="520262"/>
                  </a:cubicBezTo>
                  <a:cubicBezTo>
                    <a:pt x="529252" y="390197"/>
                    <a:pt x="579833" y="291662"/>
                    <a:pt x="638297" y="216776"/>
                  </a:cubicBezTo>
                  <a:cubicBezTo>
                    <a:pt x="696761" y="141890"/>
                    <a:pt x="764421" y="107074"/>
                    <a:pt x="859014" y="70945"/>
                  </a:cubicBezTo>
                  <a:cubicBezTo>
                    <a:pt x="953607" y="34816"/>
                    <a:pt x="1116517" y="0"/>
                    <a:pt x="12058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sp>
          <p:nvSpPr>
            <p:cNvPr id="113" name="Freeform 112"/>
            <p:cNvSpPr/>
            <p:nvPr/>
          </p:nvSpPr>
          <p:spPr>
            <a:xfrm>
              <a:off x="4572782" y="5172776"/>
              <a:ext cx="482232" cy="335501"/>
            </a:xfrm>
            <a:custGeom>
              <a:avLst/>
              <a:gdLst>
                <a:gd name="connsiteX0" fmla="*/ 63401 w 367760"/>
                <a:gd name="connsiteY0" fmla="*/ 16730 h 264802"/>
                <a:gd name="connsiteX1" fmla="*/ 150950 w 367760"/>
                <a:gd name="connsiteY1" fmla="*/ 152917 h 264802"/>
                <a:gd name="connsiteX2" fmla="*/ 184997 w 367760"/>
                <a:gd name="connsiteY2" fmla="*/ 186964 h 264802"/>
                <a:gd name="connsiteX3" fmla="*/ 243363 w 367760"/>
                <a:gd name="connsiteY3" fmla="*/ 84824 h 264802"/>
                <a:gd name="connsiteX4" fmla="*/ 272546 w 367760"/>
                <a:gd name="connsiteY4" fmla="*/ 7003 h 264802"/>
                <a:gd name="connsiteX5" fmla="*/ 296865 w 367760"/>
                <a:gd name="connsiteY5" fmla="*/ 7003 h 264802"/>
                <a:gd name="connsiteX6" fmla="*/ 345503 w 367760"/>
                <a:gd name="connsiteY6" fmla="*/ 36186 h 264802"/>
                <a:gd name="connsiteX7" fmla="*/ 364959 w 367760"/>
                <a:gd name="connsiteY7" fmla="*/ 94552 h 264802"/>
                <a:gd name="connsiteX8" fmla="*/ 287137 w 367760"/>
                <a:gd name="connsiteY8" fmla="*/ 118871 h 264802"/>
                <a:gd name="connsiteX9" fmla="*/ 184997 w 367760"/>
                <a:gd name="connsiteY9" fmla="*/ 264786 h 264802"/>
                <a:gd name="connsiteX10" fmla="*/ 82856 w 367760"/>
                <a:gd name="connsiteY10" fmla="*/ 109143 h 264802"/>
                <a:gd name="connsiteX11" fmla="*/ 14763 w 367760"/>
                <a:gd name="connsiteY11" fmla="*/ 89688 h 264802"/>
                <a:gd name="connsiteX12" fmla="*/ 171 w 367760"/>
                <a:gd name="connsiteY12" fmla="*/ 94552 h 264802"/>
                <a:gd name="connsiteX13" fmla="*/ 63401 w 367760"/>
                <a:gd name="connsiteY13" fmla="*/ 16730 h 264802"/>
                <a:gd name="connsiteX0-1" fmla="*/ 63401 w 367760"/>
                <a:gd name="connsiteY0-2" fmla="*/ 16730 h 264802"/>
                <a:gd name="connsiteX1-3" fmla="*/ 150950 w 367760"/>
                <a:gd name="connsiteY1-4" fmla="*/ 152917 h 264802"/>
                <a:gd name="connsiteX2-5" fmla="*/ 184997 w 367760"/>
                <a:gd name="connsiteY2-6" fmla="*/ 186964 h 264802"/>
                <a:gd name="connsiteX3-7" fmla="*/ 243363 w 367760"/>
                <a:gd name="connsiteY3-8" fmla="*/ 84824 h 264802"/>
                <a:gd name="connsiteX4-9" fmla="*/ 272546 w 367760"/>
                <a:gd name="connsiteY4-10" fmla="*/ 7003 h 264802"/>
                <a:gd name="connsiteX5-11" fmla="*/ 296865 w 367760"/>
                <a:gd name="connsiteY5-12" fmla="*/ 7003 h 264802"/>
                <a:gd name="connsiteX6-13" fmla="*/ 345503 w 367760"/>
                <a:gd name="connsiteY6-14" fmla="*/ 36186 h 264802"/>
                <a:gd name="connsiteX7-15" fmla="*/ 364959 w 367760"/>
                <a:gd name="connsiteY7-16" fmla="*/ 94552 h 264802"/>
                <a:gd name="connsiteX8-17" fmla="*/ 287137 w 367760"/>
                <a:gd name="connsiteY8-18" fmla="*/ 118871 h 264802"/>
                <a:gd name="connsiteX9-19" fmla="*/ 184997 w 367760"/>
                <a:gd name="connsiteY9-20" fmla="*/ 264786 h 264802"/>
                <a:gd name="connsiteX10-21" fmla="*/ 82856 w 367760"/>
                <a:gd name="connsiteY10-22" fmla="*/ 109143 h 264802"/>
                <a:gd name="connsiteX11-23" fmla="*/ 14763 w 367760"/>
                <a:gd name="connsiteY11-24" fmla="*/ 89688 h 264802"/>
                <a:gd name="connsiteX12-25" fmla="*/ 171 w 367760"/>
                <a:gd name="connsiteY12-26" fmla="*/ 94552 h 264802"/>
                <a:gd name="connsiteX13-27" fmla="*/ 63401 w 367760"/>
                <a:gd name="connsiteY13-28" fmla="*/ 16730 h 264802"/>
                <a:gd name="connsiteX0-29" fmla="*/ 63401 w 364959"/>
                <a:gd name="connsiteY0-30" fmla="*/ 16730 h 264802"/>
                <a:gd name="connsiteX1-31" fmla="*/ 150950 w 364959"/>
                <a:gd name="connsiteY1-32" fmla="*/ 152917 h 264802"/>
                <a:gd name="connsiteX2-33" fmla="*/ 184997 w 364959"/>
                <a:gd name="connsiteY2-34" fmla="*/ 186964 h 264802"/>
                <a:gd name="connsiteX3-35" fmla="*/ 243363 w 364959"/>
                <a:gd name="connsiteY3-36" fmla="*/ 84824 h 264802"/>
                <a:gd name="connsiteX4-37" fmla="*/ 272546 w 364959"/>
                <a:gd name="connsiteY4-38" fmla="*/ 7003 h 264802"/>
                <a:gd name="connsiteX5-39" fmla="*/ 296865 w 364959"/>
                <a:gd name="connsiteY5-40" fmla="*/ 7003 h 264802"/>
                <a:gd name="connsiteX6-41" fmla="*/ 345503 w 364959"/>
                <a:gd name="connsiteY6-42" fmla="*/ 36186 h 264802"/>
                <a:gd name="connsiteX7-43" fmla="*/ 364959 w 364959"/>
                <a:gd name="connsiteY7-44" fmla="*/ 94552 h 264802"/>
                <a:gd name="connsiteX8-45" fmla="*/ 287137 w 364959"/>
                <a:gd name="connsiteY8-46" fmla="*/ 118871 h 264802"/>
                <a:gd name="connsiteX9-47" fmla="*/ 184997 w 364959"/>
                <a:gd name="connsiteY9-48" fmla="*/ 264786 h 264802"/>
                <a:gd name="connsiteX10-49" fmla="*/ 82856 w 364959"/>
                <a:gd name="connsiteY10-50" fmla="*/ 109143 h 264802"/>
                <a:gd name="connsiteX11-51" fmla="*/ 14763 w 364959"/>
                <a:gd name="connsiteY11-52" fmla="*/ 89688 h 264802"/>
                <a:gd name="connsiteX12-53" fmla="*/ 171 w 364959"/>
                <a:gd name="connsiteY12-54" fmla="*/ 94552 h 264802"/>
                <a:gd name="connsiteX13-55" fmla="*/ 63401 w 364959"/>
                <a:gd name="connsiteY13-56" fmla="*/ 16730 h 264802"/>
                <a:gd name="connsiteX0-57" fmla="*/ 63401 w 364959"/>
                <a:gd name="connsiteY0-58" fmla="*/ 16730 h 264802"/>
                <a:gd name="connsiteX1-59" fmla="*/ 150950 w 364959"/>
                <a:gd name="connsiteY1-60" fmla="*/ 152917 h 264802"/>
                <a:gd name="connsiteX2-61" fmla="*/ 184997 w 364959"/>
                <a:gd name="connsiteY2-62" fmla="*/ 186964 h 264802"/>
                <a:gd name="connsiteX3-63" fmla="*/ 243363 w 364959"/>
                <a:gd name="connsiteY3-64" fmla="*/ 84824 h 264802"/>
                <a:gd name="connsiteX4-65" fmla="*/ 272546 w 364959"/>
                <a:gd name="connsiteY4-66" fmla="*/ 7003 h 264802"/>
                <a:gd name="connsiteX5-67" fmla="*/ 296865 w 364959"/>
                <a:gd name="connsiteY5-68" fmla="*/ 7003 h 264802"/>
                <a:gd name="connsiteX6-69" fmla="*/ 345503 w 364959"/>
                <a:gd name="connsiteY6-70" fmla="*/ 36186 h 264802"/>
                <a:gd name="connsiteX7-71" fmla="*/ 364959 w 364959"/>
                <a:gd name="connsiteY7-72" fmla="*/ 94552 h 264802"/>
                <a:gd name="connsiteX8-73" fmla="*/ 287137 w 364959"/>
                <a:gd name="connsiteY8-74" fmla="*/ 118871 h 264802"/>
                <a:gd name="connsiteX9-75" fmla="*/ 184997 w 364959"/>
                <a:gd name="connsiteY9-76" fmla="*/ 264786 h 264802"/>
                <a:gd name="connsiteX10-77" fmla="*/ 82856 w 364959"/>
                <a:gd name="connsiteY10-78" fmla="*/ 109143 h 264802"/>
                <a:gd name="connsiteX11-79" fmla="*/ 14763 w 364959"/>
                <a:gd name="connsiteY11-80" fmla="*/ 89688 h 264802"/>
                <a:gd name="connsiteX12-81" fmla="*/ 171 w 364959"/>
                <a:gd name="connsiteY12-82" fmla="*/ 94552 h 264802"/>
                <a:gd name="connsiteX13-83" fmla="*/ 63401 w 364959"/>
                <a:gd name="connsiteY13-84" fmla="*/ 16730 h 264802"/>
                <a:gd name="connsiteX0-85" fmla="*/ 63401 w 364959"/>
                <a:gd name="connsiteY0-86" fmla="*/ 16730 h 274528"/>
                <a:gd name="connsiteX1-87" fmla="*/ 150950 w 364959"/>
                <a:gd name="connsiteY1-88" fmla="*/ 152917 h 274528"/>
                <a:gd name="connsiteX2-89" fmla="*/ 184997 w 364959"/>
                <a:gd name="connsiteY2-90" fmla="*/ 186964 h 274528"/>
                <a:gd name="connsiteX3-91" fmla="*/ 243363 w 364959"/>
                <a:gd name="connsiteY3-92" fmla="*/ 84824 h 274528"/>
                <a:gd name="connsiteX4-93" fmla="*/ 272546 w 364959"/>
                <a:gd name="connsiteY4-94" fmla="*/ 7003 h 274528"/>
                <a:gd name="connsiteX5-95" fmla="*/ 296865 w 364959"/>
                <a:gd name="connsiteY5-96" fmla="*/ 7003 h 274528"/>
                <a:gd name="connsiteX6-97" fmla="*/ 345503 w 364959"/>
                <a:gd name="connsiteY6-98" fmla="*/ 36186 h 274528"/>
                <a:gd name="connsiteX7-99" fmla="*/ 364959 w 364959"/>
                <a:gd name="connsiteY7-100" fmla="*/ 94552 h 274528"/>
                <a:gd name="connsiteX8-101" fmla="*/ 287137 w 364959"/>
                <a:gd name="connsiteY8-102" fmla="*/ 118871 h 274528"/>
                <a:gd name="connsiteX9-103" fmla="*/ 184997 w 364959"/>
                <a:gd name="connsiteY9-104" fmla="*/ 274513 h 274528"/>
                <a:gd name="connsiteX10-105" fmla="*/ 82856 w 364959"/>
                <a:gd name="connsiteY10-106" fmla="*/ 109143 h 274528"/>
                <a:gd name="connsiteX11-107" fmla="*/ 14763 w 364959"/>
                <a:gd name="connsiteY11-108" fmla="*/ 89688 h 274528"/>
                <a:gd name="connsiteX12-109" fmla="*/ 171 w 364959"/>
                <a:gd name="connsiteY12-110" fmla="*/ 94552 h 274528"/>
                <a:gd name="connsiteX13-111" fmla="*/ 63401 w 364959"/>
                <a:gd name="connsiteY13-112" fmla="*/ 16730 h 274528"/>
                <a:gd name="connsiteX0-113" fmla="*/ 63401 w 364959"/>
                <a:gd name="connsiteY0-114" fmla="*/ 16730 h 274528"/>
                <a:gd name="connsiteX1-115" fmla="*/ 150950 w 364959"/>
                <a:gd name="connsiteY1-116" fmla="*/ 152917 h 274528"/>
                <a:gd name="connsiteX2-117" fmla="*/ 184997 w 364959"/>
                <a:gd name="connsiteY2-118" fmla="*/ 186964 h 274528"/>
                <a:gd name="connsiteX3-119" fmla="*/ 243363 w 364959"/>
                <a:gd name="connsiteY3-120" fmla="*/ 84824 h 274528"/>
                <a:gd name="connsiteX4-121" fmla="*/ 272546 w 364959"/>
                <a:gd name="connsiteY4-122" fmla="*/ 7003 h 274528"/>
                <a:gd name="connsiteX5-123" fmla="*/ 296865 w 364959"/>
                <a:gd name="connsiteY5-124" fmla="*/ 7003 h 274528"/>
                <a:gd name="connsiteX6-125" fmla="*/ 345503 w 364959"/>
                <a:gd name="connsiteY6-126" fmla="*/ 36186 h 274528"/>
                <a:gd name="connsiteX7-127" fmla="*/ 364959 w 364959"/>
                <a:gd name="connsiteY7-128" fmla="*/ 94552 h 274528"/>
                <a:gd name="connsiteX8-129" fmla="*/ 287137 w 364959"/>
                <a:gd name="connsiteY8-130" fmla="*/ 118871 h 274528"/>
                <a:gd name="connsiteX9-131" fmla="*/ 184997 w 364959"/>
                <a:gd name="connsiteY9-132" fmla="*/ 274513 h 274528"/>
                <a:gd name="connsiteX10-133" fmla="*/ 82856 w 364959"/>
                <a:gd name="connsiteY10-134" fmla="*/ 109143 h 274528"/>
                <a:gd name="connsiteX11-135" fmla="*/ 14763 w 364959"/>
                <a:gd name="connsiteY11-136" fmla="*/ 89688 h 274528"/>
                <a:gd name="connsiteX12-137" fmla="*/ 171 w 364959"/>
                <a:gd name="connsiteY12-138" fmla="*/ 94552 h 274528"/>
                <a:gd name="connsiteX13-139" fmla="*/ 63401 w 364959"/>
                <a:gd name="connsiteY13-140" fmla="*/ 16730 h 274528"/>
                <a:gd name="connsiteX0-141" fmla="*/ 63401 w 364959"/>
                <a:gd name="connsiteY0-142" fmla="*/ 16730 h 274513"/>
                <a:gd name="connsiteX1-143" fmla="*/ 150950 w 364959"/>
                <a:gd name="connsiteY1-144" fmla="*/ 152917 h 274513"/>
                <a:gd name="connsiteX2-145" fmla="*/ 184997 w 364959"/>
                <a:gd name="connsiteY2-146" fmla="*/ 186964 h 274513"/>
                <a:gd name="connsiteX3-147" fmla="*/ 243363 w 364959"/>
                <a:gd name="connsiteY3-148" fmla="*/ 84824 h 274513"/>
                <a:gd name="connsiteX4-149" fmla="*/ 272546 w 364959"/>
                <a:gd name="connsiteY4-150" fmla="*/ 7003 h 274513"/>
                <a:gd name="connsiteX5-151" fmla="*/ 296865 w 364959"/>
                <a:gd name="connsiteY5-152" fmla="*/ 7003 h 274513"/>
                <a:gd name="connsiteX6-153" fmla="*/ 345503 w 364959"/>
                <a:gd name="connsiteY6-154" fmla="*/ 36186 h 274513"/>
                <a:gd name="connsiteX7-155" fmla="*/ 364959 w 364959"/>
                <a:gd name="connsiteY7-156" fmla="*/ 94552 h 274513"/>
                <a:gd name="connsiteX8-157" fmla="*/ 287137 w 364959"/>
                <a:gd name="connsiteY8-158" fmla="*/ 118871 h 274513"/>
                <a:gd name="connsiteX9-159" fmla="*/ 184997 w 364959"/>
                <a:gd name="connsiteY9-160" fmla="*/ 274513 h 274513"/>
                <a:gd name="connsiteX10-161" fmla="*/ 82856 w 364959"/>
                <a:gd name="connsiteY10-162" fmla="*/ 109143 h 274513"/>
                <a:gd name="connsiteX11-163" fmla="*/ 14763 w 364959"/>
                <a:gd name="connsiteY11-164" fmla="*/ 89688 h 274513"/>
                <a:gd name="connsiteX12-165" fmla="*/ 171 w 364959"/>
                <a:gd name="connsiteY12-166" fmla="*/ 94552 h 274513"/>
                <a:gd name="connsiteX13-167" fmla="*/ 63401 w 364959"/>
                <a:gd name="connsiteY13-168" fmla="*/ 16730 h 274513"/>
                <a:gd name="connsiteX0-169" fmla="*/ 63401 w 364959"/>
                <a:gd name="connsiteY0-170" fmla="*/ 16730 h 274513"/>
                <a:gd name="connsiteX1-171" fmla="*/ 150950 w 364959"/>
                <a:gd name="connsiteY1-172" fmla="*/ 152917 h 274513"/>
                <a:gd name="connsiteX2-173" fmla="*/ 184997 w 364959"/>
                <a:gd name="connsiteY2-174" fmla="*/ 186964 h 274513"/>
                <a:gd name="connsiteX3-175" fmla="*/ 243363 w 364959"/>
                <a:gd name="connsiteY3-176" fmla="*/ 84824 h 274513"/>
                <a:gd name="connsiteX4-177" fmla="*/ 272546 w 364959"/>
                <a:gd name="connsiteY4-178" fmla="*/ 7003 h 274513"/>
                <a:gd name="connsiteX5-179" fmla="*/ 296865 w 364959"/>
                <a:gd name="connsiteY5-180" fmla="*/ 7003 h 274513"/>
                <a:gd name="connsiteX6-181" fmla="*/ 345503 w 364959"/>
                <a:gd name="connsiteY6-182" fmla="*/ 36186 h 274513"/>
                <a:gd name="connsiteX7-183" fmla="*/ 364959 w 364959"/>
                <a:gd name="connsiteY7-184" fmla="*/ 94552 h 274513"/>
                <a:gd name="connsiteX8-185" fmla="*/ 287137 w 364959"/>
                <a:gd name="connsiteY8-186" fmla="*/ 118871 h 274513"/>
                <a:gd name="connsiteX9-187" fmla="*/ 184997 w 364959"/>
                <a:gd name="connsiteY9-188" fmla="*/ 274513 h 274513"/>
                <a:gd name="connsiteX10-189" fmla="*/ 82856 w 364959"/>
                <a:gd name="connsiteY10-190" fmla="*/ 109143 h 274513"/>
                <a:gd name="connsiteX11-191" fmla="*/ 14763 w 364959"/>
                <a:gd name="connsiteY11-192" fmla="*/ 89688 h 274513"/>
                <a:gd name="connsiteX12-193" fmla="*/ 171 w 364959"/>
                <a:gd name="connsiteY12-194" fmla="*/ 94552 h 274513"/>
                <a:gd name="connsiteX13-195" fmla="*/ 63401 w 364959"/>
                <a:gd name="connsiteY13-196" fmla="*/ 16730 h 274513"/>
                <a:gd name="connsiteX0-197" fmla="*/ 63401 w 364959"/>
                <a:gd name="connsiteY0-198" fmla="*/ 16730 h 274513"/>
                <a:gd name="connsiteX1-199" fmla="*/ 150950 w 364959"/>
                <a:gd name="connsiteY1-200" fmla="*/ 152917 h 274513"/>
                <a:gd name="connsiteX2-201" fmla="*/ 184997 w 364959"/>
                <a:gd name="connsiteY2-202" fmla="*/ 186964 h 274513"/>
                <a:gd name="connsiteX3-203" fmla="*/ 243363 w 364959"/>
                <a:gd name="connsiteY3-204" fmla="*/ 84824 h 274513"/>
                <a:gd name="connsiteX4-205" fmla="*/ 272546 w 364959"/>
                <a:gd name="connsiteY4-206" fmla="*/ 7003 h 274513"/>
                <a:gd name="connsiteX5-207" fmla="*/ 296865 w 364959"/>
                <a:gd name="connsiteY5-208" fmla="*/ 7003 h 274513"/>
                <a:gd name="connsiteX6-209" fmla="*/ 345503 w 364959"/>
                <a:gd name="connsiteY6-210" fmla="*/ 36186 h 274513"/>
                <a:gd name="connsiteX7-211" fmla="*/ 364959 w 364959"/>
                <a:gd name="connsiteY7-212" fmla="*/ 94552 h 274513"/>
                <a:gd name="connsiteX8-213" fmla="*/ 287137 w 364959"/>
                <a:gd name="connsiteY8-214" fmla="*/ 118871 h 274513"/>
                <a:gd name="connsiteX9-215" fmla="*/ 184997 w 364959"/>
                <a:gd name="connsiteY9-216" fmla="*/ 274513 h 274513"/>
                <a:gd name="connsiteX10-217" fmla="*/ 80911 w 364959"/>
                <a:gd name="connsiteY10-218" fmla="*/ 120816 h 274513"/>
                <a:gd name="connsiteX11-219" fmla="*/ 14763 w 364959"/>
                <a:gd name="connsiteY11-220" fmla="*/ 89688 h 274513"/>
                <a:gd name="connsiteX12-221" fmla="*/ 171 w 364959"/>
                <a:gd name="connsiteY12-222" fmla="*/ 94552 h 274513"/>
                <a:gd name="connsiteX13-223" fmla="*/ 63401 w 364959"/>
                <a:gd name="connsiteY13-224" fmla="*/ 16730 h 274513"/>
                <a:gd name="connsiteX0-225" fmla="*/ 63401 w 364959"/>
                <a:gd name="connsiteY0-226" fmla="*/ 16730 h 274513"/>
                <a:gd name="connsiteX1-227" fmla="*/ 150950 w 364959"/>
                <a:gd name="connsiteY1-228" fmla="*/ 152917 h 274513"/>
                <a:gd name="connsiteX2-229" fmla="*/ 184997 w 364959"/>
                <a:gd name="connsiteY2-230" fmla="*/ 186964 h 274513"/>
                <a:gd name="connsiteX3-231" fmla="*/ 243363 w 364959"/>
                <a:gd name="connsiteY3-232" fmla="*/ 84824 h 274513"/>
                <a:gd name="connsiteX4-233" fmla="*/ 272546 w 364959"/>
                <a:gd name="connsiteY4-234" fmla="*/ 7003 h 274513"/>
                <a:gd name="connsiteX5-235" fmla="*/ 296865 w 364959"/>
                <a:gd name="connsiteY5-236" fmla="*/ 7003 h 274513"/>
                <a:gd name="connsiteX6-237" fmla="*/ 345503 w 364959"/>
                <a:gd name="connsiteY6-238" fmla="*/ 36186 h 274513"/>
                <a:gd name="connsiteX7-239" fmla="*/ 364959 w 364959"/>
                <a:gd name="connsiteY7-240" fmla="*/ 94552 h 274513"/>
                <a:gd name="connsiteX8-241" fmla="*/ 287137 w 364959"/>
                <a:gd name="connsiteY8-242" fmla="*/ 118871 h 274513"/>
                <a:gd name="connsiteX9-243" fmla="*/ 184997 w 364959"/>
                <a:gd name="connsiteY9-244" fmla="*/ 274513 h 274513"/>
                <a:gd name="connsiteX10-245" fmla="*/ 75075 w 364959"/>
                <a:gd name="connsiteY10-246" fmla="*/ 91635 h 274513"/>
                <a:gd name="connsiteX11-247" fmla="*/ 14763 w 364959"/>
                <a:gd name="connsiteY11-248" fmla="*/ 89688 h 274513"/>
                <a:gd name="connsiteX12-249" fmla="*/ 171 w 364959"/>
                <a:gd name="connsiteY12-250" fmla="*/ 94552 h 274513"/>
                <a:gd name="connsiteX13-251" fmla="*/ 63401 w 364959"/>
                <a:gd name="connsiteY13-252" fmla="*/ 16730 h 274513"/>
                <a:gd name="connsiteX0-253" fmla="*/ 63401 w 364959"/>
                <a:gd name="connsiteY0-254" fmla="*/ 16730 h 274513"/>
                <a:gd name="connsiteX1-255" fmla="*/ 150950 w 364959"/>
                <a:gd name="connsiteY1-256" fmla="*/ 152917 h 274513"/>
                <a:gd name="connsiteX2-257" fmla="*/ 184997 w 364959"/>
                <a:gd name="connsiteY2-258" fmla="*/ 186964 h 274513"/>
                <a:gd name="connsiteX3-259" fmla="*/ 243363 w 364959"/>
                <a:gd name="connsiteY3-260" fmla="*/ 84824 h 274513"/>
                <a:gd name="connsiteX4-261" fmla="*/ 272546 w 364959"/>
                <a:gd name="connsiteY4-262" fmla="*/ 7003 h 274513"/>
                <a:gd name="connsiteX5-263" fmla="*/ 296865 w 364959"/>
                <a:gd name="connsiteY5-264" fmla="*/ 7003 h 274513"/>
                <a:gd name="connsiteX6-265" fmla="*/ 345503 w 364959"/>
                <a:gd name="connsiteY6-266" fmla="*/ 36186 h 274513"/>
                <a:gd name="connsiteX7-267" fmla="*/ 364959 w 364959"/>
                <a:gd name="connsiteY7-268" fmla="*/ 94552 h 274513"/>
                <a:gd name="connsiteX8-269" fmla="*/ 287137 w 364959"/>
                <a:gd name="connsiteY8-270" fmla="*/ 118871 h 274513"/>
                <a:gd name="connsiteX9-271" fmla="*/ 184997 w 364959"/>
                <a:gd name="connsiteY9-272" fmla="*/ 274513 h 274513"/>
                <a:gd name="connsiteX10-273" fmla="*/ 84802 w 364959"/>
                <a:gd name="connsiteY10-274" fmla="*/ 105253 h 274513"/>
                <a:gd name="connsiteX11-275" fmla="*/ 14763 w 364959"/>
                <a:gd name="connsiteY11-276" fmla="*/ 89688 h 274513"/>
                <a:gd name="connsiteX12-277" fmla="*/ 171 w 364959"/>
                <a:gd name="connsiteY12-278" fmla="*/ 94552 h 274513"/>
                <a:gd name="connsiteX13-279" fmla="*/ 63401 w 364959"/>
                <a:gd name="connsiteY13-280" fmla="*/ 16730 h 274513"/>
                <a:gd name="connsiteX0-281" fmla="*/ 63401 w 364959"/>
                <a:gd name="connsiteY0-282" fmla="*/ 16730 h 274513"/>
                <a:gd name="connsiteX1-283" fmla="*/ 150950 w 364959"/>
                <a:gd name="connsiteY1-284" fmla="*/ 152917 h 274513"/>
                <a:gd name="connsiteX2-285" fmla="*/ 184997 w 364959"/>
                <a:gd name="connsiteY2-286" fmla="*/ 186964 h 274513"/>
                <a:gd name="connsiteX3-287" fmla="*/ 243363 w 364959"/>
                <a:gd name="connsiteY3-288" fmla="*/ 84824 h 274513"/>
                <a:gd name="connsiteX4-289" fmla="*/ 272546 w 364959"/>
                <a:gd name="connsiteY4-290" fmla="*/ 7003 h 274513"/>
                <a:gd name="connsiteX5-291" fmla="*/ 296865 w 364959"/>
                <a:gd name="connsiteY5-292" fmla="*/ 7003 h 274513"/>
                <a:gd name="connsiteX6-293" fmla="*/ 345503 w 364959"/>
                <a:gd name="connsiteY6-294" fmla="*/ 36186 h 274513"/>
                <a:gd name="connsiteX7-295" fmla="*/ 364959 w 364959"/>
                <a:gd name="connsiteY7-296" fmla="*/ 94552 h 274513"/>
                <a:gd name="connsiteX8-297" fmla="*/ 287137 w 364959"/>
                <a:gd name="connsiteY8-298" fmla="*/ 118871 h 274513"/>
                <a:gd name="connsiteX9-299" fmla="*/ 184997 w 364959"/>
                <a:gd name="connsiteY9-300" fmla="*/ 274513 h 274513"/>
                <a:gd name="connsiteX10-301" fmla="*/ 84802 w 364959"/>
                <a:gd name="connsiteY10-302" fmla="*/ 105253 h 274513"/>
                <a:gd name="connsiteX11-303" fmla="*/ 14763 w 364959"/>
                <a:gd name="connsiteY11-304" fmla="*/ 89688 h 274513"/>
                <a:gd name="connsiteX12-305" fmla="*/ 171 w 364959"/>
                <a:gd name="connsiteY12-306" fmla="*/ 94552 h 274513"/>
                <a:gd name="connsiteX13-307" fmla="*/ 63401 w 364959"/>
                <a:gd name="connsiteY13-308" fmla="*/ 16730 h 274513"/>
                <a:gd name="connsiteX0-309" fmla="*/ 63401 w 364959"/>
                <a:gd name="connsiteY0-310" fmla="*/ 16730 h 274513"/>
                <a:gd name="connsiteX1-311" fmla="*/ 150950 w 364959"/>
                <a:gd name="connsiteY1-312" fmla="*/ 152917 h 274513"/>
                <a:gd name="connsiteX2-313" fmla="*/ 184997 w 364959"/>
                <a:gd name="connsiteY2-314" fmla="*/ 186964 h 274513"/>
                <a:gd name="connsiteX3-315" fmla="*/ 243363 w 364959"/>
                <a:gd name="connsiteY3-316" fmla="*/ 84824 h 274513"/>
                <a:gd name="connsiteX4-317" fmla="*/ 272546 w 364959"/>
                <a:gd name="connsiteY4-318" fmla="*/ 7003 h 274513"/>
                <a:gd name="connsiteX5-319" fmla="*/ 296865 w 364959"/>
                <a:gd name="connsiteY5-320" fmla="*/ 7003 h 274513"/>
                <a:gd name="connsiteX6-321" fmla="*/ 345503 w 364959"/>
                <a:gd name="connsiteY6-322" fmla="*/ 36186 h 274513"/>
                <a:gd name="connsiteX7-323" fmla="*/ 364959 w 364959"/>
                <a:gd name="connsiteY7-324" fmla="*/ 94552 h 274513"/>
                <a:gd name="connsiteX8-325" fmla="*/ 287137 w 364959"/>
                <a:gd name="connsiteY8-326" fmla="*/ 118871 h 274513"/>
                <a:gd name="connsiteX9-327" fmla="*/ 184997 w 364959"/>
                <a:gd name="connsiteY9-328" fmla="*/ 274513 h 274513"/>
                <a:gd name="connsiteX10-329" fmla="*/ 84802 w 364959"/>
                <a:gd name="connsiteY10-330" fmla="*/ 105253 h 274513"/>
                <a:gd name="connsiteX11-331" fmla="*/ 14763 w 364959"/>
                <a:gd name="connsiteY11-332" fmla="*/ 89688 h 274513"/>
                <a:gd name="connsiteX12-333" fmla="*/ 171 w 364959"/>
                <a:gd name="connsiteY12-334" fmla="*/ 94552 h 274513"/>
                <a:gd name="connsiteX13-335" fmla="*/ 63401 w 364959"/>
                <a:gd name="connsiteY13-336" fmla="*/ 16730 h 274513"/>
                <a:gd name="connsiteX0-337" fmla="*/ 63401 w 364959"/>
                <a:gd name="connsiteY0-338" fmla="*/ 16730 h 274513"/>
                <a:gd name="connsiteX1-339" fmla="*/ 150950 w 364959"/>
                <a:gd name="connsiteY1-340" fmla="*/ 152917 h 274513"/>
                <a:gd name="connsiteX2-341" fmla="*/ 184997 w 364959"/>
                <a:gd name="connsiteY2-342" fmla="*/ 186964 h 274513"/>
                <a:gd name="connsiteX3-343" fmla="*/ 243363 w 364959"/>
                <a:gd name="connsiteY3-344" fmla="*/ 84824 h 274513"/>
                <a:gd name="connsiteX4-345" fmla="*/ 272546 w 364959"/>
                <a:gd name="connsiteY4-346" fmla="*/ 7003 h 274513"/>
                <a:gd name="connsiteX5-347" fmla="*/ 296865 w 364959"/>
                <a:gd name="connsiteY5-348" fmla="*/ 7003 h 274513"/>
                <a:gd name="connsiteX6-349" fmla="*/ 345503 w 364959"/>
                <a:gd name="connsiteY6-350" fmla="*/ 36186 h 274513"/>
                <a:gd name="connsiteX7-351" fmla="*/ 364959 w 364959"/>
                <a:gd name="connsiteY7-352" fmla="*/ 94552 h 274513"/>
                <a:gd name="connsiteX8-353" fmla="*/ 287137 w 364959"/>
                <a:gd name="connsiteY8-354" fmla="*/ 118871 h 274513"/>
                <a:gd name="connsiteX9-355" fmla="*/ 184997 w 364959"/>
                <a:gd name="connsiteY9-356" fmla="*/ 274513 h 274513"/>
                <a:gd name="connsiteX10-357" fmla="*/ 84802 w 364959"/>
                <a:gd name="connsiteY10-358" fmla="*/ 105253 h 274513"/>
                <a:gd name="connsiteX11-359" fmla="*/ 14763 w 364959"/>
                <a:gd name="connsiteY11-360" fmla="*/ 89688 h 274513"/>
                <a:gd name="connsiteX12-361" fmla="*/ 171 w 364959"/>
                <a:gd name="connsiteY12-362" fmla="*/ 94552 h 274513"/>
                <a:gd name="connsiteX13-363" fmla="*/ 63401 w 364959"/>
                <a:gd name="connsiteY13-364" fmla="*/ 16730 h 274513"/>
                <a:gd name="connsiteX0-365" fmla="*/ 63401 w 364959"/>
                <a:gd name="connsiteY0-366" fmla="*/ 16730 h 274513"/>
                <a:gd name="connsiteX1-367" fmla="*/ 150950 w 364959"/>
                <a:gd name="connsiteY1-368" fmla="*/ 152917 h 274513"/>
                <a:gd name="connsiteX2-369" fmla="*/ 184997 w 364959"/>
                <a:gd name="connsiteY2-370" fmla="*/ 186964 h 274513"/>
                <a:gd name="connsiteX3-371" fmla="*/ 243363 w 364959"/>
                <a:gd name="connsiteY3-372" fmla="*/ 84824 h 274513"/>
                <a:gd name="connsiteX4-373" fmla="*/ 272546 w 364959"/>
                <a:gd name="connsiteY4-374" fmla="*/ 7003 h 274513"/>
                <a:gd name="connsiteX5-375" fmla="*/ 296865 w 364959"/>
                <a:gd name="connsiteY5-376" fmla="*/ 7003 h 274513"/>
                <a:gd name="connsiteX6-377" fmla="*/ 345503 w 364959"/>
                <a:gd name="connsiteY6-378" fmla="*/ 36186 h 274513"/>
                <a:gd name="connsiteX7-379" fmla="*/ 364959 w 364959"/>
                <a:gd name="connsiteY7-380" fmla="*/ 94552 h 274513"/>
                <a:gd name="connsiteX8-381" fmla="*/ 287137 w 364959"/>
                <a:gd name="connsiteY8-382" fmla="*/ 118871 h 274513"/>
                <a:gd name="connsiteX9-383" fmla="*/ 184997 w 364959"/>
                <a:gd name="connsiteY9-384" fmla="*/ 274513 h 274513"/>
                <a:gd name="connsiteX10-385" fmla="*/ 84802 w 364959"/>
                <a:gd name="connsiteY10-386" fmla="*/ 105253 h 274513"/>
                <a:gd name="connsiteX11-387" fmla="*/ 14763 w 364959"/>
                <a:gd name="connsiteY11-388" fmla="*/ 89688 h 274513"/>
                <a:gd name="connsiteX12-389" fmla="*/ 171 w 364959"/>
                <a:gd name="connsiteY12-390" fmla="*/ 94552 h 274513"/>
                <a:gd name="connsiteX13-391" fmla="*/ 63401 w 364959"/>
                <a:gd name="connsiteY13-392" fmla="*/ 16730 h 274513"/>
                <a:gd name="connsiteX0-393" fmla="*/ 63401 w 364959"/>
                <a:gd name="connsiteY0-394" fmla="*/ 16730 h 274513"/>
                <a:gd name="connsiteX1-395" fmla="*/ 150950 w 364959"/>
                <a:gd name="connsiteY1-396" fmla="*/ 152917 h 274513"/>
                <a:gd name="connsiteX2-397" fmla="*/ 184997 w 364959"/>
                <a:gd name="connsiteY2-398" fmla="*/ 186964 h 274513"/>
                <a:gd name="connsiteX3-399" fmla="*/ 243363 w 364959"/>
                <a:gd name="connsiteY3-400" fmla="*/ 84824 h 274513"/>
                <a:gd name="connsiteX4-401" fmla="*/ 272546 w 364959"/>
                <a:gd name="connsiteY4-402" fmla="*/ 7003 h 274513"/>
                <a:gd name="connsiteX5-403" fmla="*/ 296865 w 364959"/>
                <a:gd name="connsiteY5-404" fmla="*/ 7003 h 274513"/>
                <a:gd name="connsiteX6-405" fmla="*/ 345503 w 364959"/>
                <a:gd name="connsiteY6-406" fmla="*/ 36186 h 274513"/>
                <a:gd name="connsiteX7-407" fmla="*/ 364959 w 364959"/>
                <a:gd name="connsiteY7-408" fmla="*/ 94552 h 274513"/>
                <a:gd name="connsiteX8-409" fmla="*/ 294919 w 364959"/>
                <a:gd name="connsiteY8-410" fmla="*/ 89690 h 274513"/>
                <a:gd name="connsiteX9-411" fmla="*/ 184997 w 364959"/>
                <a:gd name="connsiteY9-412" fmla="*/ 274513 h 274513"/>
                <a:gd name="connsiteX10-413" fmla="*/ 84802 w 364959"/>
                <a:gd name="connsiteY10-414" fmla="*/ 105253 h 274513"/>
                <a:gd name="connsiteX11-415" fmla="*/ 14763 w 364959"/>
                <a:gd name="connsiteY11-416" fmla="*/ 89688 h 274513"/>
                <a:gd name="connsiteX12-417" fmla="*/ 171 w 364959"/>
                <a:gd name="connsiteY12-418" fmla="*/ 94552 h 274513"/>
                <a:gd name="connsiteX13-419" fmla="*/ 63401 w 364959"/>
                <a:gd name="connsiteY13-420" fmla="*/ 16730 h 274513"/>
                <a:gd name="connsiteX0-421" fmla="*/ 63401 w 378577"/>
                <a:gd name="connsiteY0-422" fmla="*/ 16730 h 274513"/>
                <a:gd name="connsiteX1-423" fmla="*/ 150950 w 378577"/>
                <a:gd name="connsiteY1-424" fmla="*/ 152917 h 274513"/>
                <a:gd name="connsiteX2-425" fmla="*/ 184997 w 378577"/>
                <a:gd name="connsiteY2-426" fmla="*/ 186964 h 274513"/>
                <a:gd name="connsiteX3-427" fmla="*/ 243363 w 378577"/>
                <a:gd name="connsiteY3-428" fmla="*/ 84824 h 274513"/>
                <a:gd name="connsiteX4-429" fmla="*/ 272546 w 378577"/>
                <a:gd name="connsiteY4-430" fmla="*/ 7003 h 274513"/>
                <a:gd name="connsiteX5-431" fmla="*/ 296865 w 378577"/>
                <a:gd name="connsiteY5-432" fmla="*/ 7003 h 274513"/>
                <a:gd name="connsiteX6-433" fmla="*/ 345503 w 378577"/>
                <a:gd name="connsiteY6-434" fmla="*/ 36186 h 274513"/>
                <a:gd name="connsiteX7-435" fmla="*/ 378577 w 378577"/>
                <a:gd name="connsiteY7-436" fmla="*/ 98443 h 274513"/>
                <a:gd name="connsiteX8-437" fmla="*/ 294919 w 378577"/>
                <a:gd name="connsiteY8-438" fmla="*/ 89690 h 274513"/>
                <a:gd name="connsiteX9-439" fmla="*/ 184997 w 378577"/>
                <a:gd name="connsiteY9-440" fmla="*/ 274513 h 274513"/>
                <a:gd name="connsiteX10-441" fmla="*/ 84802 w 378577"/>
                <a:gd name="connsiteY10-442" fmla="*/ 105253 h 274513"/>
                <a:gd name="connsiteX11-443" fmla="*/ 14763 w 378577"/>
                <a:gd name="connsiteY11-444" fmla="*/ 89688 h 274513"/>
                <a:gd name="connsiteX12-445" fmla="*/ 171 w 378577"/>
                <a:gd name="connsiteY12-446" fmla="*/ 94552 h 274513"/>
                <a:gd name="connsiteX13-447" fmla="*/ 63401 w 378577"/>
                <a:gd name="connsiteY13-448" fmla="*/ 16730 h 274513"/>
                <a:gd name="connsiteX0-449" fmla="*/ 78821 w 393997"/>
                <a:gd name="connsiteY0-450" fmla="*/ 16730 h 274513"/>
                <a:gd name="connsiteX1-451" fmla="*/ 166370 w 393997"/>
                <a:gd name="connsiteY1-452" fmla="*/ 152917 h 274513"/>
                <a:gd name="connsiteX2-453" fmla="*/ 200417 w 393997"/>
                <a:gd name="connsiteY2-454" fmla="*/ 186964 h 274513"/>
                <a:gd name="connsiteX3-455" fmla="*/ 258783 w 393997"/>
                <a:gd name="connsiteY3-456" fmla="*/ 84824 h 274513"/>
                <a:gd name="connsiteX4-457" fmla="*/ 287966 w 393997"/>
                <a:gd name="connsiteY4-458" fmla="*/ 7003 h 274513"/>
                <a:gd name="connsiteX5-459" fmla="*/ 312285 w 393997"/>
                <a:gd name="connsiteY5-460" fmla="*/ 7003 h 274513"/>
                <a:gd name="connsiteX6-461" fmla="*/ 360923 w 393997"/>
                <a:gd name="connsiteY6-462" fmla="*/ 36186 h 274513"/>
                <a:gd name="connsiteX7-463" fmla="*/ 393997 w 393997"/>
                <a:gd name="connsiteY7-464" fmla="*/ 98443 h 274513"/>
                <a:gd name="connsiteX8-465" fmla="*/ 310339 w 393997"/>
                <a:gd name="connsiteY8-466" fmla="*/ 89690 h 274513"/>
                <a:gd name="connsiteX9-467" fmla="*/ 200417 w 393997"/>
                <a:gd name="connsiteY9-468" fmla="*/ 274513 h 274513"/>
                <a:gd name="connsiteX10-469" fmla="*/ 100222 w 393997"/>
                <a:gd name="connsiteY10-470" fmla="*/ 105253 h 274513"/>
                <a:gd name="connsiteX11-471" fmla="*/ 30183 w 393997"/>
                <a:gd name="connsiteY11-472" fmla="*/ 89688 h 274513"/>
                <a:gd name="connsiteX12-473" fmla="*/ 27 w 393997"/>
                <a:gd name="connsiteY12-474" fmla="*/ 102334 h 274513"/>
                <a:gd name="connsiteX13-475" fmla="*/ 78821 w 393997"/>
                <a:gd name="connsiteY13-476" fmla="*/ 16730 h 274513"/>
                <a:gd name="connsiteX0-477" fmla="*/ 78960 w 394136"/>
                <a:gd name="connsiteY0-478" fmla="*/ 16730 h 274513"/>
                <a:gd name="connsiteX1-479" fmla="*/ 166509 w 394136"/>
                <a:gd name="connsiteY1-480" fmla="*/ 152917 h 274513"/>
                <a:gd name="connsiteX2-481" fmla="*/ 200556 w 394136"/>
                <a:gd name="connsiteY2-482" fmla="*/ 186964 h 274513"/>
                <a:gd name="connsiteX3-483" fmla="*/ 258922 w 394136"/>
                <a:gd name="connsiteY3-484" fmla="*/ 84824 h 274513"/>
                <a:gd name="connsiteX4-485" fmla="*/ 288105 w 394136"/>
                <a:gd name="connsiteY4-486" fmla="*/ 7003 h 274513"/>
                <a:gd name="connsiteX5-487" fmla="*/ 312424 w 394136"/>
                <a:gd name="connsiteY5-488" fmla="*/ 7003 h 274513"/>
                <a:gd name="connsiteX6-489" fmla="*/ 361062 w 394136"/>
                <a:gd name="connsiteY6-490" fmla="*/ 36186 h 274513"/>
                <a:gd name="connsiteX7-491" fmla="*/ 394136 w 394136"/>
                <a:gd name="connsiteY7-492" fmla="*/ 98443 h 274513"/>
                <a:gd name="connsiteX8-493" fmla="*/ 310478 w 394136"/>
                <a:gd name="connsiteY8-494" fmla="*/ 89690 h 274513"/>
                <a:gd name="connsiteX9-495" fmla="*/ 200556 w 394136"/>
                <a:gd name="connsiteY9-496" fmla="*/ 274513 h 274513"/>
                <a:gd name="connsiteX10-497" fmla="*/ 100361 w 394136"/>
                <a:gd name="connsiteY10-498" fmla="*/ 105253 h 274513"/>
                <a:gd name="connsiteX11-499" fmla="*/ 166 w 394136"/>
                <a:gd name="connsiteY11-500" fmla="*/ 102334 h 274513"/>
                <a:gd name="connsiteX12-501" fmla="*/ 78960 w 394136"/>
                <a:gd name="connsiteY12-502" fmla="*/ 16730 h 274513"/>
                <a:gd name="connsiteX0-503" fmla="*/ 78960 w 394136"/>
                <a:gd name="connsiteY0-504" fmla="*/ 16730 h 274513"/>
                <a:gd name="connsiteX1-505" fmla="*/ 166509 w 394136"/>
                <a:gd name="connsiteY1-506" fmla="*/ 152917 h 274513"/>
                <a:gd name="connsiteX2-507" fmla="*/ 200556 w 394136"/>
                <a:gd name="connsiteY2-508" fmla="*/ 186964 h 274513"/>
                <a:gd name="connsiteX3-509" fmla="*/ 258922 w 394136"/>
                <a:gd name="connsiteY3-510" fmla="*/ 84824 h 274513"/>
                <a:gd name="connsiteX4-511" fmla="*/ 288105 w 394136"/>
                <a:gd name="connsiteY4-512" fmla="*/ 7003 h 274513"/>
                <a:gd name="connsiteX5-513" fmla="*/ 312424 w 394136"/>
                <a:gd name="connsiteY5-514" fmla="*/ 7003 h 274513"/>
                <a:gd name="connsiteX6-515" fmla="*/ 361062 w 394136"/>
                <a:gd name="connsiteY6-516" fmla="*/ 36186 h 274513"/>
                <a:gd name="connsiteX7-517" fmla="*/ 394136 w 394136"/>
                <a:gd name="connsiteY7-518" fmla="*/ 98443 h 274513"/>
                <a:gd name="connsiteX8-519" fmla="*/ 310478 w 394136"/>
                <a:gd name="connsiteY8-520" fmla="*/ 89690 h 274513"/>
                <a:gd name="connsiteX9-521" fmla="*/ 200556 w 394136"/>
                <a:gd name="connsiteY9-522" fmla="*/ 274513 h 274513"/>
                <a:gd name="connsiteX10-523" fmla="*/ 100361 w 394136"/>
                <a:gd name="connsiteY10-524" fmla="*/ 105253 h 274513"/>
                <a:gd name="connsiteX11-525" fmla="*/ 166 w 394136"/>
                <a:gd name="connsiteY11-526" fmla="*/ 102334 h 274513"/>
                <a:gd name="connsiteX12-527" fmla="*/ 78960 w 394136"/>
                <a:gd name="connsiteY12-528" fmla="*/ 16730 h 274513"/>
                <a:gd name="connsiteX0-529" fmla="*/ 78960 w 394136"/>
                <a:gd name="connsiteY0-530" fmla="*/ 16730 h 274513"/>
                <a:gd name="connsiteX1-531" fmla="*/ 166509 w 394136"/>
                <a:gd name="connsiteY1-532" fmla="*/ 152917 h 274513"/>
                <a:gd name="connsiteX2-533" fmla="*/ 200556 w 394136"/>
                <a:gd name="connsiteY2-534" fmla="*/ 186964 h 274513"/>
                <a:gd name="connsiteX3-535" fmla="*/ 258922 w 394136"/>
                <a:gd name="connsiteY3-536" fmla="*/ 84824 h 274513"/>
                <a:gd name="connsiteX4-537" fmla="*/ 288105 w 394136"/>
                <a:gd name="connsiteY4-538" fmla="*/ 7003 h 274513"/>
                <a:gd name="connsiteX5-539" fmla="*/ 312424 w 394136"/>
                <a:gd name="connsiteY5-540" fmla="*/ 7003 h 274513"/>
                <a:gd name="connsiteX6-541" fmla="*/ 361062 w 394136"/>
                <a:gd name="connsiteY6-542" fmla="*/ 36186 h 274513"/>
                <a:gd name="connsiteX7-543" fmla="*/ 394136 w 394136"/>
                <a:gd name="connsiteY7-544" fmla="*/ 98443 h 274513"/>
                <a:gd name="connsiteX8-545" fmla="*/ 310478 w 394136"/>
                <a:gd name="connsiteY8-546" fmla="*/ 89690 h 274513"/>
                <a:gd name="connsiteX9-547" fmla="*/ 200556 w 394136"/>
                <a:gd name="connsiteY9-548" fmla="*/ 274513 h 274513"/>
                <a:gd name="connsiteX10-549" fmla="*/ 100361 w 394136"/>
                <a:gd name="connsiteY10-550" fmla="*/ 105253 h 274513"/>
                <a:gd name="connsiteX11-551" fmla="*/ 166 w 394136"/>
                <a:gd name="connsiteY11-552" fmla="*/ 102334 h 274513"/>
                <a:gd name="connsiteX12-553" fmla="*/ 78960 w 394136"/>
                <a:gd name="connsiteY12-554" fmla="*/ 16730 h 274513"/>
                <a:gd name="connsiteX0-555" fmla="*/ 78794 w 393970"/>
                <a:gd name="connsiteY0-556" fmla="*/ 16730 h 274513"/>
                <a:gd name="connsiteX1-557" fmla="*/ 166343 w 393970"/>
                <a:gd name="connsiteY1-558" fmla="*/ 152917 h 274513"/>
                <a:gd name="connsiteX2-559" fmla="*/ 200390 w 393970"/>
                <a:gd name="connsiteY2-560" fmla="*/ 186964 h 274513"/>
                <a:gd name="connsiteX3-561" fmla="*/ 258756 w 393970"/>
                <a:gd name="connsiteY3-562" fmla="*/ 84824 h 274513"/>
                <a:gd name="connsiteX4-563" fmla="*/ 287939 w 393970"/>
                <a:gd name="connsiteY4-564" fmla="*/ 7003 h 274513"/>
                <a:gd name="connsiteX5-565" fmla="*/ 312258 w 393970"/>
                <a:gd name="connsiteY5-566" fmla="*/ 7003 h 274513"/>
                <a:gd name="connsiteX6-567" fmla="*/ 360896 w 393970"/>
                <a:gd name="connsiteY6-568" fmla="*/ 36186 h 274513"/>
                <a:gd name="connsiteX7-569" fmla="*/ 393970 w 393970"/>
                <a:gd name="connsiteY7-570" fmla="*/ 98443 h 274513"/>
                <a:gd name="connsiteX8-571" fmla="*/ 310312 w 393970"/>
                <a:gd name="connsiteY8-572" fmla="*/ 89690 h 274513"/>
                <a:gd name="connsiteX9-573" fmla="*/ 200390 w 393970"/>
                <a:gd name="connsiteY9-574" fmla="*/ 274513 h 274513"/>
                <a:gd name="connsiteX10-575" fmla="*/ 100195 w 393970"/>
                <a:gd name="connsiteY10-576" fmla="*/ 105253 h 274513"/>
                <a:gd name="connsiteX11-577" fmla="*/ 0 w 393970"/>
                <a:gd name="connsiteY11-578" fmla="*/ 102334 h 274513"/>
                <a:gd name="connsiteX12-579" fmla="*/ 78794 w 393970"/>
                <a:gd name="connsiteY12-580" fmla="*/ 16730 h 274513"/>
                <a:gd name="connsiteX0-581" fmla="*/ 78794 w 393970"/>
                <a:gd name="connsiteY0-582" fmla="*/ 16730 h 274513"/>
                <a:gd name="connsiteX1-583" fmla="*/ 166343 w 393970"/>
                <a:gd name="connsiteY1-584" fmla="*/ 152917 h 274513"/>
                <a:gd name="connsiteX2-585" fmla="*/ 200390 w 393970"/>
                <a:gd name="connsiteY2-586" fmla="*/ 186964 h 274513"/>
                <a:gd name="connsiteX3-587" fmla="*/ 258756 w 393970"/>
                <a:gd name="connsiteY3-588" fmla="*/ 84824 h 274513"/>
                <a:gd name="connsiteX4-589" fmla="*/ 287939 w 393970"/>
                <a:gd name="connsiteY4-590" fmla="*/ 7003 h 274513"/>
                <a:gd name="connsiteX5-591" fmla="*/ 312258 w 393970"/>
                <a:gd name="connsiteY5-592" fmla="*/ 7003 h 274513"/>
                <a:gd name="connsiteX6-593" fmla="*/ 360896 w 393970"/>
                <a:gd name="connsiteY6-594" fmla="*/ 36186 h 274513"/>
                <a:gd name="connsiteX7-595" fmla="*/ 393970 w 393970"/>
                <a:gd name="connsiteY7-596" fmla="*/ 98443 h 274513"/>
                <a:gd name="connsiteX8-597" fmla="*/ 310312 w 393970"/>
                <a:gd name="connsiteY8-598" fmla="*/ 89690 h 274513"/>
                <a:gd name="connsiteX9-599" fmla="*/ 200390 w 393970"/>
                <a:gd name="connsiteY9-600" fmla="*/ 274513 h 274513"/>
                <a:gd name="connsiteX10-601" fmla="*/ 100195 w 393970"/>
                <a:gd name="connsiteY10-602" fmla="*/ 105253 h 274513"/>
                <a:gd name="connsiteX11-603" fmla="*/ 0 w 393970"/>
                <a:gd name="connsiteY11-604" fmla="*/ 102334 h 274513"/>
                <a:gd name="connsiteX12-605" fmla="*/ 78794 w 393970"/>
                <a:gd name="connsiteY12-606" fmla="*/ 16730 h 274513"/>
                <a:gd name="connsiteX0-607" fmla="*/ 78794 w 393970"/>
                <a:gd name="connsiteY0-608" fmla="*/ 16730 h 274513"/>
                <a:gd name="connsiteX1-609" fmla="*/ 158561 w 393970"/>
                <a:gd name="connsiteY1-610" fmla="*/ 108172 h 274513"/>
                <a:gd name="connsiteX2-611" fmla="*/ 200390 w 393970"/>
                <a:gd name="connsiteY2-612" fmla="*/ 186964 h 274513"/>
                <a:gd name="connsiteX3-613" fmla="*/ 258756 w 393970"/>
                <a:gd name="connsiteY3-614" fmla="*/ 84824 h 274513"/>
                <a:gd name="connsiteX4-615" fmla="*/ 287939 w 393970"/>
                <a:gd name="connsiteY4-616" fmla="*/ 7003 h 274513"/>
                <a:gd name="connsiteX5-617" fmla="*/ 312258 w 393970"/>
                <a:gd name="connsiteY5-618" fmla="*/ 7003 h 274513"/>
                <a:gd name="connsiteX6-619" fmla="*/ 360896 w 393970"/>
                <a:gd name="connsiteY6-620" fmla="*/ 36186 h 274513"/>
                <a:gd name="connsiteX7-621" fmla="*/ 393970 w 393970"/>
                <a:gd name="connsiteY7-622" fmla="*/ 98443 h 274513"/>
                <a:gd name="connsiteX8-623" fmla="*/ 310312 w 393970"/>
                <a:gd name="connsiteY8-624" fmla="*/ 89690 h 274513"/>
                <a:gd name="connsiteX9-625" fmla="*/ 200390 w 393970"/>
                <a:gd name="connsiteY9-626" fmla="*/ 274513 h 274513"/>
                <a:gd name="connsiteX10-627" fmla="*/ 100195 w 393970"/>
                <a:gd name="connsiteY10-628" fmla="*/ 105253 h 274513"/>
                <a:gd name="connsiteX11-629" fmla="*/ 0 w 393970"/>
                <a:gd name="connsiteY11-630" fmla="*/ 102334 h 274513"/>
                <a:gd name="connsiteX12-631" fmla="*/ 78794 w 393970"/>
                <a:gd name="connsiteY12-632" fmla="*/ 16730 h 274513"/>
                <a:gd name="connsiteX0-633" fmla="*/ 78794 w 393970"/>
                <a:gd name="connsiteY0-634" fmla="*/ 16730 h 274513"/>
                <a:gd name="connsiteX1-635" fmla="*/ 158561 w 393970"/>
                <a:gd name="connsiteY1-636" fmla="*/ 108172 h 274513"/>
                <a:gd name="connsiteX2-637" fmla="*/ 200390 w 393970"/>
                <a:gd name="connsiteY2-638" fmla="*/ 186964 h 274513"/>
                <a:gd name="connsiteX3-639" fmla="*/ 258756 w 393970"/>
                <a:gd name="connsiteY3-640" fmla="*/ 84824 h 274513"/>
                <a:gd name="connsiteX4-641" fmla="*/ 287939 w 393970"/>
                <a:gd name="connsiteY4-642" fmla="*/ 7003 h 274513"/>
                <a:gd name="connsiteX5-643" fmla="*/ 312258 w 393970"/>
                <a:gd name="connsiteY5-644" fmla="*/ 7003 h 274513"/>
                <a:gd name="connsiteX6-645" fmla="*/ 360896 w 393970"/>
                <a:gd name="connsiteY6-646" fmla="*/ 36186 h 274513"/>
                <a:gd name="connsiteX7-647" fmla="*/ 393970 w 393970"/>
                <a:gd name="connsiteY7-648" fmla="*/ 98443 h 274513"/>
                <a:gd name="connsiteX8-649" fmla="*/ 310312 w 393970"/>
                <a:gd name="connsiteY8-650" fmla="*/ 89690 h 274513"/>
                <a:gd name="connsiteX9-651" fmla="*/ 200390 w 393970"/>
                <a:gd name="connsiteY9-652" fmla="*/ 274513 h 274513"/>
                <a:gd name="connsiteX10-653" fmla="*/ 100195 w 393970"/>
                <a:gd name="connsiteY10-654" fmla="*/ 105253 h 274513"/>
                <a:gd name="connsiteX11-655" fmla="*/ 0 w 393970"/>
                <a:gd name="connsiteY11-656" fmla="*/ 102334 h 274513"/>
                <a:gd name="connsiteX12-657" fmla="*/ 78794 w 393970"/>
                <a:gd name="connsiteY12-658" fmla="*/ 16730 h 274513"/>
                <a:gd name="connsiteX0-659" fmla="*/ 78794 w 393970"/>
                <a:gd name="connsiteY0-660" fmla="*/ 16730 h 274513"/>
                <a:gd name="connsiteX1-661" fmla="*/ 152726 w 393970"/>
                <a:gd name="connsiteY1-662" fmla="*/ 108172 h 274513"/>
                <a:gd name="connsiteX2-663" fmla="*/ 200390 w 393970"/>
                <a:gd name="connsiteY2-664" fmla="*/ 186964 h 274513"/>
                <a:gd name="connsiteX3-665" fmla="*/ 258756 w 393970"/>
                <a:gd name="connsiteY3-666" fmla="*/ 84824 h 274513"/>
                <a:gd name="connsiteX4-667" fmla="*/ 287939 w 393970"/>
                <a:gd name="connsiteY4-668" fmla="*/ 7003 h 274513"/>
                <a:gd name="connsiteX5-669" fmla="*/ 312258 w 393970"/>
                <a:gd name="connsiteY5-670" fmla="*/ 7003 h 274513"/>
                <a:gd name="connsiteX6-671" fmla="*/ 360896 w 393970"/>
                <a:gd name="connsiteY6-672" fmla="*/ 36186 h 274513"/>
                <a:gd name="connsiteX7-673" fmla="*/ 393970 w 393970"/>
                <a:gd name="connsiteY7-674" fmla="*/ 98443 h 274513"/>
                <a:gd name="connsiteX8-675" fmla="*/ 310312 w 393970"/>
                <a:gd name="connsiteY8-676" fmla="*/ 89690 h 274513"/>
                <a:gd name="connsiteX9-677" fmla="*/ 200390 w 393970"/>
                <a:gd name="connsiteY9-678" fmla="*/ 274513 h 274513"/>
                <a:gd name="connsiteX10-679" fmla="*/ 100195 w 393970"/>
                <a:gd name="connsiteY10-680" fmla="*/ 105253 h 274513"/>
                <a:gd name="connsiteX11-681" fmla="*/ 0 w 393970"/>
                <a:gd name="connsiteY11-682" fmla="*/ 102334 h 274513"/>
                <a:gd name="connsiteX12-683" fmla="*/ 78794 w 393970"/>
                <a:gd name="connsiteY12-684" fmla="*/ 16730 h 274513"/>
                <a:gd name="connsiteX0-685" fmla="*/ 78794 w 393970"/>
                <a:gd name="connsiteY0-686" fmla="*/ 16730 h 274513"/>
                <a:gd name="connsiteX1-687" fmla="*/ 152726 w 393970"/>
                <a:gd name="connsiteY1-688" fmla="*/ 108172 h 274513"/>
                <a:gd name="connsiteX2-689" fmla="*/ 200390 w 393970"/>
                <a:gd name="connsiteY2-690" fmla="*/ 186964 h 274513"/>
                <a:gd name="connsiteX3-691" fmla="*/ 258756 w 393970"/>
                <a:gd name="connsiteY3-692" fmla="*/ 84824 h 274513"/>
                <a:gd name="connsiteX4-693" fmla="*/ 287939 w 393970"/>
                <a:gd name="connsiteY4-694" fmla="*/ 7003 h 274513"/>
                <a:gd name="connsiteX5-695" fmla="*/ 312258 w 393970"/>
                <a:gd name="connsiteY5-696" fmla="*/ 7003 h 274513"/>
                <a:gd name="connsiteX6-697" fmla="*/ 360896 w 393970"/>
                <a:gd name="connsiteY6-698" fmla="*/ 36186 h 274513"/>
                <a:gd name="connsiteX7-699" fmla="*/ 393970 w 393970"/>
                <a:gd name="connsiteY7-700" fmla="*/ 98443 h 274513"/>
                <a:gd name="connsiteX8-701" fmla="*/ 310312 w 393970"/>
                <a:gd name="connsiteY8-702" fmla="*/ 89690 h 274513"/>
                <a:gd name="connsiteX9-703" fmla="*/ 200390 w 393970"/>
                <a:gd name="connsiteY9-704" fmla="*/ 274513 h 274513"/>
                <a:gd name="connsiteX10-705" fmla="*/ 100195 w 393970"/>
                <a:gd name="connsiteY10-706" fmla="*/ 105253 h 274513"/>
                <a:gd name="connsiteX11-707" fmla="*/ 0 w 393970"/>
                <a:gd name="connsiteY11-708" fmla="*/ 102334 h 274513"/>
                <a:gd name="connsiteX12-709" fmla="*/ 78794 w 393970"/>
                <a:gd name="connsiteY12-710" fmla="*/ 16730 h 274513"/>
                <a:gd name="connsiteX0-711" fmla="*/ 78794 w 393970"/>
                <a:gd name="connsiteY0-712" fmla="*/ 16730 h 274513"/>
                <a:gd name="connsiteX1-713" fmla="*/ 152726 w 393970"/>
                <a:gd name="connsiteY1-714" fmla="*/ 108172 h 274513"/>
                <a:gd name="connsiteX2-715" fmla="*/ 200390 w 393970"/>
                <a:gd name="connsiteY2-716" fmla="*/ 186964 h 274513"/>
                <a:gd name="connsiteX3-717" fmla="*/ 258756 w 393970"/>
                <a:gd name="connsiteY3-718" fmla="*/ 84824 h 274513"/>
                <a:gd name="connsiteX4-719" fmla="*/ 287939 w 393970"/>
                <a:gd name="connsiteY4-720" fmla="*/ 7003 h 274513"/>
                <a:gd name="connsiteX5-721" fmla="*/ 312258 w 393970"/>
                <a:gd name="connsiteY5-722" fmla="*/ 7003 h 274513"/>
                <a:gd name="connsiteX6-723" fmla="*/ 360896 w 393970"/>
                <a:gd name="connsiteY6-724" fmla="*/ 36186 h 274513"/>
                <a:gd name="connsiteX7-725" fmla="*/ 393970 w 393970"/>
                <a:gd name="connsiteY7-726" fmla="*/ 98443 h 274513"/>
                <a:gd name="connsiteX8-727" fmla="*/ 310312 w 393970"/>
                <a:gd name="connsiteY8-728" fmla="*/ 89690 h 274513"/>
                <a:gd name="connsiteX9-729" fmla="*/ 200390 w 393970"/>
                <a:gd name="connsiteY9-730" fmla="*/ 274513 h 274513"/>
                <a:gd name="connsiteX10-731" fmla="*/ 100195 w 393970"/>
                <a:gd name="connsiteY10-732" fmla="*/ 105253 h 274513"/>
                <a:gd name="connsiteX11-733" fmla="*/ 0 w 393970"/>
                <a:gd name="connsiteY11-734" fmla="*/ 102334 h 274513"/>
                <a:gd name="connsiteX12-735" fmla="*/ 78794 w 393970"/>
                <a:gd name="connsiteY12-736" fmla="*/ 16730 h 274513"/>
                <a:gd name="connsiteX0-737" fmla="*/ 78794 w 393970"/>
                <a:gd name="connsiteY0-738" fmla="*/ 16312 h 274095"/>
                <a:gd name="connsiteX1-739" fmla="*/ 152726 w 393970"/>
                <a:gd name="connsiteY1-740" fmla="*/ 107754 h 274095"/>
                <a:gd name="connsiteX2-741" fmla="*/ 200390 w 393970"/>
                <a:gd name="connsiteY2-742" fmla="*/ 186546 h 274095"/>
                <a:gd name="connsiteX3-743" fmla="*/ 249029 w 393970"/>
                <a:gd name="connsiteY3-744" fmla="*/ 78569 h 274095"/>
                <a:gd name="connsiteX4-745" fmla="*/ 287939 w 393970"/>
                <a:gd name="connsiteY4-746" fmla="*/ 6585 h 274095"/>
                <a:gd name="connsiteX5-747" fmla="*/ 312258 w 393970"/>
                <a:gd name="connsiteY5-748" fmla="*/ 6585 h 274095"/>
                <a:gd name="connsiteX6-749" fmla="*/ 360896 w 393970"/>
                <a:gd name="connsiteY6-750" fmla="*/ 35768 h 274095"/>
                <a:gd name="connsiteX7-751" fmla="*/ 393970 w 393970"/>
                <a:gd name="connsiteY7-752" fmla="*/ 98025 h 274095"/>
                <a:gd name="connsiteX8-753" fmla="*/ 310312 w 393970"/>
                <a:gd name="connsiteY8-754" fmla="*/ 89272 h 274095"/>
                <a:gd name="connsiteX9-755" fmla="*/ 200390 w 393970"/>
                <a:gd name="connsiteY9-756" fmla="*/ 274095 h 274095"/>
                <a:gd name="connsiteX10-757" fmla="*/ 100195 w 393970"/>
                <a:gd name="connsiteY10-758" fmla="*/ 104835 h 274095"/>
                <a:gd name="connsiteX11-759" fmla="*/ 0 w 393970"/>
                <a:gd name="connsiteY11-760" fmla="*/ 101916 h 274095"/>
                <a:gd name="connsiteX12-761" fmla="*/ 78794 w 393970"/>
                <a:gd name="connsiteY12-762" fmla="*/ 16312 h 27409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Lst>
              <a:rect l="l" t="t" r="r" b="b"/>
              <a:pathLst>
                <a:path w="393970" h="274095">
                  <a:moveTo>
                    <a:pt x="78794" y="16312"/>
                  </a:moveTo>
                  <a:cubicBezTo>
                    <a:pt x="104248" y="17285"/>
                    <a:pt x="134405" y="67709"/>
                    <a:pt x="152726" y="107754"/>
                  </a:cubicBezTo>
                  <a:cubicBezTo>
                    <a:pt x="171047" y="147799"/>
                    <a:pt x="183042" y="166769"/>
                    <a:pt x="200390" y="186546"/>
                  </a:cubicBezTo>
                  <a:cubicBezTo>
                    <a:pt x="211900" y="157689"/>
                    <a:pt x="234438" y="108562"/>
                    <a:pt x="249029" y="78569"/>
                  </a:cubicBezTo>
                  <a:cubicBezTo>
                    <a:pt x="263620" y="48576"/>
                    <a:pt x="277401" y="18582"/>
                    <a:pt x="287939" y="6585"/>
                  </a:cubicBezTo>
                  <a:cubicBezTo>
                    <a:pt x="298477" y="-5412"/>
                    <a:pt x="300099" y="1721"/>
                    <a:pt x="312258" y="6585"/>
                  </a:cubicBezTo>
                  <a:cubicBezTo>
                    <a:pt x="324418" y="11449"/>
                    <a:pt x="347277" y="20528"/>
                    <a:pt x="360896" y="35768"/>
                  </a:cubicBezTo>
                  <a:cubicBezTo>
                    <a:pt x="374515" y="51008"/>
                    <a:pt x="390081" y="74517"/>
                    <a:pt x="393970" y="98025"/>
                  </a:cubicBezTo>
                  <a:cubicBezTo>
                    <a:pt x="355062" y="90406"/>
                    <a:pt x="342251" y="84569"/>
                    <a:pt x="310312" y="89272"/>
                  </a:cubicBezTo>
                  <a:cubicBezTo>
                    <a:pt x="280318" y="119265"/>
                    <a:pt x="244164" y="205681"/>
                    <a:pt x="200390" y="274095"/>
                  </a:cubicBezTo>
                  <a:cubicBezTo>
                    <a:pt x="174124" y="214112"/>
                    <a:pt x="128567" y="135639"/>
                    <a:pt x="100195" y="104835"/>
                  </a:cubicBezTo>
                  <a:cubicBezTo>
                    <a:pt x="66797" y="76139"/>
                    <a:pt x="40530" y="91380"/>
                    <a:pt x="0" y="101916"/>
                  </a:cubicBezTo>
                  <a:cubicBezTo>
                    <a:pt x="17833" y="63817"/>
                    <a:pt x="53340" y="15339"/>
                    <a:pt x="78794" y="16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grpSp>
      <p:grpSp>
        <p:nvGrpSpPr>
          <p:cNvPr id="12" name="Group 113"/>
          <p:cNvGrpSpPr/>
          <p:nvPr/>
        </p:nvGrpSpPr>
        <p:grpSpPr>
          <a:xfrm>
            <a:off x="6641497" y="4225642"/>
            <a:ext cx="1192125" cy="1314349"/>
            <a:chOff x="6710347" y="4049438"/>
            <a:chExt cx="1373231" cy="1514022"/>
          </a:xfrm>
          <a:solidFill>
            <a:srgbClr val="82B864"/>
          </a:solidFill>
        </p:grpSpPr>
        <p:grpSp>
          <p:nvGrpSpPr>
            <p:cNvPr id="13" name="Group 114"/>
            <p:cNvGrpSpPr/>
            <p:nvPr/>
          </p:nvGrpSpPr>
          <p:grpSpPr>
            <a:xfrm>
              <a:off x="6710347" y="4049438"/>
              <a:ext cx="1373231" cy="1514022"/>
              <a:chOff x="7074776" y="3158061"/>
              <a:chExt cx="2034497" cy="2243086"/>
            </a:xfrm>
            <a:grpFill/>
          </p:grpSpPr>
          <p:sp>
            <p:nvSpPr>
              <p:cNvPr id="117" name="Freeform 116"/>
              <p:cNvSpPr/>
              <p:nvPr/>
            </p:nvSpPr>
            <p:spPr>
              <a:xfrm>
                <a:off x="7074776" y="4426168"/>
                <a:ext cx="2034497" cy="974979"/>
              </a:xfrm>
              <a:custGeom>
                <a:avLst/>
                <a:gdLst>
                  <a:gd name="connsiteX0" fmla="*/ 893028 w 2408803"/>
                  <a:gd name="connsiteY0" fmla="*/ 0 h 979066"/>
                  <a:gd name="connsiteX1" fmla="*/ 1528551 w 2408803"/>
                  <a:gd name="connsiteY1" fmla="*/ 0 h 979066"/>
                  <a:gd name="connsiteX2" fmla="*/ 1523036 w 2408803"/>
                  <a:gd name="connsiteY2" fmla="*/ 9360 h 979066"/>
                  <a:gd name="connsiteX3" fmla="*/ 1509548 w 2408803"/>
                  <a:gd name="connsiteY3" fmla="*/ 43354 h 979066"/>
                  <a:gd name="connsiteX4" fmla="*/ 1525314 w 2408803"/>
                  <a:gd name="connsiteY4" fmla="*/ 141889 h 979066"/>
                  <a:gd name="connsiteX5" fmla="*/ 1560786 w 2408803"/>
                  <a:gd name="connsiteY5" fmla="*/ 157656 h 979066"/>
                  <a:gd name="connsiteX6" fmla="*/ 1600199 w 2408803"/>
                  <a:gd name="connsiteY6" fmla="*/ 212834 h 979066"/>
                  <a:gd name="connsiteX7" fmla="*/ 1848507 w 2408803"/>
                  <a:gd name="connsiteY7" fmla="*/ 283778 h 979066"/>
                  <a:gd name="connsiteX8" fmla="*/ 2077107 w 2408803"/>
                  <a:gd name="connsiteY8" fmla="*/ 342899 h 979066"/>
                  <a:gd name="connsiteX9" fmla="*/ 2211114 w 2408803"/>
                  <a:gd name="connsiteY9" fmla="*/ 386254 h 979066"/>
                  <a:gd name="connsiteX10" fmla="*/ 2325414 w 2408803"/>
                  <a:gd name="connsiteY10" fmla="*/ 429609 h 979066"/>
                  <a:gd name="connsiteX11" fmla="*/ 2360886 w 2408803"/>
                  <a:gd name="connsiteY11" fmla="*/ 583323 h 979066"/>
                  <a:gd name="connsiteX12" fmla="*/ 2388476 w 2408803"/>
                  <a:gd name="connsiteY12" fmla="*/ 784333 h 979066"/>
                  <a:gd name="connsiteX13" fmla="*/ 2408183 w 2408803"/>
                  <a:gd name="connsiteY13" fmla="*/ 965637 h 979066"/>
                  <a:gd name="connsiteX14" fmla="*/ 2404242 w 2408803"/>
                  <a:gd name="connsiteY14" fmla="*/ 965637 h 979066"/>
                  <a:gd name="connsiteX15" fmla="*/ 1229711 w 2408803"/>
                  <a:gd name="connsiteY15" fmla="*/ 969577 h 979066"/>
                  <a:gd name="connsiteX16" fmla="*/ 0 w 2408803"/>
                  <a:gd name="connsiteY16" fmla="*/ 965637 h 979066"/>
                  <a:gd name="connsiteX17" fmla="*/ 59121 w 2408803"/>
                  <a:gd name="connsiteY17" fmla="*/ 567558 h 979066"/>
                  <a:gd name="connsiteX18" fmla="*/ 106417 w 2408803"/>
                  <a:gd name="connsiteY18" fmla="*/ 425668 h 979066"/>
                  <a:gd name="connsiteX19" fmla="*/ 220717 w 2408803"/>
                  <a:gd name="connsiteY19" fmla="*/ 370489 h 979066"/>
                  <a:gd name="connsiteX20" fmla="*/ 855280 w 2408803"/>
                  <a:gd name="connsiteY20" fmla="*/ 189185 h 979066"/>
                  <a:gd name="connsiteX21" fmla="*/ 878929 w 2408803"/>
                  <a:gd name="connsiteY21" fmla="*/ 134007 h 979066"/>
                  <a:gd name="connsiteX22" fmla="*/ 902576 w 2408803"/>
                  <a:gd name="connsiteY22" fmla="*/ 98533 h 979066"/>
                  <a:gd name="connsiteX23" fmla="*/ 902083 w 2408803"/>
                  <a:gd name="connsiteY23" fmla="*/ 47049 h 979066"/>
                  <a:gd name="connsiteX0-1" fmla="*/ 893028 w 2408803"/>
                  <a:gd name="connsiteY0-2" fmla="*/ 0 h 979066"/>
                  <a:gd name="connsiteX1-3" fmla="*/ 1528551 w 2408803"/>
                  <a:gd name="connsiteY1-4" fmla="*/ 0 h 979066"/>
                  <a:gd name="connsiteX2-5" fmla="*/ 1523036 w 2408803"/>
                  <a:gd name="connsiteY2-6" fmla="*/ 9360 h 979066"/>
                  <a:gd name="connsiteX3-7" fmla="*/ 1509548 w 2408803"/>
                  <a:gd name="connsiteY3-8" fmla="*/ 43354 h 979066"/>
                  <a:gd name="connsiteX4-9" fmla="*/ 1525314 w 2408803"/>
                  <a:gd name="connsiteY4-10" fmla="*/ 141889 h 979066"/>
                  <a:gd name="connsiteX5-11" fmla="*/ 1560786 w 2408803"/>
                  <a:gd name="connsiteY5-12" fmla="*/ 157656 h 979066"/>
                  <a:gd name="connsiteX6-13" fmla="*/ 1600199 w 2408803"/>
                  <a:gd name="connsiteY6-14" fmla="*/ 212834 h 979066"/>
                  <a:gd name="connsiteX7-15" fmla="*/ 1848507 w 2408803"/>
                  <a:gd name="connsiteY7-16" fmla="*/ 283778 h 979066"/>
                  <a:gd name="connsiteX8-17" fmla="*/ 2077107 w 2408803"/>
                  <a:gd name="connsiteY8-18" fmla="*/ 342899 h 979066"/>
                  <a:gd name="connsiteX9-19" fmla="*/ 2225118 w 2408803"/>
                  <a:gd name="connsiteY9-20" fmla="*/ 342898 h 979066"/>
                  <a:gd name="connsiteX10-21" fmla="*/ 2325414 w 2408803"/>
                  <a:gd name="connsiteY10-22" fmla="*/ 429609 h 979066"/>
                  <a:gd name="connsiteX11-23" fmla="*/ 2360886 w 2408803"/>
                  <a:gd name="connsiteY11-24" fmla="*/ 583323 h 979066"/>
                  <a:gd name="connsiteX12-25" fmla="*/ 2388476 w 2408803"/>
                  <a:gd name="connsiteY12-26" fmla="*/ 784333 h 979066"/>
                  <a:gd name="connsiteX13-27" fmla="*/ 2408183 w 2408803"/>
                  <a:gd name="connsiteY13-28" fmla="*/ 965637 h 979066"/>
                  <a:gd name="connsiteX14-29" fmla="*/ 2404242 w 2408803"/>
                  <a:gd name="connsiteY14-30" fmla="*/ 965637 h 979066"/>
                  <a:gd name="connsiteX15-31" fmla="*/ 1229711 w 2408803"/>
                  <a:gd name="connsiteY15-32" fmla="*/ 969577 h 979066"/>
                  <a:gd name="connsiteX16-33" fmla="*/ 0 w 2408803"/>
                  <a:gd name="connsiteY16-34" fmla="*/ 965637 h 979066"/>
                  <a:gd name="connsiteX17-35" fmla="*/ 59121 w 2408803"/>
                  <a:gd name="connsiteY17-36" fmla="*/ 567558 h 979066"/>
                  <a:gd name="connsiteX18-37" fmla="*/ 106417 w 2408803"/>
                  <a:gd name="connsiteY18-38" fmla="*/ 425668 h 979066"/>
                  <a:gd name="connsiteX19-39" fmla="*/ 220717 w 2408803"/>
                  <a:gd name="connsiteY19-40" fmla="*/ 370489 h 979066"/>
                  <a:gd name="connsiteX20-41" fmla="*/ 855280 w 2408803"/>
                  <a:gd name="connsiteY20-42" fmla="*/ 189185 h 979066"/>
                  <a:gd name="connsiteX21-43" fmla="*/ 878929 w 2408803"/>
                  <a:gd name="connsiteY21-44" fmla="*/ 134007 h 979066"/>
                  <a:gd name="connsiteX22-45" fmla="*/ 902576 w 2408803"/>
                  <a:gd name="connsiteY22-46" fmla="*/ 98533 h 979066"/>
                  <a:gd name="connsiteX23-47" fmla="*/ 902083 w 2408803"/>
                  <a:gd name="connsiteY23-48" fmla="*/ 47049 h 979066"/>
                  <a:gd name="connsiteX24" fmla="*/ 893028 w 2408803"/>
                  <a:gd name="connsiteY24" fmla="*/ 0 h 979066"/>
                  <a:gd name="connsiteX0-49" fmla="*/ 893028 w 2408803"/>
                  <a:gd name="connsiteY0-50" fmla="*/ 0 h 979066"/>
                  <a:gd name="connsiteX1-51" fmla="*/ 1528551 w 2408803"/>
                  <a:gd name="connsiteY1-52" fmla="*/ 0 h 979066"/>
                  <a:gd name="connsiteX2-53" fmla="*/ 1523036 w 2408803"/>
                  <a:gd name="connsiteY2-54" fmla="*/ 9360 h 979066"/>
                  <a:gd name="connsiteX3-55" fmla="*/ 1509548 w 2408803"/>
                  <a:gd name="connsiteY3-56" fmla="*/ 43354 h 979066"/>
                  <a:gd name="connsiteX4-57" fmla="*/ 1525314 w 2408803"/>
                  <a:gd name="connsiteY4-58" fmla="*/ 141889 h 979066"/>
                  <a:gd name="connsiteX5-59" fmla="*/ 1560786 w 2408803"/>
                  <a:gd name="connsiteY5-60" fmla="*/ 157656 h 979066"/>
                  <a:gd name="connsiteX6-61" fmla="*/ 1600199 w 2408803"/>
                  <a:gd name="connsiteY6-62" fmla="*/ 212834 h 979066"/>
                  <a:gd name="connsiteX7-63" fmla="*/ 1848507 w 2408803"/>
                  <a:gd name="connsiteY7-64" fmla="*/ 283778 h 979066"/>
                  <a:gd name="connsiteX8-65" fmla="*/ 2077107 w 2408803"/>
                  <a:gd name="connsiteY8-66" fmla="*/ 342899 h 979066"/>
                  <a:gd name="connsiteX9-67" fmla="*/ 2225118 w 2408803"/>
                  <a:gd name="connsiteY9-68" fmla="*/ 342898 h 979066"/>
                  <a:gd name="connsiteX10-69" fmla="*/ 2068662 w 2408803"/>
                  <a:gd name="connsiteY10-70" fmla="*/ 480847 h 979066"/>
                  <a:gd name="connsiteX11-71" fmla="*/ 2360886 w 2408803"/>
                  <a:gd name="connsiteY11-72" fmla="*/ 583323 h 979066"/>
                  <a:gd name="connsiteX12-73" fmla="*/ 2388476 w 2408803"/>
                  <a:gd name="connsiteY12-74" fmla="*/ 784333 h 979066"/>
                  <a:gd name="connsiteX13-75" fmla="*/ 2408183 w 2408803"/>
                  <a:gd name="connsiteY13-76" fmla="*/ 965637 h 979066"/>
                  <a:gd name="connsiteX14-77" fmla="*/ 2404242 w 2408803"/>
                  <a:gd name="connsiteY14-78" fmla="*/ 965637 h 979066"/>
                  <a:gd name="connsiteX15-79" fmla="*/ 1229711 w 2408803"/>
                  <a:gd name="connsiteY15-80" fmla="*/ 969577 h 979066"/>
                  <a:gd name="connsiteX16-81" fmla="*/ 0 w 2408803"/>
                  <a:gd name="connsiteY16-82" fmla="*/ 965637 h 979066"/>
                  <a:gd name="connsiteX17-83" fmla="*/ 59121 w 2408803"/>
                  <a:gd name="connsiteY17-84" fmla="*/ 567558 h 979066"/>
                  <a:gd name="connsiteX18-85" fmla="*/ 106417 w 2408803"/>
                  <a:gd name="connsiteY18-86" fmla="*/ 425668 h 979066"/>
                  <a:gd name="connsiteX19-87" fmla="*/ 220717 w 2408803"/>
                  <a:gd name="connsiteY19-88" fmla="*/ 370489 h 979066"/>
                  <a:gd name="connsiteX20-89" fmla="*/ 855280 w 2408803"/>
                  <a:gd name="connsiteY20-90" fmla="*/ 189185 h 979066"/>
                  <a:gd name="connsiteX21-91" fmla="*/ 878929 w 2408803"/>
                  <a:gd name="connsiteY21-92" fmla="*/ 134007 h 979066"/>
                  <a:gd name="connsiteX22-93" fmla="*/ 902576 w 2408803"/>
                  <a:gd name="connsiteY22-94" fmla="*/ 98533 h 979066"/>
                  <a:gd name="connsiteX23-95" fmla="*/ 902083 w 2408803"/>
                  <a:gd name="connsiteY23-96" fmla="*/ 47049 h 979066"/>
                  <a:gd name="connsiteX24-97" fmla="*/ 893028 w 2408803"/>
                  <a:gd name="connsiteY24-98" fmla="*/ 0 h 979066"/>
                  <a:gd name="connsiteX0-99" fmla="*/ 893028 w 2408803"/>
                  <a:gd name="connsiteY0-100" fmla="*/ 0 h 979066"/>
                  <a:gd name="connsiteX1-101" fmla="*/ 1528551 w 2408803"/>
                  <a:gd name="connsiteY1-102" fmla="*/ 0 h 979066"/>
                  <a:gd name="connsiteX2-103" fmla="*/ 1523036 w 2408803"/>
                  <a:gd name="connsiteY2-104" fmla="*/ 9360 h 979066"/>
                  <a:gd name="connsiteX3-105" fmla="*/ 1509548 w 2408803"/>
                  <a:gd name="connsiteY3-106" fmla="*/ 43354 h 979066"/>
                  <a:gd name="connsiteX4-107" fmla="*/ 1525314 w 2408803"/>
                  <a:gd name="connsiteY4-108" fmla="*/ 141889 h 979066"/>
                  <a:gd name="connsiteX5-109" fmla="*/ 1560786 w 2408803"/>
                  <a:gd name="connsiteY5-110" fmla="*/ 157656 h 979066"/>
                  <a:gd name="connsiteX6-111" fmla="*/ 1600199 w 2408803"/>
                  <a:gd name="connsiteY6-112" fmla="*/ 212834 h 979066"/>
                  <a:gd name="connsiteX7-113" fmla="*/ 1848507 w 2408803"/>
                  <a:gd name="connsiteY7-114" fmla="*/ 283778 h 979066"/>
                  <a:gd name="connsiteX8-115" fmla="*/ 2077107 w 2408803"/>
                  <a:gd name="connsiteY8-116" fmla="*/ 342899 h 979066"/>
                  <a:gd name="connsiteX9-117" fmla="*/ 2225118 w 2408803"/>
                  <a:gd name="connsiteY9-118" fmla="*/ 342898 h 979066"/>
                  <a:gd name="connsiteX10-119" fmla="*/ 2250722 w 2408803"/>
                  <a:gd name="connsiteY10-120" fmla="*/ 488729 h 979066"/>
                  <a:gd name="connsiteX11-121" fmla="*/ 2360886 w 2408803"/>
                  <a:gd name="connsiteY11-122" fmla="*/ 583323 h 979066"/>
                  <a:gd name="connsiteX12-123" fmla="*/ 2388476 w 2408803"/>
                  <a:gd name="connsiteY12-124" fmla="*/ 784333 h 979066"/>
                  <a:gd name="connsiteX13-125" fmla="*/ 2408183 w 2408803"/>
                  <a:gd name="connsiteY13-126" fmla="*/ 965637 h 979066"/>
                  <a:gd name="connsiteX14-127" fmla="*/ 2404242 w 2408803"/>
                  <a:gd name="connsiteY14-128" fmla="*/ 965637 h 979066"/>
                  <a:gd name="connsiteX15-129" fmla="*/ 1229711 w 2408803"/>
                  <a:gd name="connsiteY15-130" fmla="*/ 969577 h 979066"/>
                  <a:gd name="connsiteX16-131" fmla="*/ 0 w 2408803"/>
                  <a:gd name="connsiteY16-132" fmla="*/ 965637 h 979066"/>
                  <a:gd name="connsiteX17-133" fmla="*/ 59121 w 2408803"/>
                  <a:gd name="connsiteY17-134" fmla="*/ 567558 h 979066"/>
                  <a:gd name="connsiteX18-135" fmla="*/ 106417 w 2408803"/>
                  <a:gd name="connsiteY18-136" fmla="*/ 425668 h 979066"/>
                  <a:gd name="connsiteX19-137" fmla="*/ 220717 w 2408803"/>
                  <a:gd name="connsiteY19-138" fmla="*/ 370489 h 979066"/>
                  <a:gd name="connsiteX20-139" fmla="*/ 855280 w 2408803"/>
                  <a:gd name="connsiteY20-140" fmla="*/ 189185 h 979066"/>
                  <a:gd name="connsiteX21-141" fmla="*/ 878929 w 2408803"/>
                  <a:gd name="connsiteY21-142" fmla="*/ 134007 h 979066"/>
                  <a:gd name="connsiteX22-143" fmla="*/ 902576 w 2408803"/>
                  <a:gd name="connsiteY22-144" fmla="*/ 98533 h 979066"/>
                  <a:gd name="connsiteX23-145" fmla="*/ 902083 w 2408803"/>
                  <a:gd name="connsiteY23-146" fmla="*/ 47049 h 979066"/>
                  <a:gd name="connsiteX24-147" fmla="*/ 893028 w 2408803"/>
                  <a:gd name="connsiteY24-148" fmla="*/ 0 h 979066"/>
                  <a:gd name="connsiteX0-149" fmla="*/ 893028 w 2408803"/>
                  <a:gd name="connsiteY0-150" fmla="*/ 0 h 979066"/>
                  <a:gd name="connsiteX1-151" fmla="*/ 1528551 w 2408803"/>
                  <a:gd name="connsiteY1-152" fmla="*/ 0 h 979066"/>
                  <a:gd name="connsiteX2-153" fmla="*/ 1523036 w 2408803"/>
                  <a:gd name="connsiteY2-154" fmla="*/ 9360 h 979066"/>
                  <a:gd name="connsiteX3-155" fmla="*/ 1509548 w 2408803"/>
                  <a:gd name="connsiteY3-156" fmla="*/ 43354 h 979066"/>
                  <a:gd name="connsiteX4-157" fmla="*/ 1525314 w 2408803"/>
                  <a:gd name="connsiteY4-158" fmla="*/ 141889 h 979066"/>
                  <a:gd name="connsiteX5-159" fmla="*/ 1560786 w 2408803"/>
                  <a:gd name="connsiteY5-160" fmla="*/ 157656 h 979066"/>
                  <a:gd name="connsiteX6-161" fmla="*/ 1600199 w 2408803"/>
                  <a:gd name="connsiteY6-162" fmla="*/ 212834 h 979066"/>
                  <a:gd name="connsiteX7-163" fmla="*/ 1848507 w 2408803"/>
                  <a:gd name="connsiteY7-164" fmla="*/ 283778 h 979066"/>
                  <a:gd name="connsiteX8-165" fmla="*/ 2077107 w 2408803"/>
                  <a:gd name="connsiteY8-166" fmla="*/ 342899 h 979066"/>
                  <a:gd name="connsiteX9-167" fmla="*/ 2225118 w 2408803"/>
                  <a:gd name="connsiteY9-168" fmla="*/ 342898 h 979066"/>
                  <a:gd name="connsiteX10-169" fmla="*/ 2250722 w 2408803"/>
                  <a:gd name="connsiteY10-170" fmla="*/ 488729 h 979066"/>
                  <a:gd name="connsiteX11-171" fmla="*/ 2328210 w 2408803"/>
                  <a:gd name="connsiteY11-172" fmla="*/ 654268 h 979066"/>
                  <a:gd name="connsiteX12-173" fmla="*/ 2388476 w 2408803"/>
                  <a:gd name="connsiteY12-174" fmla="*/ 784333 h 979066"/>
                  <a:gd name="connsiteX13-175" fmla="*/ 2408183 w 2408803"/>
                  <a:gd name="connsiteY13-176" fmla="*/ 965637 h 979066"/>
                  <a:gd name="connsiteX14-177" fmla="*/ 2404242 w 2408803"/>
                  <a:gd name="connsiteY14-178" fmla="*/ 965637 h 979066"/>
                  <a:gd name="connsiteX15-179" fmla="*/ 1229711 w 2408803"/>
                  <a:gd name="connsiteY15-180" fmla="*/ 969577 h 979066"/>
                  <a:gd name="connsiteX16-181" fmla="*/ 0 w 2408803"/>
                  <a:gd name="connsiteY16-182" fmla="*/ 965637 h 979066"/>
                  <a:gd name="connsiteX17-183" fmla="*/ 59121 w 2408803"/>
                  <a:gd name="connsiteY17-184" fmla="*/ 567558 h 979066"/>
                  <a:gd name="connsiteX18-185" fmla="*/ 106417 w 2408803"/>
                  <a:gd name="connsiteY18-186" fmla="*/ 425668 h 979066"/>
                  <a:gd name="connsiteX19-187" fmla="*/ 220717 w 2408803"/>
                  <a:gd name="connsiteY19-188" fmla="*/ 370489 h 979066"/>
                  <a:gd name="connsiteX20-189" fmla="*/ 855280 w 2408803"/>
                  <a:gd name="connsiteY20-190" fmla="*/ 189185 h 979066"/>
                  <a:gd name="connsiteX21-191" fmla="*/ 878929 w 2408803"/>
                  <a:gd name="connsiteY21-192" fmla="*/ 134007 h 979066"/>
                  <a:gd name="connsiteX22-193" fmla="*/ 902576 w 2408803"/>
                  <a:gd name="connsiteY22-194" fmla="*/ 98533 h 979066"/>
                  <a:gd name="connsiteX23-195" fmla="*/ 902083 w 2408803"/>
                  <a:gd name="connsiteY23-196" fmla="*/ 47049 h 979066"/>
                  <a:gd name="connsiteX24-197" fmla="*/ 893028 w 2408803"/>
                  <a:gd name="connsiteY24-198" fmla="*/ 0 h 979066"/>
                  <a:gd name="connsiteX0-199" fmla="*/ 893028 w 2409687"/>
                  <a:gd name="connsiteY0-200" fmla="*/ 0 h 974979"/>
                  <a:gd name="connsiteX1-201" fmla="*/ 1528551 w 2409687"/>
                  <a:gd name="connsiteY1-202" fmla="*/ 0 h 974979"/>
                  <a:gd name="connsiteX2-203" fmla="*/ 1523036 w 2409687"/>
                  <a:gd name="connsiteY2-204" fmla="*/ 9360 h 974979"/>
                  <a:gd name="connsiteX3-205" fmla="*/ 1509548 w 2409687"/>
                  <a:gd name="connsiteY3-206" fmla="*/ 43354 h 974979"/>
                  <a:gd name="connsiteX4-207" fmla="*/ 1525314 w 2409687"/>
                  <a:gd name="connsiteY4-208" fmla="*/ 141889 h 974979"/>
                  <a:gd name="connsiteX5-209" fmla="*/ 1560786 w 2409687"/>
                  <a:gd name="connsiteY5-210" fmla="*/ 157656 h 974979"/>
                  <a:gd name="connsiteX6-211" fmla="*/ 1600199 w 2409687"/>
                  <a:gd name="connsiteY6-212" fmla="*/ 212834 h 974979"/>
                  <a:gd name="connsiteX7-213" fmla="*/ 1848507 w 2409687"/>
                  <a:gd name="connsiteY7-214" fmla="*/ 283778 h 974979"/>
                  <a:gd name="connsiteX8-215" fmla="*/ 2077107 w 2409687"/>
                  <a:gd name="connsiteY8-216" fmla="*/ 342899 h 974979"/>
                  <a:gd name="connsiteX9-217" fmla="*/ 2225118 w 2409687"/>
                  <a:gd name="connsiteY9-218" fmla="*/ 342898 h 974979"/>
                  <a:gd name="connsiteX10-219" fmla="*/ 2250722 w 2409687"/>
                  <a:gd name="connsiteY10-220" fmla="*/ 488729 h 974979"/>
                  <a:gd name="connsiteX11-221" fmla="*/ 2328210 w 2409687"/>
                  <a:gd name="connsiteY11-222" fmla="*/ 654268 h 974979"/>
                  <a:gd name="connsiteX12-223" fmla="*/ 2374472 w 2409687"/>
                  <a:gd name="connsiteY12-224" fmla="*/ 839513 h 974979"/>
                  <a:gd name="connsiteX13-225" fmla="*/ 2408183 w 2409687"/>
                  <a:gd name="connsiteY13-226" fmla="*/ 965637 h 974979"/>
                  <a:gd name="connsiteX14-227" fmla="*/ 2404242 w 2409687"/>
                  <a:gd name="connsiteY14-228" fmla="*/ 965637 h 974979"/>
                  <a:gd name="connsiteX15-229" fmla="*/ 1229711 w 2409687"/>
                  <a:gd name="connsiteY15-230" fmla="*/ 969577 h 974979"/>
                  <a:gd name="connsiteX16-231" fmla="*/ 0 w 2409687"/>
                  <a:gd name="connsiteY16-232" fmla="*/ 965637 h 974979"/>
                  <a:gd name="connsiteX17-233" fmla="*/ 59121 w 2409687"/>
                  <a:gd name="connsiteY17-234" fmla="*/ 567558 h 974979"/>
                  <a:gd name="connsiteX18-235" fmla="*/ 106417 w 2409687"/>
                  <a:gd name="connsiteY18-236" fmla="*/ 425668 h 974979"/>
                  <a:gd name="connsiteX19-237" fmla="*/ 220717 w 2409687"/>
                  <a:gd name="connsiteY19-238" fmla="*/ 370489 h 974979"/>
                  <a:gd name="connsiteX20-239" fmla="*/ 855280 w 2409687"/>
                  <a:gd name="connsiteY20-240" fmla="*/ 189185 h 974979"/>
                  <a:gd name="connsiteX21-241" fmla="*/ 878929 w 2409687"/>
                  <a:gd name="connsiteY21-242" fmla="*/ 134007 h 974979"/>
                  <a:gd name="connsiteX22-243" fmla="*/ 902576 w 2409687"/>
                  <a:gd name="connsiteY22-244" fmla="*/ 98533 h 974979"/>
                  <a:gd name="connsiteX23-245" fmla="*/ 902083 w 2409687"/>
                  <a:gd name="connsiteY23-246" fmla="*/ 47049 h 974979"/>
                  <a:gd name="connsiteX24-247" fmla="*/ 893028 w 2409687"/>
                  <a:gd name="connsiteY24-248" fmla="*/ 0 h 974979"/>
                  <a:gd name="connsiteX0-249" fmla="*/ 893028 w 2409687"/>
                  <a:gd name="connsiteY0-250" fmla="*/ 0 h 974979"/>
                  <a:gd name="connsiteX1-251" fmla="*/ 1528551 w 2409687"/>
                  <a:gd name="connsiteY1-252" fmla="*/ 0 h 974979"/>
                  <a:gd name="connsiteX2-253" fmla="*/ 1523036 w 2409687"/>
                  <a:gd name="connsiteY2-254" fmla="*/ 9360 h 974979"/>
                  <a:gd name="connsiteX3-255" fmla="*/ 1509548 w 2409687"/>
                  <a:gd name="connsiteY3-256" fmla="*/ 43354 h 974979"/>
                  <a:gd name="connsiteX4-257" fmla="*/ 1525314 w 2409687"/>
                  <a:gd name="connsiteY4-258" fmla="*/ 141889 h 974979"/>
                  <a:gd name="connsiteX5-259" fmla="*/ 1560786 w 2409687"/>
                  <a:gd name="connsiteY5-260" fmla="*/ 157656 h 974979"/>
                  <a:gd name="connsiteX6-261" fmla="*/ 1600199 w 2409687"/>
                  <a:gd name="connsiteY6-262" fmla="*/ 212834 h 974979"/>
                  <a:gd name="connsiteX7-263" fmla="*/ 1848507 w 2409687"/>
                  <a:gd name="connsiteY7-264" fmla="*/ 283778 h 974979"/>
                  <a:gd name="connsiteX8-265" fmla="*/ 2077107 w 2409687"/>
                  <a:gd name="connsiteY8-266" fmla="*/ 342899 h 974979"/>
                  <a:gd name="connsiteX9-267" fmla="*/ 2225118 w 2409687"/>
                  <a:gd name="connsiteY9-268" fmla="*/ 342898 h 974979"/>
                  <a:gd name="connsiteX10-269" fmla="*/ 2250722 w 2409687"/>
                  <a:gd name="connsiteY10-270" fmla="*/ 488729 h 974979"/>
                  <a:gd name="connsiteX11-271" fmla="*/ 2328210 w 2409687"/>
                  <a:gd name="connsiteY11-272" fmla="*/ 654268 h 974979"/>
                  <a:gd name="connsiteX12-273" fmla="*/ 2374472 w 2409687"/>
                  <a:gd name="connsiteY12-274" fmla="*/ 839513 h 974979"/>
                  <a:gd name="connsiteX13-275" fmla="*/ 2408183 w 2409687"/>
                  <a:gd name="connsiteY13-276" fmla="*/ 965637 h 974979"/>
                  <a:gd name="connsiteX14-277" fmla="*/ 2404242 w 2409687"/>
                  <a:gd name="connsiteY14-278" fmla="*/ 965637 h 974979"/>
                  <a:gd name="connsiteX15-279" fmla="*/ 1229711 w 2409687"/>
                  <a:gd name="connsiteY15-280" fmla="*/ 969577 h 974979"/>
                  <a:gd name="connsiteX16-281" fmla="*/ 0 w 2409687"/>
                  <a:gd name="connsiteY16-282" fmla="*/ 965637 h 974979"/>
                  <a:gd name="connsiteX17-283" fmla="*/ 59121 w 2409687"/>
                  <a:gd name="connsiteY17-284" fmla="*/ 567558 h 974979"/>
                  <a:gd name="connsiteX18-285" fmla="*/ 106417 w 2409687"/>
                  <a:gd name="connsiteY18-286" fmla="*/ 425668 h 974979"/>
                  <a:gd name="connsiteX19-287" fmla="*/ 220717 w 2409687"/>
                  <a:gd name="connsiteY19-288" fmla="*/ 370489 h 974979"/>
                  <a:gd name="connsiteX20-289" fmla="*/ 855280 w 2409687"/>
                  <a:gd name="connsiteY20-290" fmla="*/ 189185 h 974979"/>
                  <a:gd name="connsiteX21-291" fmla="*/ 878929 w 2409687"/>
                  <a:gd name="connsiteY21-292" fmla="*/ 134007 h 974979"/>
                  <a:gd name="connsiteX22-293" fmla="*/ 902576 w 2409687"/>
                  <a:gd name="connsiteY22-294" fmla="*/ 98533 h 974979"/>
                  <a:gd name="connsiteX23-295" fmla="*/ 902083 w 2409687"/>
                  <a:gd name="connsiteY23-296" fmla="*/ 47049 h 974979"/>
                  <a:gd name="connsiteX24-297" fmla="*/ 893028 w 2409687"/>
                  <a:gd name="connsiteY24-298" fmla="*/ 0 h 974979"/>
                  <a:gd name="connsiteX0-299" fmla="*/ 893028 w 2409687"/>
                  <a:gd name="connsiteY0-300" fmla="*/ 0 h 974979"/>
                  <a:gd name="connsiteX1-301" fmla="*/ 1528551 w 2409687"/>
                  <a:gd name="connsiteY1-302" fmla="*/ 0 h 974979"/>
                  <a:gd name="connsiteX2-303" fmla="*/ 1523036 w 2409687"/>
                  <a:gd name="connsiteY2-304" fmla="*/ 9360 h 974979"/>
                  <a:gd name="connsiteX3-305" fmla="*/ 1509548 w 2409687"/>
                  <a:gd name="connsiteY3-306" fmla="*/ 43354 h 974979"/>
                  <a:gd name="connsiteX4-307" fmla="*/ 1525314 w 2409687"/>
                  <a:gd name="connsiteY4-308" fmla="*/ 141889 h 974979"/>
                  <a:gd name="connsiteX5-309" fmla="*/ 1560786 w 2409687"/>
                  <a:gd name="connsiteY5-310" fmla="*/ 157656 h 974979"/>
                  <a:gd name="connsiteX6-311" fmla="*/ 1600199 w 2409687"/>
                  <a:gd name="connsiteY6-312" fmla="*/ 212834 h 974979"/>
                  <a:gd name="connsiteX7-313" fmla="*/ 1848507 w 2409687"/>
                  <a:gd name="connsiteY7-314" fmla="*/ 283778 h 974979"/>
                  <a:gd name="connsiteX8-315" fmla="*/ 2077107 w 2409687"/>
                  <a:gd name="connsiteY8-316" fmla="*/ 342899 h 974979"/>
                  <a:gd name="connsiteX9-317" fmla="*/ 2225118 w 2409687"/>
                  <a:gd name="connsiteY9-318" fmla="*/ 342898 h 974979"/>
                  <a:gd name="connsiteX10-319" fmla="*/ 2288068 w 2409687"/>
                  <a:gd name="connsiteY10-320" fmla="*/ 528143 h 974979"/>
                  <a:gd name="connsiteX11-321" fmla="*/ 2328210 w 2409687"/>
                  <a:gd name="connsiteY11-322" fmla="*/ 654268 h 974979"/>
                  <a:gd name="connsiteX12-323" fmla="*/ 2374472 w 2409687"/>
                  <a:gd name="connsiteY12-324" fmla="*/ 839513 h 974979"/>
                  <a:gd name="connsiteX13-325" fmla="*/ 2408183 w 2409687"/>
                  <a:gd name="connsiteY13-326" fmla="*/ 965637 h 974979"/>
                  <a:gd name="connsiteX14-327" fmla="*/ 2404242 w 2409687"/>
                  <a:gd name="connsiteY14-328" fmla="*/ 965637 h 974979"/>
                  <a:gd name="connsiteX15-329" fmla="*/ 1229711 w 2409687"/>
                  <a:gd name="connsiteY15-330" fmla="*/ 969577 h 974979"/>
                  <a:gd name="connsiteX16-331" fmla="*/ 0 w 2409687"/>
                  <a:gd name="connsiteY16-332" fmla="*/ 965637 h 974979"/>
                  <a:gd name="connsiteX17-333" fmla="*/ 59121 w 2409687"/>
                  <a:gd name="connsiteY17-334" fmla="*/ 567558 h 974979"/>
                  <a:gd name="connsiteX18-335" fmla="*/ 106417 w 2409687"/>
                  <a:gd name="connsiteY18-336" fmla="*/ 425668 h 974979"/>
                  <a:gd name="connsiteX19-337" fmla="*/ 220717 w 2409687"/>
                  <a:gd name="connsiteY19-338" fmla="*/ 370489 h 974979"/>
                  <a:gd name="connsiteX20-339" fmla="*/ 855280 w 2409687"/>
                  <a:gd name="connsiteY20-340" fmla="*/ 189185 h 974979"/>
                  <a:gd name="connsiteX21-341" fmla="*/ 878929 w 2409687"/>
                  <a:gd name="connsiteY21-342" fmla="*/ 134007 h 974979"/>
                  <a:gd name="connsiteX22-343" fmla="*/ 902576 w 2409687"/>
                  <a:gd name="connsiteY22-344" fmla="*/ 98533 h 974979"/>
                  <a:gd name="connsiteX23-345" fmla="*/ 902083 w 2409687"/>
                  <a:gd name="connsiteY23-346" fmla="*/ 47049 h 974979"/>
                  <a:gd name="connsiteX24-347" fmla="*/ 893028 w 2409687"/>
                  <a:gd name="connsiteY24-348" fmla="*/ 0 h 974979"/>
                  <a:gd name="connsiteX0-349" fmla="*/ 893028 w 2409687"/>
                  <a:gd name="connsiteY0-350" fmla="*/ 0 h 974979"/>
                  <a:gd name="connsiteX1-351" fmla="*/ 1528551 w 2409687"/>
                  <a:gd name="connsiteY1-352" fmla="*/ 0 h 974979"/>
                  <a:gd name="connsiteX2-353" fmla="*/ 1523036 w 2409687"/>
                  <a:gd name="connsiteY2-354" fmla="*/ 9360 h 974979"/>
                  <a:gd name="connsiteX3-355" fmla="*/ 1509548 w 2409687"/>
                  <a:gd name="connsiteY3-356" fmla="*/ 43354 h 974979"/>
                  <a:gd name="connsiteX4-357" fmla="*/ 1525314 w 2409687"/>
                  <a:gd name="connsiteY4-358" fmla="*/ 141889 h 974979"/>
                  <a:gd name="connsiteX5-359" fmla="*/ 1560786 w 2409687"/>
                  <a:gd name="connsiteY5-360" fmla="*/ 157656 h 974979"/>
                  <a:gd name="connsiteX6-361" fmla="*/ 1600199 w 2409687"/>
                  <a:gd name="connsiteY6-362" fmla="*/ 212834 h 974979"/>
                  <a:gd name="connsiteX7-363" fmla="*/ 1848507 w 2409687"/>
                  <a:gd name="connsiteY7-364" fmla="*/ 283778 h 974979"/>
                  <a:gd name="connsiteX8-365" fmla="*/ 2077107 w 2409687"/>
                  <a:gd name="connsiteY8-366" fmla="*/ 342899 h 974979"/>
                  <a:gd name="connsiteX9-367" fmla="*/ 2225119 w 2409687"/>
                  <a:gd name="connsiteY9-368" fmla="*/ 413843 h 974979"/>
                  <a:gd name="connsiteX10-369" fmla="*/ 2288068 w 2409687"/>
                  <a:gd name="connsiteY10-370" fmla="*/ 528143 h 974979"/>
                  <a:gd name="connsiteX11-371" fmla="*/ 2328210 w 2409687"/>
                  <a:gd name="connsiteY11-372" fmla="*/ 654268 h 974979"/>
                  <a:gd name="connsiteX12-373" fmla="*/ 2374472 w 2409687"/>
                  <a:gd name="connsiteY12-374" fmla="*/ 839513 h 974979"/>
                  <a:gd name="connsiteX13-375" fmla="*/ 2408183 w 2409687"/>
                  <a:gd name="connsiteY13-376" fmla="*/ 965637 h 974979"/>
                  <a:gd name="connsiteX14-377" fmla="*/ 2404242 w 2409687"/>
                  <a:gd name="connsiteY14-378" fmla="*/ 965637 h 974979"/>
                  <a:gd name="connsiteX15-379" fmla="*/ 1229711 w 2409687"/>
                  <a:gd name="connsiteY15-380" fmla="*/ 969577 h 974979"/>
                  <a:gd name="connsiteX16-381" fmla="*/ 0 w 2409687"/>
                  <a:gd name="connsiteY16-382" fmla="*/ 965637 h 974979"/>
                  <a:gd name="connsiteX17-383" fmla="*/ 59121 w 2409687"/>
                  <a:gd name="connsiteY17-384" fmla="*/ 567558 h 974979"/>
                  <a:gd name="connsiteX18-385" fmla="*/ 106417 w 2409687"/>
                  <a:gd name="connsiteY18-386" fmla="*/ 425668 h 974979"/>
                  <a:gd name="connsiteX19-387" fmla="*/ 220717 w 2409687"/>
                  <a:gd name="connsiteY19-388" fmla="*/ 370489 h 974979"/>
                  <a:gd name="connsiteX20-389" fmla="*/ 855280 w 2409687"/>
                  <a:gd name="connsiteY20-390" fmla="*/ 189185 h 974979"/>
                  <a:gd name="connsiteX21-391" fmla="*/ 878929 w 2409687"/>
                  <a:gd name="connsiteY21-392" fmla="*/ 134007 h 974979"/>
                  <a:gd name="connsiteX22-393" fmla="*/ 902576 w 2409687"/>
                  <a:gd name="connsiteY22-394" fmla="*/ 98533 h 974979"/>
                  <a:gd name="connsiteX23-395" fmla="*/ 902083 w 2409687"/>
                  <a:gd name="connsiteY23-396" fmla="*/ 47049 h 974979"/>
                  <a:gd name="connsiteX24-397" fmla="*/ 893028 w 2409687"/>
                  <a:gd name="connsiteY24-398" fmla="*/ 0 h 974979"/>
                  <a:gd name="connsiteX0-399" fmla="*/ 893028 w 2409687"/>
                  <a:gd name="connsiteY0-400" fmla="*/ 0 h 974979"/>
                  <a:gd name="connsiteX1-401" fmla="*/ 1528551 w 2409687"/>
                  <a:gd name="connsiteY1-402" fmla="*/ 0 h 974979"/>
                  <a:gd name="connsiteX2-403" fmla="*/ 1523036 w 2409687"/>
                  <a:gd name="connsiteY2-404" fmla="*/ 9360 h 974979"/>
                  <a:gd name="connsiteX3-405" fmla="*/ 1509548 w 2409687"/>
                  <a:gd name="connsiteY3-406" fmla="*/ 43354 h 974979"/>
                  <a:gd name="connsiteX4-407" fmla="*/ 1525314 w 2409687"/>
                  <a:gd name="connsiteY4-408" fmla="*/ 141889 h 974979"/>
                  <a:gd name="connsiteX5-409" fmla="*/ 1560786 w 2409687"/>
                  <a:gd name="connsiteY5-410" fmla="*/ 157656 h 974979"/>
                  <a:gd name="connsiteX6-411" fmla="*/ 1600199 w 2409687"/>
                  <a:gd name="connsiteY6-412" fmla="*/ 212834 h 974979"/>
                  <a:gd name="connsiteX7-413" fmla="*/ 1848507 w 2409687"/>
                  <a:gd name="connsiteY7-414" fmla="*/ 283778 h 974979"/>
                  <a:gd name="connsiteX8-415" fmla="*/ 2077107 w 2409687"/>
                  <a:gd name="connsiteY8-416" fmla="*/ 342899 h 974979"/>
                  <a:gd name="connsiteX9-417" fmla="*/ 2225119 w 2409687"/>
                  <a:gd name="connsiteY9-418" fmla="*/ 413843 h 974979"/>
                  <a:gd name="connsiteX10-419" fmla="*/ 2288068 w 2409687"/>
                  <a:gd name="connsiteY10-420" fmla="*/ 528143 h 974979"/>
                  <a:gd name="connsiteX11-421" fmla="*/ 2328210 w 2409687"/>
                  <a:gd name="connsiteY11-422" fmla="*/ 654268 h 974979"/>
                  <a:gd name="connsiteX12-423" fmla="*/ 2374472 w 2409687"/>
                  <a:gd name="connsiteY12-424" fmla="*/ 839513 h 974979"/>
                  <a:gd name="connsiteX13-425" fmla="*/ 2408183 w 2409687"/>
                  <a:gd name="connsiteY13-426" fmla="*/ 965637 h 974979"/>
                  <a:gd name="connsiteX14-427" fmla="*/ 2404242 w 2409687"/>
                  <a:gd name="connsiteY14-428" fmla="*/ 965637 h 974979"/>
                  <a:gd name="connsiteX15-429" fmla="*/ 1229711 w 2409687"/>
                  <a:gd name="connsiteY15-430" fmla="*/ 969577 h 974979"/>
                  <a:gd name="connsiteX16-431" fmla="*/ 0 w 2409687"/>
                  <a:gd name="connsiteY16-432" fmla="*/ 965637 h 974979"/>
                  <a:gd name="connsiteX17-433" fmla="*/ 40448 w 2409687"/>
                  <a:gd name="connsiteY17-434" fmla="*/ 693682 h 974979"/>
                  <a:gd name="connsiteX18-435" fmla="*/ 106417 w 2409687"/>
                  <a:gd name="connsiteY18-436" fmla="*/ 425668 h 974979"/>
                  <a:gd name="connsiteX19-437" fmla="*/ 220717 w 2409687"/>
                  <a:gd name="connsiteY19-438" fmla="*/ 370489 h 974979"/>
                  <a:gd name="connsiteX20-439" fmla="*/ 855280 w 2409687"/>
                  <a:gd name="connsiteY20-440" fmla="*/ 189185 h 974979"/>
                  <a:gd name="connsiteX21-441" fmla="*/ 878929 w 2409687"/>
                  <a:gd name="connsiteY21-442" fmla="*/ 134007 h 974979"/>
                  <a:gd name="connsiteX22-443" fmla="*/ 902576 w 2409687"/>
                  <a:gd name="connsiteY22-444" fmla="*/ 98533 h 974979"/>
                  <a:gd name="connsiteX23-445" fmla="*/ 902083 w 2409687"/>
                  <a:gd name="connsiteY23-446" fmla="*/ 47049 h 974979"/>
                  <a:gd name="connsiteX24-447" fmla="*/ 893028 w 2409687"/>
                  <a:gd name="connsiteY24-448" fmla="*/ 0 h 974979"/>
                  <a:gd name="connsiteX0-449" fmla="*/ 893028 w 2409687"/>
                  <a:gd name="connsiteY0-450" fmla="*/ 0 h 974979"/>
                  <a:gd name="connsiteX1-451" fmla="*/ 1528551 w 2409687"/>
                  <a:gd name="connsiteY1-452" fmla="*/ 0 h 974979"/>
                  <a:gd name="connsiteX2-453" fmla="*/ 1523036 w 2409687"/>
                  <a:gd name="connsiteY2-454" fmla="*/ 9360 h 974979"/>
                  <a:gd name="connsiteX3-455" fmla="*/ 1509548 w 2409687"/>
                  <a:gd name="connsiteY3-456" fmla="*/ 43354 h 974979"/>
                  <a:gd name="connsiteX4-457" fmla="*/ 1525314 w 2409687"/>
                  <a:gd name="connsiteY4-458" fmla="*/ 141889 h 974979"/>
                  <a:gd name="connsiteX5-459" fmla="*/ 1560786 w 2409687"/>
                  <a:gd name="connsiteY5-460" fmla="*/ 157656 h 974979"/>
                  <a:gd name="connsiteX6-461" fmla="*/ 1600199 w 2409687"/>
                  <a:gd name="connsiteY6-462" fmla="*/ 212834 h 974979"/>
                  <a:gd name="connsiteX7-463" fmla="*/ 1848507 w 2409687"/>
                  <a:gd name="connsiteY7-464" fmla="*/ 283778 h 974979"/>
                  <a:gd name="connsiteX8-465" fmla="*/ 2077107 w 2409687"/>
                  <a:gd name="connsiteY8-466" fmla="*/ 342899 h 974979"/>
                  <a:gd name="connsiteX9-467" fmla="*/ 2225119 w 2409687"/>
                  <a:gd name="connsiteY9-468" fmla="*/ 413843 h 974979"/>
                  <a:gd name="connsiteX10-469" fmla="*/ 2288068 w 2409687"/>
                  <a:gd name="connsiteY10-470" fmla="*/ 528143 h 974979"/>
                  <a:gd name="connsiteX11-471" fmla="*/ 2328210 w 2409687"/>
                  <a:gd name="connsiteY11-472" fmla="*/ 654268 h 974979"/>
                  <a:gd name="connsiteX12-473" fmla="*/ 2374472 w 2409687"/>
                  <a:gd name="connsiteY12-474" fmla="*/ 839513 h 974979"/>
                  <a:gd name="connsiteX13-475" fmla="*/ 2408183 w 2409687"/>
                  <a:gd name="connsiteY13-476" fmla="*/ 965637 h 974979"/>
                  <a:gd name="connsiteX14-477" fmla="*/ 2404242 w 2409687"/>
                  <a:gd name="connsiteY14-478" fmla="*/ 965637 h 974979"/>
                  <a:gd name="connsiteX15-479" fmla="*/ 1229711 w 2409687"/>
                  <a:gd name="connsiteY15-480" fmla="*/ 969577 h 974979"/>
                  <a:gd name="connsiteX16-481" fmla="*/ 0 w 2409687"/>
                  <a:gd name="connsiteY16-482" fmla="*/ 965637 h 974979"/>
                  <a:gd name="connsiteX17-483" fmla="*/ 40448 w 2409687"/>
                  <a:gd name="connsiteY17-484" fmla="*/ 693682 h 974979"/>
                  <a:gd name="connsiteX18-485" fmla="*/ 106417 w 2409687"/>
                  <a:gd name="connsiteY18-486" fmla="*/ 425668 h 974979"/>
                  <a:gd name="connsiteX19-487" fmla="*/ 253395 w 2409687"/>
                  <a:gd name="connsiteY19-488" fmla="*/ 354724 h 974979"/>
                  <a:gd name="connsiteX20-489" fmla="*/ 855280 w 2409687"/>
                  <a:gd name="connsiteY20-490" fmla="*/ 189185 h 974979"/>
                  <a:gd name="connsiteX21-491" fmla="*/ 878929 w 2409687"/>
                  <a:gd name="connsiteY21-492" fmla="*/ 134007 h 974979"/>
                  <a:gd name="connsiteX22-493" fmla="*/ 902576 w 2409687"/>
                  <a:gd name="connsiteY22-494" fmla="*/ 98533 h 974979"/>
                  <a:gd name="connsiteX23-495" fmla="*/ 902083 w 2409687"/>
                  <a:gd name="connsiteY23-496" fmla="*/ 47049 h 974979"/>
                  <a:gd name="connsiteX24-497" fmla="*/ 893028 w 2409687"/>
                  <a:gd name="connsiteY24-498" fmla="*/ 0 h 974979"/>
                  <a:gd name="connsiteX0-499" fmla="*/ 893028 w 2409687"/>
                  <a:gd name="connsiteY0-500" fmla="*/ 0 h 974979"/>
                  <a:gd name="connsiteX1-501" fmla="*/ 1528551 w 2409687"/>
                  <a:gd name="connsiteY1-502" fmla="*/ 0 h 974979"/>
                  <a:gd name="connsiteX2-503" fmla="*/ 1523036 w 2409687"/>
                  <a:gd name="connsiteY2-504" fmla="*/ 9360 h 974979"/>
                  <a:gd name="connsiteX3-505" fmla="*/ 1509548 w 2409687"/>
                  <a:gd name="connsiteY3-506" fmla="*/ 43354 h 974979"/>
                  <a:gd name="connsiteX4-507" fmla="*/ 1525314 w 2409687"/>
                  <a:gd name="connsiteY4-508" fmla="*/ 141889 h 974979"/>
                  <a:gd name="connsiteX5-509" fmla="*/ 1560786 w 2409687"/>
                  <a:gd name="connsiteY5-510" fmla="*/ 157656 h 974979"/>
                  <a:gd name="connsiteX6-511" fmla="*/ 1600199 w 2409687"/>
                  <a:gd name="connsiteY6-512" fmla="*/ 212834 h 974979"/>
                  <a:gd name="connsiteX7-513" fmla="*/ 1848507 w 2409687"/>
                  <a:gd name="connsiteY7-514" fmla="*/ 283778 h 974979"/>
                  <a:gd name="connsiteX8-515" fmla="*/ 2077107 w 2409687"/>
                  <a:gd name="connsiteY8-516" fmla="*/ 342899 h 974979"/>
                  <a:gd name="connsiteX9-517" fmla="*/ 2225119 w 2409687"/>
                  <a:gd name="connsiteY9-518" fmla="*/ 413843 h 974979"/>
                  <a:gd name="connsiteX10-519" fmla="*/ 2288068 w 2409687"/>
                  <a:gd name="connsiteY10-520" fmla="*/ 528143 h 974979"/>
                  <a:gd name="connsiteX11-521" fmla="*/ 2328210 w 2409687"/>
                  <a:gd name="connsiteY11-522" fmla="*/ 654268 h 974979"/>
                  <a:gd name="connsiteX12-523" fmla="*/ 2374472 w 2409687"/>
                  <a:gd name="connsiteY12-524" fmla="*/ 839513 h 974979"/>
                  <a:gd name="connsiteX13-525" fmla="*/ 2408183 w 2409687"/>
                  <a:gd name="connsiteY13-526" fmla="*/ 965637 h 974979"/>
                  <a:gd name="connsiteX14-527" fmla="*/ 2404242 w 2409687"/>
                  <a:gd name="connsiteY14-528" fmla="*/ 965637 h 974979"/>
                  <a:gd name="connsiteX15-529" fmla="*/ 1229711 w 2409687"/>
                  <a:gd name="connsiteY15-530" fmla="*/ 969577 h 974979"/>
                  <a:gd name="connsiteX16-531" fmla="*/ 0 w 2409687"/>
                  <a:gd name="connsiteY16-532" fmla="*/ 965637 h 974979"/>
                  <a:gd name="connsiteX17-533" fmla="*/ 40448 w 2409687"/>
                  <a:gd name="connsiteY17-534" fmla="*/ 693682 h 974979"/>
                  <a:gd name="connsiteX18-535" fmla="*/ 101749 w 2409687"/>
                  <a:gd name="connsiteY18-536" fmla="*/ 476905 h 974979"/>
                  <a:gd name="connsiteX19-537" fmla="*/ 253395 w 2409687"/>
                  <a:gd name="connsiteY19-538" fmla="*/ 354724 h 974979"/>
                  <a:gd name="connsiteX20-539" fmla="*/ 855280 w 2409687"/>
                  <a:gd name="connsiteY20-540" fmla="*/ 189185 h 974979"/>
                  <a:gd name="connsiteX21-541" fmla="*/ 878929 w 2409687"/>
                  <a:gd name="connsiteY21-542" fmla="*/ 134007 h 974979"/>
                  <a:gd name="connsiteX22-543" fmla="*/ 902576 w 2409687"/>
                  <a:gd name="connsiteY22-544" fmla="*/ 98533 h 974979"/>
                  <a:gd name="connsiteX23-545" fmla="*/ 902083 w 2409687"/>
                  <a:gd name="connsiteY23-546" fmla="*/ 47049 h 974979"/>
                  <a:gd name="connsiteX24-547" fmla="*/ 893028 w 2409687"/>
                  <a:gd name="connsiteY24-548" fmla="*/ 0 h 974979"/>
                  <a:gd name="connsiteX0-549" fmla="*/ 893028 w 2409687"/>
                  <a:gd name="connsiteY0-550" fmla="*/ 0 h 974979"/>
                  <a:gd name="connsiteX1-551" fmla="*/ 1528551 w 2409687"/>
                  <a:gd name="connsiteY1-552" fmla="*/ 0 h 974979"/>
                  <a:gd name="connsiteX2-553" fmla="*/ 1523036 w 2409687"/>
                  <a:gd name="connsiteY2-554" fmla="*/ 9360 h 974979"/>
                  <a:gd name="connsiteX3-555" fmla="*/ 1509548 w 2409687"/>
                  <a:gd name="connsiteY3-556" fmla="*/ 43354 h 974979"/>
                  <a:gd name="connsiteX4-557" fmla="*/ 1525314 w 2409687"/>
                  <a:gd name="connsiteY4-558" fmla="*/ 141889 h 974979"/>
                  <a:gd name="connsiteX5-559" fmla="*/ 1560786 w 2409687"/>
                  <a:gd name="connsiteY5-560" fmla="*/ 157656 h 974979"/>
                  <a:gd name="connsiteX6-561" fmla="*/ 1600199 w 2409687"/>
                  <a:gd name="connsiteY6-562" fmla="*/ 212834 h 974979"/>
                  <a:gd name="connsiteX7-563" fmla="*/ 1848507 w 2409687"/>
                  <a:gd name="connsiteY7-564" fmla="*/ 283778 h 974979"/>
                  <a:gd name="connsiteX8-565" fmla="*/ 2077107 w 2409687"/>
                  <a:gd name="connsiteY8-566" fmla="*/ 342899 h 974979"/>
                  <a:gd name="connsiteX9-567" fmla="*/ 2225119 w 2409687"/>
                  <a:gd name="connsiteY9-568" fmla="*/ 413843 h 974979"/>
                  <a:gd name="connsiteX10-569" fmla="*/ 2288068 w 2409687"/>
                  <a:gd name="connsiteY10-570" fmla="*/ 528143 h 974979"/>
                  <a:gd name="connsiteX11-571" fmla="*/ 2328210 w 2409687"/>
                  <a:gd name="connsiteY11-572" fmla="*/ 654268 h 974979"/>
                  <a:gd name="connsiteX12-573" fmla="*/ 2374472 w 2409687"/>
                  <a:gd name="connsiteY12-574" fmla="*/ 839513 h 974979"/>
                  <a:gd name="connsiteX13-575" fmla="*/ 2408183 w 2409687"/>
                  <a:gd name="connsiteY13-576" fmla="*/ 965637 h 974979"/>
                  <a:gd name="connsiteX14-577" fmla="*/ 2404242 w 2409687"/>
                  <a:gd name="connsiteY14-578" fmla="*/ 965637 h 974979"/>
                  <a:gd name="connsiteX15-579" fmla="*/ 1229711 w 2409687"/>
                  <a:gd name="connsiteY15-580" fmla="*/ 969577 h 974979"/>
                  <a:gd name="connsiteX16-581" fmla="*/ 0 w 2409687"/>
                  <a:gd name="connsiteY16-582" fmla="*/ 965637 h 974979"/>
                  <a:gd name="connsiteX17-583" fmla="*/ 40448 w 2409687"/>
                  <a:gd name="connsiteY17-584" fmla="*/ 693682 h 974979"/>
                  <a:gd name="connsiteX18-585" fmla="*/ 101749 w 2409687"/>
                  <a:gd name="connsiteY18-586" fmla="*/ 476905 h 974979"/>
                  <a:gd name="connsiteX19-587" fmla="*/ 253395 w 2409687"/>
                  <a:gd name="connsiteY19-588" fmla="*/ 354724 h 974979"/>
                  <a:gd name="connsiteX20-589" fmla="*/ 855280 w 2409687"/>
                  <a:gd name="connsiteY20-590" fmla="*/ 189185 h 974979"/>
                  <a:gd name="connsiteX21-591" fmla="*/ 878929 w 2409687"/>
                  <a:gd name="connsiteY21-592" fmla="*/ 134007 h 974979"/>
                  <a:gd name="connsiteX22-593" fmla="*/ 902576 w 2409687"/>
                  <a:gd name="connsiteY22-594" fmla="*/ 98533 h 974979"/>
                  <a:gd name="connsiteX23-595" fmla="*/ 902083 w 2409687"/>
                  <a:gd name="connsiteY23-596" fmla="*/ 47049 h 974979"/>
                  <a:gd name="connsiteX24-597" fmla="*/ 893028 w 2409687"/>
                  <a:gd name="connsiteY24-598" fmla="*/ 0 h 974979"/>
                  <a:gd name="connsiteX0-599" fmla="*/ 893028 w 2409687"/>
                  <a:gd name="connsiteY0-600" fmla="*/ 0 h 974979"/>
                  <a:gd name="connsiteX1-601" fmla="*/ 1528551 w 2409687"/>
                  <a:gd name="connsiteY1-602" fmla="*/ 0 h 974979"/>
                  <a:gd name="connsiteX2-603" fmla="*/ 1523036 w 2409687"/>
                  <a:gd name="connsiteY2-604" fmla="*/ 9360 h 974979"/>
                  <a:gd name="connsiteX3-605" fmla="*/ 1509548 w 2409687"/>
                  <a:gd name="connsiteY3-606" fmla="*/ 43354 h 974979"/>
                  <a:gd name="connsiteX4-607" fmla="*/ 1525314 w 2409687"/>
                  <a:gd name="connsiteY4-608" fmla="*/ 141889 h 974979"/>
                  <a:gd name="connsiteX5-609" fmla="*/ 1560786 w 2409687"/>
                  <a:gd name="connsiteY5-610" fmla="*/ 157656 h 974979"/>
                  <a:gd name="connsiteX6-611" fmla="*/ 1600199 w 2409687"/>
                  <a:gd name="connsiteY6-612" fmla="*/ 212834 h 974979"/>
                  <a:gd name="connsiteX7-613" fmla="*/ 1848507 w 2409687"/>
                  <a:gd name="connsiteY7-614" fmla="*/ 283778 h 974979"/>
                  <a:gd name="connsiteX8-615" fmla="*/ 2077107 w 2409687"/>
                  <a:gd name="connsiteY8-616" fmla="*/ 342899 h 974979"/>
                  <a:gd name="connsiteX9-617" fmla="*/ 2225119 w 2409687"/>
                  <a:gd name="connsiteY9-618" fmla="*/ 413843 h 974979"/>
                  <a:gd name="connsiteX10-619" fmla="*/ 2288068 w 2409687"/>
                  <a:gd name="connsiteY10-620" fmla="*/ 528143 h 974979"/>
                  <a:gd name="connsiteX11-621" fmla="*/ 2328210 w 2409687"/>
                  <a:gd name="connsiteY11-622" fmla="*/ 654268 h 974979"/>
                  <a:gd name="connsiteX12-623" fmla="*/ 2374472 w 2409687"/>
                  <a:gd name="connsiteY12-624" fmla="*/ 839513 h 974979"/>
                  <a:gd name="connsiteX13-625" fmla="*/ 2408183 w 2409687"/>
                  <a:gd name="connsiteY13-626" fmla="*/ 965637 h 974979"/>
                  <a:gd name="connsiteX14-627" fmla="*/ 2404242 w 2409687"/>
                  <a:gd name="connsiteY14-628" fmla="*/ 965637 h 974979"/>
                  <a:gd name="connsiteX15-629" fmla="*/ 1229711 w 2409687"/>
                  <a:gd name="connsiteY15-630" fmla="*/ 969577 h 974979"/>
                  <a:gd name="connsiteX16-631" fmla="*/ 0 w 2409687"/>
                  <a:gd name="connsiteY16-632" fmla="*/ 965637 h 974979"/>
                  <a:gd name="connsiteX17-633" fmla="*/ 40448 w 2409687"/>
                  <a:gd name="connsiteY17-634" fmla="*/ 693682 h 974979"/>
                  <a:gd name="connsiteX18-635" fmla="*/ 73740 w 2409687"/>
                  <a:gd name="connsiteY18-636" fmla="*/ 496612 h 974979"/>
                  <a:gd name="connsiteX19-637" fmla="*/ 253395 w 2409687"/>
                  <a:gd name="connsiteY19-638" fmla="*/ 354724 h 974979"/>
                  <a:gd name="connsiteX20-639" fmla="*/ 855280 w 2409687"/>
                  <a:gd name="connsiteY20-640" fmla="*/ 189185 h 974979"/>
                  <a:gd name="connsiteX21-641" fmla="*/ 878929 w 2409687"/>
                  <a:gd name="connsiteY21-642" fmla="*/ 134007 h 974979"/>
                  <a:gd name="connsiteX22-643" fmla="*/ 902576 w 2409687"/>
                  <a:gd name="connsiteY22-644" fmla="*/ 98533 h 974979"/>
                  <a:gd name="connsiteX23-645" fmla="*/ 902083 w 2409687"/>
                  <a:gd name="connsiteY23-646" fmla="*/ 47049 h 974979"/>
                  <a:gd name="connsiteX24-647" fmla="*/ 893028 w 2409687"/>
                  <a:gd name="connsiteY24-648" fmla="*/ 0 h 974979"/>
                  <a:gd name="connsiteX0-649" fmla="*/ 893028 w 2409687"/>
                  <a:gd name="connsiteY0-650" fmla="*/ 0 h 974979"/>
                  <a:gd name="connsiteX1-651" fmla="*/ 1528551 w 2409687"/>
                  <a:gd name="connsiteY1-652" fmla="*/ 0 h 974979"/>
                  <a:gd name="connsiteX2-653" fmla="*/ 1523036 w 2409687"/>
                  <a:gd name="connsiteY2-654" fmla="*/ 9360 h 974979"/>
                  <a:gd name="connsiteX3-655" fmla="*/ 1509548 w 2409687"/>
                  <a:gd name="connsiteY3-656" fmla="*/ 43354 h 974979"/>
                  <a:gd name="connsiteX4-657" fmla="*/ 1525314 w 2409687"/>
                  <a:gd name="connsiteY4-658" fmla="*/ 141889 h 974979"/>
                  <a:gd name="connsiteX5-659" fmla="*/ 1560786 w 2409687"/>
                  <a:gd name="connsiteY5-660" fmla="*/ 157656 h 974979"/>
                  <a:gd name="connsiteX6-661" fmla="*/ 1600199 w 2409687"/>
                  <a:gd name="connsiteY6-662" fmla="*/ 212834 h 974979"/>
                  <a:gd name="connsiteX7-663" fmla="*/ 1848507 w 2409687"/>
                  <a:gd name="connsiteY7-664" fmla="*/ 283778 h 974979"/>
                  <a:gd name="connsiteX8-665" fmla="*/ 2077107 w 2409687"/>
                  <a:gd name="connsiteY8-666" fmla="*/ 342899 h 974979"/>
                  <a:gd name="connsiteX9-667" fmla="*/ 2225119 w 2409687"/>
                  <a:gd name="connsiteY9-668" fmla="*/ 413843 h 974979"/>
                  <a:gd name="connsiteX10-669" fmla="*/ 2288068 w 2409687"/>
                  <a:gd name="connsiteY10-670" fmla="*/ 528143 h 974979"/>
                  <a:gd name="connsiteX11-671" fmla="*/ 2328210 w 2409687"/>
                  <a:gd name="connsiteY11-672" fmla="*/ 654268 h 974979"/>
                  <a:gd name="connsiteX12-673" fmla="*/ 2374472 w 2409687"/>
                  <a:gd name="connsiteY12-674" fmla="*/ 839513 h 974979"/>
                  <a:gd name="connsiteX13-675" fmla="*/ 2408183 w 2409687"/>
                  <a:gd name="connsiteY13-676" fmla="*/ 965637 h 974979"/>
                  <a:gd name="connsiteX14-677" fmla="*/ 2404242 w 2409687"/>
                  <a:gd name="connsiteY14-678" fmla="*/ 965637 h 974979"/>
                  <a:gd name="connsiteX15-679" fmla="*/ 1229711 w 2409687"/>
                  <a:gd name="connsiteY15-680" fmla="*/ 969577 h 974979"/>
                  <a:gd name="connsiteX16-681" fmla="*/ 0 w 2409687"/>
                  <a:gd name="connsiteY16-682" fmla="*/ 965637 h 974979"/>
                  <a:gd name="connsiteX17-683" fmla="*/ 40448 w 2409687"/>
                  <a:gd name="connsiteY17-684" fmla="*/ 693682 h 974979"/>
                  <a:gd name="connsiteX18-685" fmla="*/ 73740 w 2409687"/>
                  <a:gd name="connsiteY18-686" fmla="*/ 496612 h 974979"/>
                  <a:gd name="connsiteX19-687" fmla="*/ 253395 w 2409687"/>
                  <a:gd name="connsiteY19-688" fmla="*/ 354724 h 974979"/>
                  <a:gd name="connsiteX20-689" fmla="*/ 855280 w 2409687"/>
                  <a:gd name="connsiteY20-690" fmla="*/ 189185 h 974979"/>
                  <a:gd name="connsiteX21-691" fmla="*/ 878929 w 2409687"/>
                  <a:gd name="connsiteY21-692" fmla="*/ 134007 h 974979"/>
                  <a:gd name="connsiteX22-693" fmla="*/ 902576 w 2409687"/>
                  <a:gd name="connsiteY22-694" fmla="*/ 98533 h 974979"/>
                  <a:gd name="connsiteX23-695" fmla="*/ 902083 w 2409687"/>
                  <a:gd name="connsiteY23-696" fmla="*/ 47049 h 974979"/>
                  <a:gd name="connsiteX24-697" fmla="*/ 893028 w 2409687"/>
                  <a:gd name="connsiteY24-698" fmla="*/ 0 h 97497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97" y="connsiteY24-98"/>
                  </a:cxn>
                </a:cxnLst>
                <a:rect l="l" t="t" r="r" b="b"/>
                <a:pathLst>
                  <a:path w="2409687" h="974979">
                    <a:moveTo>
                      <a:pt x="893028" y="0"/>
                    </a:moveTo>
                    <a:lnTo>
                      <a:pt x="1528551" y="0"/>
                    </a:lnTo>
                    <a:lnTo>
                      <a:pt x="1523036" y="9360"/>
                    </a:lnTo>
                    <a:cubicBezTo>
                      <a:pt x="1514475" y="22169"/>
                      <a:pt x="1510534" y="24633"/>
                      <a:pt x="1509548" y="43354"/>
                    </a:cubicBezTo>
                    <a:cubicBezTo>
                      <a:pt x="1508234" y="68316"/>
                      <a:pt x="1516774" y="122839"/>
                      <a:pt x="1525314" y="141889"/>
                    </a:cubicBezTo>
                    <a:cubicBezTo>
                      <a:pt x="1533854" y="160939"/>
                      <a:pt x="1549619" y="143861"/>
                      <a:pt x="1560786" y="157656"/>
                    </a:cubicBezTo>
                    <a:cubicBezTo>
                      <a:pt x="1571953" y="171451"/>
                      <a:pt x="1552245" y="191814"/>
                      <a:pt x="1600199" y="212834"/>
                    </a:cubicBezTo>
                    <a:cubicBezTo>
                      <a:pt x="1648153" y="233854"/>
                      <a:pt x="1769022" y="262101"/>
                      <a:pt x="1848507" y="283778"/>
                    </a:cubicBezTo>
                    <a:cubicBezTo>
                      <a:pt x="1927992" y="305456"/>
                      <a:pt x="2014338" y="321222"/>
                      <a:pt x="2077107" y="342899"/>
                    </a:cubicBezTo>
                    <a:cubicBezTo>
                      <a:pt x="2139876" y="364576"/>
                      <a:pt x="2189959" y="382969"/>
                      <a:pt x="2225119" y="413843"/>
                    </a:cubicBezTo>
                    <a:cubicBezTo>
                      <a:pt x="2260279" y="444717"/>
                      <a:pt x="2270886" y="488072"/>
                      <a:pt x="2288068" y="528143"/>
                    </a:cubicBezTo>
                    <a:cubicBezTo>
                      <a:pt x="2305250" y="568214"/>
                      <a:pt x="2313809" y="602373"/>
                      <a:pt x="2328210" y="654268"/>
                    </a:cubicBezTo>
                    <a:cubicBezTo>
                      <a:pt x="2342611" y="706163"/>
                      <a:pt x="2361143" y="787618"/>
                      <a:pt x="2374472" y="839513"/>
                    </a:cubicBezTo>
                    <a:cubicBezTo>
                      <a:pt x="2387801" y="891408"/>
                      <a:pt x="2403221" y="944616"/>
                      <a:pt x="2408183" y="965637"/>
                    </a:cubicBezTo>
                    <a:cubicBezTo>
                      <a:pt x="2413145" y="986658"/>
                      <a:pt x="2404242" y="965637"/>
                      <a:pt x="2404242" y="965637"/>
                    </a:cubicBezTo>
                    <a:lnTo>
                      <a:pt x="1229711" y="969577"/>
                    </a:lnTo>
                    <a:cubicBezTo>
                      <a:pt x="951187" y="976803"/>
                      <a:pt x="614855" y="967607"/>
                      <a:pt x="0" y="965637"/>
                    </a:cubicBezTo>
                    <a:cubicBezTo>
                      <a:pt x="1971" y="922282"/>
                      <a:pt x="28158" y="771853"/>
                      <a:pt x="40448" y="693682"/>
                    </a:cubicBezTo>
                    <a:cubicBezTo>
                      <a:pt x="52738" y="615511"/>
                      <a:pt x="52254" y="572812"/>
                      <a:pt x="73740" y="496612"/>
                    </a:cubicBezTo>
                    <a:cubicBezTo>
                      <a:pt x="95226" y="420412"/>
                      <a:pt x="123138" y="405962"/>
                      <a:pt x="253395" y="354724"/>
                    </a:cubicBezTo>
                    <a:cubicBezTo>
                      <a:pt x="383652" y="303486"/>
                      <a:pt x="751024" y="225971"/>
                      <a:pt x="855280" y="189185"/>
                    </a:cubicBezTo>
                    <a:cubicBezTo>
                      <a:pt x="959536" y="152399"/>
                      <a:pt x="871046" y="149116"/>
                      <a:pt x="878929" y="134007"/>
                    </a:cubicBezTo>
                    <a:cubicBezTo>
                      <a:pt x="886812" y="118898"/>
                      <a:pt x="900606" y="122838"/>
                      <a:pt x="902576" y="98533"/>
                    </a:cubicBezTo>
                    <a:cubicBezTo>
                      <a:pt x="903561" y="86381"/>
                      <a:pt x="903726" y="67331"/>
                      <a:pt x="902083" y="47049"/>
                    </a:cubicBezTo>
                    <a:lnTo>
                      <a:pt x="893028"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sp>
            <p:nvSpPr>
              <p:cNvPr id="118" name="Freeform 117"/>
              <p:cNvSpPr/>
              <p:nvPr/>
            </p:nvSpPr>
            <p:spPr>
              <a:xfrm>
                <a:off x="7205026" y="3158061"/>
                <a:ext cx="1664828" cy="1671156"/>
              </a:xfrm>
              <a:custGeom>
                <a:avLst/>
                <a:gdLst>
                  <a:gd name="connsiteX0" fmla="*/ 131823 w 1664828"/>
                  <a:gd name="connsiteY0" fmla="*/ 1630125 h 1640885"/>
                  <a:gd name="connsiteX1" fmla="*/ 52996 w 1664828"/>
                  <a:gd name="connsiteY1" fmla="*/ 1452763 h 1640885"/>
                  <a:gd name="connsiteX2" fmla="*/ 139706 w 1664828"/>
                  <a:gd name="connsiteY2" fmla="*/ 1326638 h 1640885"/>
                  <a:gd name="connsiteX3" fmla="*/ 187003 w 1664828"/>
                  <a:gd name="connsiteY3" fmla="*/ 1302990 h 1640885"/>
                  <a:gd name="connsiteX4" fmla="*/ 183061 w 1664828"/>
                  <a:gd name="connsiteY4" fmla="*/ 1220221 h 1640885"/>
                  <a:gd name="connsiteX5" fmla="*/ 155472 w 1664828"/>
                  <a:gd name="connsiteY5" fmla="*/ 1188690 h 1640885"/>
                  <a:gd name="connsiteX6" fmla="*/ 206709 w 1664828"/>
                  <a:gd name="connsiteY6" fmla="*/ 1109863 h 1640885"/>
                  <a:gd name="connsiteX7" fmla="*/ 254006 w 1664828"/>
                  <a:gd name="connsiteY7" fmla="*/ 1058625 h 1640885"/>
                  <a:gd name="connsiteX8" fmla="*/ 222475 w 1664828"/>
                  <a:gd name="connsiteY8" fmla="*/ 952207 h 1640885"/>
                  <a:gd name="connsiteX9" fmla="*/ 119999 w 1664828"/>
                  <a:gd name="connsiteY9" fmla="*/ 806376 h 1640885"/>
                  <a:gd name="connsiteX10" fmla="*/ 226416 w 1664828"/>
                  <a:gd name="connsiteY10" fmla="*/ 636897 h 1640885"/>
                  <a:gd name="connsiteX11" fmla="*/ 226416 w 1664828"/>
                  <a:gd name="connsiteY11" fmla="*/ 498949 h 1640885"/>
                  <a:gd name="connsiteX12" fmla="*/ 257947 w 1664828"/>
                  <a:gd name="connsiteY12" fmla="*/ 278232 h 1640885"/>
                  <a:gd name="connsiteX13" fmla="*/ 628437 w 1664828"/>
                  <a:gd name="connsiteY13" fmla="*/ 10218 h 1640885"/>
                  <a:gd name="connsiteX14" fmla="*/ 1089578 w 1664828"/>
                  <a:gd name="connsiteY14" fmla="*/ 65397 h 1640885"/>
                  <a:gd name="connsiteX15" fmla="*/ 1199937 w 1664828"/>
                  <a:gd name="connsiteY15" fmla="*/ 156049 h 1640885"/>
                  <a:gd name="connsiteX16" fmla="*/ 1361534 w 1664828"/>
                  <a:gd name="connsiteY16" fmla="*/ 219111 h 1640885"/>
                  <a:gd name="connsiteX17" fmla="*/ 1483716 w 1664828"/>
                  <a:gd name="connsiteY17" fmla="*/ 420121 h 1640885"/>
                  <a:gd name="connsiteX18" fmla="*/ 1436420 w 1664828"/>
                  <a:gd name="connsiteY18" fmla="*/ 609307 h 1640885"/>
                  <a:gd name="connsiteX19" fmla="*/ 1531013 w 1664828"/>
                  <a:gd name="connsiteY19" fmla="*/ 759080 h 1640885"/>
                  <a:gd name="connsiteX20" fmla="*/ 1503423 w 1664828"/>
                  <a:gd name="connsiteY20" fmla="*/ 960090 h 1640885"/>
                  <a:gd name="connsiteX21" fmla="*/ 1590134 w 1664828"/>
                  <a:gd name="connsiteY21" fmla="*/ 1074390 h 1640885"/>
                  <a:gd name="connsiteX22" fmla="*/ 1491599 w 1664828"/>
                  <a:gd name="connsiteY22" fmla="*/ 1322697 h 1640885"/>
                  <a:gd name="connsiteX23" fmla="*/ 1649254 w 1664828"/>
                  <a:gd name="connsiteY23" fmla="*/ 1460645 h 1640885"/>
                  <a:gd name="connsiteX24" fmla="*/ 1487658 w 1664828"/>
                  <a:gd name="connsiteY24" fmla="*/ 1602535 h 1640885"/>
                  <a:gd name="connsiteX25" fmla="*/ 131823 w 1664828"/>
                  <a:gd name="connsiteY25" fmla="*/ 1630125 h 1640885"/>
                  <a:gd name="connsiteX0-1" fmla="*/ 131823 w 1664828"/>
                  <a:gd name="connsiteY0-2" fmla="*/ 1630125 h 1640885"/>
                  <a:gd name="connsiteX1-3" fmla="*/ 52996 w 1664828"/>
                  <a:gd name="connsiteY1-4" fmla="*/ 1452763 h 1640885"/>
                  <a:gd name="connsiteX2-5" fmla="*/ 139706 w 1664828"/>
                  <a:gd name="connsiteY2-6" fmla="*/ 1326638 h 1640885"/>
                  <a:gd name="connsiteX3-7" fmla="*/ 187003 w 1664828"/>
                  <a:gd name="connsiteY3-8" fmla="*/ 1302990 h 1640885"/>
                  <a:gd name="connsiteX4-9" fmla="*/ 183061 w 1664828"/>
                  <a:gd name="connsiteY4-10" fmla="*/ 1220221 h 1640885"/>
                  <a:gd name="connsiteX5-11" fmla="*/ 155472 w 1664828"/>
                  <a:gd name="connsiteY5-12" fmla="*/ 1188690 h 1640885"/>
                  <a:gd name="connsiteX6-13" fmla="*/ 206709 w 1664828"/>
                  <a:gd name="connsiteY6-14" fmla="*/ 1109863 h 1640885"/>
                  <a:gd name="connsiteX7-15" fmla="*/ 254006 w 1664828"/>
                  <a:gd name="connsiteY7-16" fmla="*/ 1058625 h 1640885"/>
                  <a:gd name="connsiteX8-17" fmla="*/ 222475 w 1664828"/>
                  <a:gd name="connsiteY8-18" fmla="*/ 952207 h 1640885"/>
                  <a:gd name="connsiteX9-19" fmla="*/ 119999 w 1664828"/>
                  <a:gd name="connsiteY9-20" fmla="*/ 806376 h 1640885"/>
                  <a:gd name="connsiteX10-21" fmla="*/ 226416 w 1664828"/>
                  <a:gd name="connsiteY10-22" fmla="*/ 636897 h 1640885"/>
                  <a:gd name="connsiteX11-23" fmla="*/ 226416 w 1664828"/>
                  <a:gd name="connsiteY11-24" fmla="*/ 498949 h 1640885"/>
                  <a:gd name="connsiteX12-25" fmla="*/ 257947 w 1664828"/>
                  <a:gd name="connsiteY12-26" fmla="*/ 278232 h 1640885"/>
                  <a:gd name="connsiteX13-27" fmla="*/ 628437 w 1664828"/>
                  <a:gd name="connsiteY13-28" fmla="*/ 10218 h 1640885"/>
                  <a:gd name="connsiteX14-29" fmla="*/ 1089578 w 1664828"/>
                  <a:gd name="connsiteY14-30" fmla="*/ 65397 h 1640885"/>
                  <a:gd name="connsiteX15-31" fmla="*/ 1199937 w 1664828"/>
                  <a:gd name="connsiteY15-32" fmla="*/ 156049 h 1640885"/>
                  <a:gd name="connsiteX16-33" fmla="*/ 1361534 w 1664828"/>
                  <a:gd name="connsiteY16-34" fmla="*/ 219111 h 1640885"/>
                  <a:gd name="connsiteX17-35" fmla="*/ 1483716 w 1664828"/>
                  <a:gd name="connsiteY17-36" fmla="*/ 420121 h 1640885"/>
                  <a:gd name="connsiteX18-37" fmla="*/ 1436420 w 1664828"/>
                  <a:gd name="connsiteY18-38" fmla="*/ 609307 h 1640885"/>
                  <a:gd name="connsiteX19-39" fmla="*/ 1531013 w 1664828"/>
                  <a:gd name="connsiteY19-40" fmla="*/ 759080 h 1640885"/>
                  <a:gd name="connsiteX20-41" fmla="*/ 1503423 w 1664828"/>
                  <a:gd name="connsiteY20-42" fmla="*/ 960090 h 1640885"/>
                  <a:gd name="connsiteX21-43" fmla="*/ 1590134 w 1664828"/>
                  <a:gd name="connsiteY21-44" fmla="*/ 1074390 h 1640885"/>
                  <a:gd name="connsiteX22-45" fmla="*/ 1491599 w 1664828"/>
                  <a:gd name="connsiteY22-46" fmla="*/ 1322697 h 1640885"/>
                  <a:gd name="connsiteX23-47" fmla="*/ 1649254 w 1664828"/>
                  <a:gd name="connsiteY23-48" fmla="*/ 1460645 h 1640885"/>
                  <a:gd name="connsiteX24-49" fmla="*/ 1487658 w 1664828"/>
                  <a:gd name="connsiteY24-50" fmla="*/ 1602535 h 1640885"/>
                  <a:gd name="connsiteX25-51" fmla="*/ 131823 w 1664828"/>
                  <a:gd name="connsiteY25-52" fmla="*/ 1630125 h 1640885"/>
                  <a:gd name="connsiteX0-53" fmla="*/ 131823 w 1664828"/>
                  <a:gd name="connsiteY0-54" fmla="*/ 1630125 h 1640885"/>
                  <a:gd name="connsiteX1-55" fmla="*/ 52996 w 1664828"/>
                  <a:gd name="connsiteY1-56" fmla="*/ 1452763 h 1640885"/>
                  <a:gd name="connsiteX2-57" fmla="*/ 139706 w 1664828"/>
                  <a:gd name="connsiteY2-58" fmla="*/ 1326638 h 1640885"/>
                  <a:gd name="connsiteX3-59" fmla="*/ 187003 w 1664828"/>
                  <a:gd name="connsiteY3-60" fmla="*/ 1302990 h 1640885"/>
                  <a:gd name="connsiteX4-61" fmla="*/ 183061 w 1664828"/>
                  <a:gd name="connsiteY4-62" fmla="*/ 1220221 h 1640885"/>
                  <a:gd name="connsiteX5-63" fmla="*/ 155472 w 1664828"/>
                  <a:gd name="connsiteY5-64" fmla="*/ 1188690 h 1640885"/>
                  <a:gd name="connsiteX6-65" fmla="*/ 206709 w 1664828"/>
                  <a:gd name="connsiteY6-66" fmla="*/ 1109863 h 1640885"/>
                  <a:gd name="connsiteX7-67" fmla="*/ 254006 w 1664828"/>
                  <a:gd name="connsiteY7-68" fmla="*/ 1058625 h 1640885"/>
                  <a:gd name="connsiteX8-69" fmla="*/ 222475 w 1664828"/>
                  <a:gd name="connsiteY8-70" fmla="*/ 952207 h 1640885"/>
                  <a:gd name="connsiteX9-71" fmla="*/ 119999 w 1664828"/>
                  <a:gd name="connsiteY9-72" fmla="*/ 806376 h 1640885"/>
                  <a:gd name="connsiteX10-73" fmla="*/ 226416 w 1664828"/>
                  <a:gd name="connsiteY10-74" fmla="*/ 636897 h 1640885"/>
                  <a:gd name="connsiteX11-75" fmla="*/ 226416 w 1664828"/>
                  <a:gd name="connsiteY11-76" fmla="*/ 498949 h 1640885"/>
                  <a:gd name="connsiteX12-77" fmla="*/ 257947 w 1664828"/>
                  <a:gd name="connsiteY12-78" fmla="*/ 278232 h 1640885"/>
                  <a:gd name="connsiteX13-79" fmla="*/ 628437 w 1664828"/>
                  <a:gd name="connsiteY13-80" fmla="*/ 10218 h 1640885"/>
                  <a:gd name="connsiteX14-81" fmla="*/ 1089578 w 1664828"/>
                  <a:gd name="connsiteY14-82" fmla="*/ 65397 h 1640885"/>
                  <a:gd name="connsiteX15-83" fmla="*/ 1199937 w 1664828"/>
                  <a:gd name="connsiteY15-84" fmla="*/ 156049 h 1640885"/>
                  <a:gd name="connsiteX16-85" fmla="*/ 1361534 w 1664828"/>
                  <a:gd name="connsiteY16-86" fmla="*/ 219111 h 1640885"/>
                  <a:gd name="connsiteX17-87" fmla="*/ 1483716 w 1664828"/>
                  <a:gd name="connsiteY17-88" fmla="*/ 420121 h 1640885"/>
                  <a:gd name="connsiteX18-89" fmla="*/ 1436420 w 1664828"/>
                  <a:gd name="connsiteY18-90" fmla="*/ 609307 h 1640885"/>
                  <a:gd name="connsiteX19-91" fmla="*/ 1531013 w 1664828"/>
                  <a:gd name="connsiteY19-92" fmla="*/ 759080 h 1640885"/>
                  <a:gd name="connsiteX20-93" fmla="*/ 1503423 w 1664828"/>
                  <a:gd name="connsiteY20-94" fmla="*/ 960090 h 1640885"/>
                  <a:gd name="connsiteX21-95" fmla="*/ 1590134 w 1664828"/>
                  <a:gd name="connsiteY21-96" fmla="*/ 1074390 h 1640885"/>
                  <a:gd name="connsiteX22-97" fmla="*/ 1491599 w 1664828"/>
                  <a:gd name="connsiteY22-98" fmla="*/ 1322697 h 1640885"/>
                  <a:gd name="connsiteX23-99" fmla="*/ 1649254 w 1664828"/>
                  <a:gd name="connsiteY23-100" fmla="*/ 1460645 h 1640885"/>
                  <a:gd name="connsiteX24-101" fmla="*/ 1487658 w 1664828"/>
                  <a:gd name="connsiteY24-102" fmla="*/ 1602535 h 1640885"/>
                  <a:gd name="connsiteX25-103" fmla="*/ 131823 w 1664828"/>
                  <a:gd name="connsiteY25-104" fmla="*/ 1630125 h 1640885"/>
                  <a:gd name="connsiteX0-105" fmla="*/ 131823 w 1664828"/>
                  <a:gd name="connsiteY0-106" fmla="*/ 1638599 h 1649359"/>
                  <a:gd name="connsiteX1-107" fmla="*/ 52996 w 1664828"/>
                  <a:gd name="connsiteY1-108" fmla="*/ 1461237 h 1649359"/>
                  <a:gd name="connsiteX2-109" fmla="*/ 139706 w 1664828"/>
                  <a:gd name="connsiteY2-110" fmla="*/ 1335112 h 1649359"/>
                  <a:gd name="connsiteX3-111" fmla="*/ 187003 w 1664828"/>
                  <a:gd name="connsiteY3-112" fmla="*/ 1311464 h 1649359"/>
                  <a:gd name="connsiteX4-113" fmla="*/ 183061 w 1664828"/>
                  <a:gd name="connsiteY4-114" fmla="*/ 1228695 h 1649359"/>
                  <a:gd name="connsiteX5-115" fmla="*/ 155472 w 1664828"/>
                  <a:gd name="connsiteY5-116" fmla="*/ 1197164 h 1649359"/>
                  <a:gd name="connsiteX6-117" fmla="*/ 206709 w 1664828"/>
                  <a:gd name="connsiteY6-118" fmla="*/ 1118337 h 1649359"/>
                  <a:gd name="connsiteX7-119" fmla="*/ 254006 w 1664828"/>
                  <a:gd name="connsiteY7-120" fmla="*/ 1067099 h 1649359"/>
                  <a:gd name="connsiteX8-121" fmla="*/ 222475 w 1664828"/>
                  <a:gd name="connsiteY8-122" fmla="*/ 960681 h 1649359"/>
                  <a:gd name="connsiteX9-123" fmla="*/ 119999 w 1664828"/>
                  <a:gd name="connsiteY9-124" fmla="*/ 814850 h 1649359"/>
                  <a:gd name="connsiteX10-125" fmla="*/ 226416 w 1664828"/>
                  <a:gd name="connsiteY10-126" fmla="*/ 645371 h 1649359"/>
                  <a:gd name="connsiteX11-127" fmla="*/ 226416 w 1664828"/>
                  <a:gd name="connsiteY11-128" fmla="*/ 507423 h 1649359"/>
                  <a:gd name="connsiteX12-129" fmla="*/ 257947 w 1664828"/>
                  <a:gd name="connsiteY12-130" fmla="*/ 286706 h 1649359"/>
                  <a:gd name="connsiteX13-131" fmla="*/ 628437 w 1664828"/>
                  <a:gd name="connsiteY13-132" fmla="*/ 18692 h 1649359"/>
                  <a:gd name="connsiteX14-133" fmla="*/ 1069872 w 1664828"/>
                  <a:gd name="connsiteY14-134" fmla="*/ 38398 h 1649359"/>
                  <a:gd name="connsiteX15-135" fmla="*/ 1199937 w 1664828"/>
                  <a:gd name="connsiteY15-136" fmla="*/ 164523 h 1649359"/>
                  <a:gd name="connsiteX16-137" fmla="*/ 1361534 w 1664828"/>
                  <a:gd name="connsiteY16-138" fmla="*/ 227585 h 1649359"/>
                  <a:gd name="connsiteX17-139" fmla="*/ 1483716 w 1664828"/>
                  <a:gd name="connsiteY17-140" fmla="*/ 428595 h 1649359"/>
                  <a:gd name="connsiteX18-141" fmla="*/ 1436420 w 1664828"/>
                  <a:gd name="connsiteY18-142" fmla="*/ 617781 h 1649359"/>
                  <a:gd name="connsiteX19-143" fmla="*/ 1531013 w 1664828"/>
                  <a:gd name="connsiteY19-144" fmla="*/ 767554 h 1649359"/>
                  <a:gd name="connsiteX20-145" fmla="*/ 1503423 w 1664828"/>
                  <a:gd name="connsiteY20-146" fmla="*/ 968564 h 1649359"/>
                  <a:gd name="connsiteX21-147" fmla="*/ 1590134 w 1664828"/>
                  <a:gd name="connsiteY21-148" fmla="*/ 1082864 h 1649359"/>
                  <a:gd name="connsiteX22-149" fmla="*/ 1491599 w 1664828"/>
                  <a:gd name="connsiteY22-150" fmla="*/ 1331171 h 1649359"/>
                  <a:gd name="connsiteX23-151" fmla="*/ 1649254 w 1664828"/>
                  <a:gd name="connsiteY23-152" fmla="*/ 1469119 h 1649359"/>
                  <a:gd name="connsiteX24-153" fmla="*/ 1487658 w 1664828"/>
                  <a:gd name="connsiteY24-154" fmla="*/ 1611009 h 1649359"/>
                  <a:gd name="connsiteX25-155" fmla="*/ 131823 w 1664828"/>
                  <a:gd name="connsiteY25-156" fmla="*/ 1638599 h 1649359"/>
                  <a:gd name="connsiteX0-157" fmla="*/ 131823 w 1664828"/>
                  <a:gd name="connsiteY0-158" fmla="*/ 1638599 h 1671156"/>
                  <a:gd name="connsiteX1-159" fmla="*/ 52996 w 1664828"/>
                  <a:gd name="connsiteY1-160" fmla="*/ 1461237 h 1671156"/>
                  <a:gd name="connsiteX2-161" fmla="*/ 139706 w 1664828"/>
                  <a:gd name="connsiteY2-162" fmla="*/ 1335112 h 1671156"/>
                  <a:gd name="connsiteX3-163" fmla="*/ 187003 w 1664828"/>
                  <a:gd name="connsiteY3-164" fmla="*/ 1311464 h 1671156"/>
                  <a:gd name="connsiteX4-165" fmla="*/ 183061 w 1664828"/>
                  <a:gd name="connsiteY4-166" fmla="*/ 1228695 h 1671156"/>
                  <a:gd name="connsiteX5-167" fmla="*/ 155472 w 1664828"/>
                  <a:gd name="connsiteY5-168" fmla="*/ 1197164 h 1671156"/>
                  <a:gd name="connsiteX6-169" fmla="*/ 206709 w 1664828"/>
                  <a:gd name="connsiteY6-170" fmla="*/ 1118337 h 1671156"/>
                  <a:gd name="connsiteX7-171" fmla="*/ 254006 w 1664828"/>
                  <a:gd name="connsiteY7-172" fmla="*/ 1067099 h 1671156"/>
                  <a:gd name="connsiteX8-173" fmla="*/ 222475 w 1664828"/>
                  <a:gd name="connsiteY8-174" fmla="*/ 960681 h 1671156"/>
                  <a:gd name="connsiteX9-175" fmla="*/ 119999 w 1664828"/>
                  <a:gd name="connsiteY9-176" fmla="*/ 814850 h 1671156"/>
                  <a:gd name="connsiteX10-177" fmla="*/ 226416 w 1664828"/>
                  <a:gd name="connsiteY10-178" fmla="*/ 645371 h 1671156"/>
                  <a:gd name="connsiteX11-179" fmla="*/ 226416 w 1664828"/>
                  <a:gd name="connsiteY11-180" fmla="*/ 507423 h 1671156"/>
                  <a:gd name="connsiteX12-181" fmla="*/ 257947 w 1664828"/>
                  <a:gd name="connsiteY12-182" fmla="*/ 286706 h 1671156"/>
                  <a:gd name="connsiteX13-183" fmla="*/ 628437 w 1664828"/>
                  <a:gd name="connsiteY13-184" fmla="*/ 18692 h 1671156"/>
                  <a:gd name="connsiteX14-185" fmla="*/ 1069872 w 1664828"/>
                  <a:gd name="connsiteY14-186" fmla="*/ 38398 h 1671156"/>
                  <a:gd name="connsiteX15-187" fmla="*/ 1199937 w 1664828"/>
                  <a:gd name="connsiteY15-188" fmla="*/ 164523 h 1671156"/>
                  <a:gd name="connsiteX16-189" fmla="*/ 1361534 w 1664828"/>
                  <a:gd name="connsiteY16-190" fmla="*/ 227585 h 1671156"/>
                  <a:gd name="connsiteX17-191" fmla="*/ 1483716 w 1664828"/>
                  <a:gd name="connsiteY17-192" fmla="*/ 428595 h 1671156"/>
                  <a:gd name="connsiteX18-193" fmla="*/ 1436420 w 1664828"/>
                  <a:gd name="connsiteY18-194" fmla="*/ 617781 h 1671156"/>
                  <a:gd name="connsiteX19-195" fmla="*/ 1531013 w 1664828"/>
                  <a:gd name="connsiteY19-196" fmla="*/ 767554 h 1671156"/>
                  <a:gd name="connsiteX20-197" fmla="*/ 1503423 w 1664828"/>
                  <a:gd name="connsiteY20-198" fmla="*/ 968564 h 1671156"/>
                  <a:gd name="connsiteX21-199" fmla="*/ 1590134 w 1664828"/>
                  <a:gd name="connsiteY21-200" fmla="*/ 1082864 h 1671156"/>
                  <a:gd name="connsiteX22-201" fmla="*/ 1491599 w 1664828"/>
                  <a:gd name="connsiteY22-202" fmla="*/ 1331171 h 1671156"/>
                  <a:gd name="connsiteX23-203" fmla="*/ 1649254 w 1664828"/>
                  <a:gd name="connsiteY23-204" fmla="*/ 1469119 h 1671156"/>
                  <a:gd name="connsiteX24-205" fmla="*/ 1487658 w 1664828"/>
                  <a:gd name="connsiteY24-206" fmla="*/ 1654364 h 1671156"/>
                  <a:gd name="connsiteX25-207" fmla="*/ 131823 w 1664828"/>
                  <a:gd name="connsiteY25-208" fmla="*/ 1638599 h 167115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Lst>
                <a:rect l="l" t="t" r="r" b="b"/>
                <a:pathLst>
                  <a:path w="1664828" h="1671156">
                    <a:moveTo>
                      <a:pt x="131823" y="1638599"/>
                    </a:moveTo>
                    <a:cubicBezTo>
                      <a:pt x="-107287" y="1606411"/>
                      <a:pt x="51682" y="1511818"/>
                      <a:pt x="52996" y="1461237"/>
                    </a:cubicBezTo>
                    <a:cubicBezTo>
                      <a:pt x="54310" y="1410656"/>
                      <a:pt x="117372" y="1360074"/>
                      <a:pt x="139706" y="1335112"/>
                    </a:cubicBezTo>
                    <a:cubicBezTo>
                      <a:pt x="162040" y="1310150"/>
                      <a:pt x="179777" y="1329200"/>
                      <a:pt x="187003" y="1311464"/>
                    </a:cubicBezTo>
                    <a:cubicBezTo>
                      <a:pt x="194229" y="1293728"/>
                      <a:pt x="188316" y="1247745"/>
                      <a:pt x="183061" y="1228695"/>
                    </a:cubicBezTo>
                    <a:cubicBezTo>
                      <a:pt x="177806" y="1209645"/>
                      <a:pt x="151531" y="1215557"/>
                      <a:pt x="155472" y="1197164"/>
                    </a:cubicBezTo>
                    <a:cubicBezTo>
                      <a:pt x="159413" y="1178771"/>
                      <a:pt x="190287" y="1140014"/>
                      <a:pt x="206709" y="1118337"/>
                    </a:cubicBezTo>
                    <a:cubicBezTo>
                      <a:pt x="223131" y="1096660"/>
                      <a:pt x="251378" y="1093375"/>
                      <a:pt x="254006" y="1067099"/>
                    </a:cubicBezTo>
                    <a:cubicBezTo>
                      <a:pt x="256634" y="1040823"/>
                      <a:pt x="244810" y="1002722"/>
                      <a:pt x="222475" y="960681"/>
                    </a:cubicBezTo>
                    <a:cubicBezTo>
                      <a:pt x="200141" y="918639"/>
                      <a:pt x="119342" y="867402"/>
                      <a:pt x="119999" y="814850"/>
                    </a:cubicBezTo>
                    <a:cubicBezTo>
                      <a:pt x="120656" y="762298"/>
                      <a:pt x="208680" y="696609"/>
                      <a:pt x="226416" y="645371"/>
                    </a:cubicBezTo>
                    <a:cubicBezTo>
                      <a:pt x="244152" y="594133"/>
                      <a:pt x="221161" y="567200"/>
                      <a:pt x="226416" y="507423"/>
                    </a:cubicBezTo>
                    <a:cubicBezTo>
                      <a:pt x="231671" y="447646"/>
                      <a:pt x="190944" y="368161"/>
                      <a:pt x="257947" y="286706"/>
                    </a:cubicBezTo>
                    <a:cubicBezTo>
                      <a:pt x="324950" y="205251"/>
                      <a:pt x="493116" y="60077"/>
                      <a:pt x="628437" y="18692"/>
                    </a:cubicBezTo>
                    <a:cubicBezTo>
                      <a:pt x="763758" y="-22693"/>
                      <a:pt x="974622" y="14093"/>
                      <a:pt x="1069872" y="38398"/>
                    </a:cubicBezTo>
                    <a:cubicBezTo>
                      <a:pt x="1165122" y="62703"/>
                      <a:pt x="1194025" y="134962"/>
                      <a:pt x="1199937" y="164523"/>
                    </a:cubicBezTo>
                    <a:cubicBezTo>
                      <a:pt x="1245263" y="190142"/>
                      <a:pt x="1314238" y="183573"/>
                      <a:pt x="1361534" y="227585"/>
                    </a:cubicBezTo>
                    <a:cubicBezTo>
                      <a:pt x="1408830" y="271597"/>
                      <a:pt x="1471235" y="363562"/>
                      <a:pt x="1483716" y="428595"/>
                    </a:cubicBezTo>
                    <a:cubicBezTo>
                      <a:pt x="1496197" y="493628"/>
                      <a:pt x="1428537" y="561288"/>
                      <a:pt x="1436420" y="617781"/>
                    </a:cubicBezTo>
                    <a:cubicBezTo>
                      <a:pt x="1444303" y="674274"/>
                      <a:pt x="1519846" y="709090"/>
                      <a:pt x="1531013" y="767554"/>
                    </a:cubicBezTo>
                    <a:cubicBezTo>
                      <a:pt x="1542180" y="826018"/>
                      <a:pt x="1493569" y="916012"/>
                      <a:pt x="1503423" y="968564"/>
                    </a:cubicBezTo>
                    <a:cubicBezTo>
                      <a:pt x="1513277" y="1021116"/>
                      <a:pt x="1592105" y="1022430"/>
                      <a:pt x="1590134" y="1082864"/>
                    </a:cubicBezTo>
                    <a:cubicBezTo>
                      <a:pt x="1588163" y="1143298"/>
                      <a:pt x="1481746" y="1266795"/>
                      <a:pt x="1491599" y="1331171"/>
                    </a:cubicBezTo>
                    <a:cubicBezTo>
                      <a:pt x="1501452" y="1395547"/>
                      <a:pt x="1649911" y="1422479"/>
                      <a:pt x="1649254" y="1469119"/>
                    </a:cubicBezTo>
                    <a:cubicBezTo>
                      <a:pt x="1648597" y="1515759"/>
                      <a:pt x="1739906" y="1624147"/>
                      <a:pt x="1487658" y="1654364"/>
                    </a:cubicBezTo>
                    <a:cubicBezTo>
                      <a:pt x="1235410" y="1684581"/>
                      <a:pt x="370933" y="1670787"/>
                      <a:pt x="131823" y="163859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dirty="0">
                  <a:cs typeface="+mn-ea"/>
                  <a:sym typeface="+mn-lt"/>
                </a:endParaRPr>
              </a:p>
            </p:txBody>
          </p:sp>
        </p:grpSp>
        <p:sp>
          <p:nvSpPr>
            <p:cNvPr id="116" name="Freeform 115"/>
            <p:cNvSpPr/>
            <p:nvPr/>
          </p:nvSpPr>
          <p:spPr>
            <a:xfrm rot="21330852" flipH="1">
              <a:off x="7112286" y="5172776"/>
              <a:ext cx="482232" cy="335501"/>
            </a:xfrm>
            <a:custGeom>
              <a:avLst/>
              <a:gdLst>
                <a:gd name="connsiteX0" fmla="*/ 63401 w 367760"/>
                <a:gd name="connsiteY0" fmla="*/ 16730 h 264802"/>
                <a:gd name="connsiteX1" fmla="*/ 150950 w 367760"/>
                <a:gd name="connsiteY1" fmla="*/ 152917 h 264802"/>
                <a:gd name="connsiteX2" fmla="*/ 184997 w 367760"/>
                <a:gd name="connsiteY2" fmla="*/ 186964 h 264802"/>
                <a:gd name="connsiteX3" fmla="*/ 243363 w 367760"/>
                <a:gd name="connsiteY3" fmla="*/ 84824 h 264802"/>
                <a:gd name="connsiteX4" fmla="*/ 272546 w 367760"/>
                <a:gd name="connsiteY4" fmla="*/ 7003 h 264802"/>
                <a:gd name="connsiteX5" fmla="*/ 296865 w 367760"/>
                <a:gd name="connsiteY5" fmla="*/ 7003 h 264802"/>
                <a:gd name="connsiteX6" fmla="*/ 345503 w 367760"/>
                <a:gd name="connsiteY6" fmla="*/ 36186 h 264802"/>
                <a:gd name="connsiteX7" fmla="*/ 364959 w 367760"/>
                <a:gd name="connsiteY7" fmla="*/ 94552 h 264802"/>
                <a:gd name="connsiteX8" fmla="*/ 287137 w 367760"/>
                <a:gd name="connsiteY8" fmla="*/ 118871 h 264802"/>
                <a:gd name="connsiteX9" fmla="*/ 184997 w 367760"/>
                <a:gd name="connsiteY9" fmla="*/ 264786 h 264802"/>
                <a:gd name="connsiteX10" fmla="*/ 82856 w 367760"/>
                <a:gd name="connsiteY10" fmla="*/ 109143 h 264802"/>
                <a:gd name="connsiteX11" fmla="*/ 14763 w 367760"/>
                <a:gd name="connsiteY11" fmla="*/ 89688 h 264802"/>
                <a:gd name="connsiteX12" fmla="*/ 171 w 367760"/>
                <a:gd name="connsiteY12" fmla="*/ 94552 h 264802"/>
                <a:gd name="connsiteX13" fmla="*/ 63401 w 367760"/>
                <a:gd name="connsiteY13" fmla="*/ 16730 h 264802"/>
                <a:gd name="connsiteX0-1" fmla="*/ 63401 w 367760"/>
                <a:gd name="connsiteY0-2" fmla="*/ 16730 h 264802"/>
                <a:gd name="connsiteX1-3" fmla="*/ 150950 w 367760"/>
                <a:gd name="connsiteY1-4" fmla="*/ 152917 h 264802"/>
                <a:gd name="connsiteX2-5" fmla="*/ 184997 w 367760"/>
                <a:gd name="connsiteY2-6" fmla="*/ 186964 h 264802"/>
                <a:gd name="connsiteX3-7" fmla="*/ 243363 w 367760"/>
                <a:gd name="connsiteY3-8" fmla="*/ 84824 h 264802"/>
                <a:gd name="connsiteX4-9" fmla="*/ 272546 w 367760"/>
                <a:gd name="connsiteY4-10" fmla="*/ 7003 h 264802"/>
                <a:gd name="connsiteX5-11" fmla="*/ 296865 w 367760"/>
                <a:gd name="connsiteY5-12" fmla="*/ 7003 h 264802"/>
                <a:gd name="connsiteX6-13" fmla="*/ 345503 w 367760"/>
                <a:gd name="connsiteY6-14" fmla="*/ 36186 h 264802"/>
                <a:gd name="connsiteX7-15" fmla="*/ 364959 w 367760"/>
                <a:gd name="connsiteY7-16" fmla="*/ 94552 h 264802"/>
                <a:gd name="connsiteX8-17" fmla="*/ 287137 w 367760"/>
                <a:gd name="connsiteY8-18" fmla="*/ 118871 h 264802"/>
                <a:gd name="connsiteX9-19" fmla="*/ 184997 w 367760"/>
                <a:gd name="connsiteY9-20" fmla="*/ 264786 h 264802"/>
                <a:gd name="connsiteX10-21" fmla="*/ 82856 w 367760"/>
                <a:gd name="connsiteY10-22" fmla="*/ 109143 h 264802"/>
                <a:gd name="connsiteX11-23" fmla="*/ 14763 w 367760"/>
                <a:gd name="connsiteY11-24" fmla="*/ 89688 h 264802"/>
                <a:gd name="connsiteX12-25" fmla="*/ 171 w 367760"/>
                <a:gd name="connsiteY12-26" fmla="*/ 94552 h 264802"/>
                <a:gd name="connsiteX13-27" fmla="*/ 63401 w 367760"/>
                <a:gd name="connsiteY13-28" fmla="*/ 16730 h 264802"/>
                <a:gd name="connsiteX0-29" fmla="*/ 63401 w 364959"/>
                <a:gd name="connsiteY0-30" fmla="*/ 16730 h 264802"/>
                <a:gd name="connsiteX1-31" fmla="*/ 150950 w 364959"/>
                <a:gd name="connsiteY1-32" fmla="*/ 152917 h 264802"/>
                <a:gd name="connsiteX2-33" fmla="*/ 184997 w 364959"/>
                <a:gd name="connsiteY2-34" fmla="*/ 186964 h 264802"/>
                <a:gd name="connsiteX3-35" fmla="*/ 243363 w 364959"/>
                <a:gd name="connsiteY3-36" fmla="*/ 84824 h 264802"/>
                <a:gd name="connsiteX4-37" fmla="*/ 272546 w 364959"/>
                <a:gd name="connsiteY4-38" fmla="*/ 7003 h 264802"/>
                <a:gd name="connsiteX5-39" fmla="*/ 296865 w 364959"/>
                <a:gd name="connsiteY5-40" fmla="*/ 7003 h 264802"/>
                <a:gd name="connsiteX6-41" fmla="*/ 345503 w 364959"/>
                <a:gd name="connsiteY6-42" fmla="*/ 36186 h 264802"/>
                <a:gd name="connsiteX7-43" fmla="*/ 364959 w 364959"/>
                <a:gd name="connsiteY7-44" fmla="*/ 94552 h 264802"/>
                <a:gd name="connsiteX8-45" fmla="*/ 287137 w 364959"/>
                <a:gd name="connsiteY8-46" fmla="*/ 118871 h 264802"/>
                <a:gd name="connsiteX9-47" fmla="*/ 184997 w 364959"/>
                <a:gd name="connsiteY9-48" fmla="*/ 264786 h 264802"/>
                <a:gd name="connsiteX10-49" fmla="*/ 82856 w 364959"/>
                <a:gd name="connsiteY10-50" fmla="*/ 109143 h 264802"/>
                <a:gd name="connsiteX11-51" fmla="*/ 14763 w 364959"/>
                <a:gd name="connsiteY11-52" fmla="*/ 89688 h 264802"/>
                <a:gd name="connsiteX12-53" fmla="*/ 171 w 364959"/>
                <a:gd name="connsiteY12-54" fmla="*/ 94552 h 264802"/>
                <a:gd name="connsiteX13-55" fmla="*/ 63401 w 364959"/>
                <a:gd name="connsiteY13-56" fmla="*/ 16730 h 264802"/>
                <a:gd name="connsiteX0-57" fmla="*/ 63401 w 364959"/>
                <a:gd name="connsiteY0-58" fmla="*/ 16730 h 264802"/>
                <a:gd name="connsiteX1-59" fmla="*/ 150950 w 364959"/>
                <a:gd name="connsiteY1-60" fmla="*/ 152917 h 264802"/>
                <a:gd name="connsiteX2-61" fmla="*/ 184997 w 364959"/>
                <a:gd name="connsiteY2-62" fmla="*/ 186964 h 264802"/>
                <a:gd name="connsiteX3-63" fmla="*/ 243363 w 364959"/>
                <a:gd name="connsiteY3-64" fmla="*/ 84824 h 264802"/>
                <a:gd name="connsiteX4-65" fmla="*/ 272546 w 364959"/>
                <a:gd name="connsiteY4-66" fmla="*/ 7003 h 264802"/>
                <a:gd name="connsiteX5-67" fmla="*/ 296865 w 364959"/>
                <a:gd name="connsiteY5-68" fmla="*/ 7003 h 264802"/>
                <a:gd name="connsiteX6-69" fmla="*/ 345503 w 364959"/>
                <a:gd name="connsiteY6-70" fmla="*/ 36186 h 264802"/>
                <a:gd name="connsiteX7-71" fmla="*/ 364959 w 364959"/>
                <a:gd name="connsiteY7-72" fmla="*/ 94552 h 264802"/>
                <a:gd name="connsiteX8-73" fmla="*/ 287137 w 364959"/>
                <a:gd name="connsiteY8-74" fmla="*/ 118871 h 264802"/>
                <a:gd name="connsiteX9-75" fmla="*/ 184997 w 364959"/>
                <a:gd name="connsiteY9-76" fmla="*/ 264786 h 264802"/>
                <a:gd name="connsiteX10-77" fmla="*/ 82856 w 364959"/>
                <a:gd name="connsiteY10-78" fmla="*/ 109143 h 264802"/>
                <a:gd name="connsiteX11-79" fmla="*/ 14763 w 364959"/>
                <a:gd name="connsiteY11-80" fmla="*/ 89688 h 264802"/>
                <a:gd name="connsiteX12-81" fmla="*/ 171 w 364959"/>
                <a:gd name="connsiteY12-82" fmla="*/ 94552 h 264802"/>
                <a:gd name="connsiteX13-83" fmla="*/ 63401 w 364959"/>
                <a:gd name="connsiteY13-84" fmla="*/ 16730 h 264802"/>
                <a:gd name="connsiteX0-85" fmla="*/ 63401 w 364959"/>
                <a:gd name="connsiteY0-86" fmla="*/ 16730 h 274528"/>
                <a:gd name="connsiteX1-87" fmla="*/ 150950 w 364959"/>
                <a:gd name="connsiteY1-88" fmla="*/ 152917 h 274528"/>
                <a:gd name="connsiteX2-89" fmla="*/ 184997 w 364959"/>
                <a:gd name="connsiteY2-90" fmla="*/ 186964 h 274528"/>
                <a:gd name="connsiteX3-91" fmla="*/ 243363 w 364959"/>
                <a:gd name="connsiteY3-92" fmla="*/ 84824 h 274528"/>
                <a:gd name="connsiteX4-93" fmla="*/ 272546 w 364959"/>
                <a:gd name="connsiteY4-94" fmla="*/ 7003 h 274528"/>
                <a:gd name="connsiteX5-95" fmla="*/ 296865 w 364959"/>
                <a:gd name="connsiteY5-96" fmla="*/ 7003 h 274528"/>
                <a:gd name="connsiteX6-97" fmla="*/ 345503 w 364959"/>
                <a:gd name="connsiteY6-98" fmla="*/ 36186 h 274528"/>
                <a:gd name="connsiteX7-99" fmla="*/ 364959 w 364959"/>
                <a:gd name="connsiteY7-100" fmla="*/ 94552 h 274528"/>
                <a:gd name="connsiteX8-101" fmla="*/ 287137 w 364959"/>
                <a:gd name="connsiteY8-102" fmla="*/ 118871 h 274528"/>
                <a:gd name="connsiteX9-103" fmla="*/ 184997 w 364959"/>
                <a:gd name="connsiteY9-104" fmla="*/ 274513 h 274528"/>
                <a:gd name="connsiteX10-105" fmla="*/ 82856 w 364959"/>
                <a:gd name="connsiteY10-106" fmla="*/ 109143 h 274528"/>
                <a:gd name="connsiteX11-107" fmla="*/ 14763 w 364959"/>
                <a:gd name="connsiteY11-108" fmla="*/ 89688 h 274528"/>
                <a:gd name="connsiteX12-109" fmla="*/ 171 w 364959"/>
                <a:gd name="connsiteY12-110" fmla="*/ 94552 h 274528"/>
                <a:gd name="connsiteX13-111" fmla="*/ 63401 w 364959"/>
                <a:gd name="connsiteY13-112" fmla="*/ 16730 h 274528"/>
                <a:gd name="connsiteX0-113" fmla="*/ 63401 w 364959"/>
                <a:gd name="connsiteY0-114" fmla="*/ 16730 h 274528"/>
                <a:gd name="connsiteX1-115" fmla="*/ 150950 w 364959"/>
                <a:gd name="connsiteY1-116" fmla="*/ 152917 h 274528"/>
                <a:gd name="connsiteX2-117" fmla="*/ 184997 w 364959"/>
                <a:gd name="connsiteY2-118" fmla="*/ 186964 h 274528"/>
                <a:gd name="connsiteX3-119" fmla="*/ 243363 w 364959"/>
                <a:gd name="connsiteY3-120" fmla="*/ 84824 h 274528"/>
                <a:gd name="connsiteX4-121" fmla="*/ 272546 w 364959"/>
                <a:gd name="connsiteY4-122" fmla="*/ 7003 h 274528"/>
                <a:gd name="connsiteX5-123" fmla="*/ 296865 w 364959"/>
                <a:gd name="connsiteY5-124" fmla="*/ 7003 h 274528"/>
                <a:gd name="connsiteX6-125" fmla="*/ 345503 w 364959"/>
                <a:gd name="connsiteY6-126" fmla="*/ 36186 h 274528"/>
                <a:gd name="connsiteX7-127" fmla="*/ 364959 w 364959"/>
                <a:gd name="connsiteY7-128" fmla="*/ 94552 h 274528"/>
                <a:gd name="connsiteX8-129" fmla="*/ 287137 w 364959"/>
                <a:gd name="connsiteY8-130" fmla="*/ 118871 h 274528"/>
                <a:gd name="connsiteX9-131" fmla="*/ 184997 w 364959"/>
                <a:gd name="connsiteY9-132" fmla="*/ 274513 h 274528"/>
                <a:gd name="connsiteX10-133" fmla="*/ 82856 w 364959"/>
                <a:gd name="connsiteY10-134" fmla="*/ 109143 h 274528"/>
                <a:gd name="connsiteX11-135" fmla="*/ 14763 w 364959"/>
                <a:gd name="connsiteY11-136" fmla="*/ 89688 h 274528"/>
                <a:gd name="connsiteX12-137" fmla="*/ 171 w 364959"/>
                <a:gd name="connsiteY12-138" fmla="*/ 94552 h 274528"/>
                <a:gd name="connsiteX13-139" fmla="*/ 63401 w 364959"/>
                <a:gd name="connsiteY13-140" fmla="*/ 16730 h 274528"/>
                <a:gd name="connsiteX0-141" fmla="*/ 63401 w 364959"/>
                <a:gd name="connsiteY0-142" fmla="*/ 16730 h 274513"/>
                <a:gd name="connsiteX1-143" fmla="*/ 150950 w 364959"/>
                <a:gd name="connsiteY1-144" fmla="*/ 152917 h 274513"/>
                <a:gd name="connsiteX2-145" fmla="*/ 184997 w 364959"/>
                <a:gd name="connsiteY2-146" fmla="*/ 186964 h 274513"/>
                <a:gd name="connsiteX3-147" fmla="*/ 243363 w 364959"/>
                <a:gd name="connsiteY3-148" fmla="*/ 84824 h 274513"/>
                <a:gd name="connsiteX4-149" fmla="*/ 272546 w 364959"/>
                <a:gd name="connsiteY4-150" fmla="*/ 7003 h 274513"/>
                <a:gd name="connsiteX5-151" fmla="*/ 296865 w 364959"/>
                <a:gd name="connsiteY5-152" fmla="*/ 7003 h 274513"/>
                <a:gd name="connsiteX6-153" fmla="*/ 345503 w 364959"/>
                <a:gd name="connsiteY6-154" fmla="*/ 36186 h 274513"/>
                <a:gd name="connsiteX7-155" fmla="*/ 364959 w 364959"/>
                <a:gd name="connsiteY7-156" fmla="*/ 94552 h 274513"/>
                <a:gd name="connsiteX8-157" fmla="*/ 287137 w 364959"/>
                <a:gd name="connsiteY8-158" fmla="*/ 118871 h 274513"/>
                <a:gd name="connsiteX9-159" fmla="*/ 184997 w 364959"/>
                <a:gd name="connsiteY9-160" fmla="*/ 274513 h 274513"/>
                <a:gd name="connsiteX10-161" fmla="*/ 82856 w 364959"/>
                <a:gd name="connsiteY10-162" fmla="*/ 109143 h 274513"/>
                <a:gd name="connsiteX11-163" fmla="*/ 14763 w 364959"/>
                <a:gd name="connsiteY11-164" fmla="*/ 89688 h 274513"/>
                <a:gd name="connsiteX12-165" fmla="*/ 171 w 364959"/>
                <a:gd name="connsiteY12-166" fmla="*/ 94552 h 274513"/>
                <a:gd name="connsiteX13-167" fmla="*/ 63401 w 364959"/>
                <a:gd name="connsiteY13-168" fmla="*/ 16730 h 274513"/>
                <a:gd name="connsiteX0-169" fmla="*/ 63401 w 364959"/>
                <a:gd name="connsiteY0-170" fmla="*/ 16730 h 274513"/>
                <a:gd name="connsiteX1-171" fmla="*/ 150950 w 364959"/>
                <a:gd name="connsiteY1-172" fmla="*/ 152917 h 274513"/>
                <a:gd name="connsiteX2-173" fmla="*/ 184997 w 364959"/>
                <a:gd name="connsiteY2-174" fmla="*/ 186964 h 274513"/>
                <a:gd name="connsiteX3-175" fmla="*/ 243363 w 364959"/>
                <a:gd name="connsiteY3-176" fmla="*/ 84824 h 274513"/>
                <a:gd name="connsiteX4-177" fmla="*/ 272546 w 364959"/>
                <a:gd name="connsiteY4-178" fmla="*/ 7003 h 274513"/>
                <a:gd name="connsiteX5-179" fmla="*/ 296865 w 364959"/>
                <a:gd name="connsiteY5-180" fmla="*/ 7003 h 274513"/>
                <a:gd name="connsiteX6-181" fmla="*/ 345503 w 364959"/>
                <a:gd name="connsiteY6-182" fmla="*/ 36186 h 274513"/>
                <a:gd name="connsiteX7-183" fmla="*/ 364959 w 364959"/>
                <a:gd name="connsiteY7-184" fmla="*/ 94552 h 274513"/>
                <a:gd name="connsiteX8-185" fmla="*/ 287137 w 364959"/>
                <a:gd name="connsiteY8-186" fmla="*/ 118871 h 274513"/>
                <a:gd name="connsiteX9-187" fmla="*/ 184997 w 364959"/>
                <a:gd name="connsiteY9-188" fmla="*/ 274513 h 274513"/>
                <a:gd name="connsiteX10-189" fmla="*/ 82856 w 364959"/>
                <a:gd name="connsiteY10-190" fmla="*/ 109143 h 274513"/>
                <a:gd name="connsiteX11-191" fmla="*/ 14763 w 364959"/>
                <a:gd name="connsiteY11-192" fmla="*/ 89688 h 274513"/>
                <a:gd name="connsiteX12-193" fmla="*/ 171 w 364959"/>
                <a:gd name="connsiteY12-194" fmla="*/ 94552 h 274513"/>
                <a:gd name="connsiteX13-195" fmla="*/ 63401 w 364959"/>
                <a:gd name="connsiteY13-196" fmla="*/ 16730 h 274513"/>
                <a:gd name="connsiteX0-197" fmla="*/ 63401 w 364959"/>
                <a:gd name="connsiteY0-198" fmla="*/ 16730 h 274513"/>
                <a:gd name="connsiteX1-199" fmla="*/ 150950 w 364959"/>
                <a:gd name="connsiteY1-200" fmla="*/ 152917 h 274513"/>
                <a:gd name="connsiteX2-201" fmla="*/ 184997 w 364959"/>
                <a:gd name="connsiteY2-202" fmla="*/ 186964 h 274513"/>
                <a:gd name="connsiteX3-203" fmla="*/ 243363 w 364959"/>
                <a:gd name="connsiteY3-204" fmla="*/ 84824 h 274513"/>
                <a:gd name="connsiteX4-205" fmla="*/ 272546 w 364959"/>
                <a:gd name="connsiteY4-206" fmla="*/ 7003 h 274513"/>
                <a:gd name="connsiteX5-207" fmla="*/ 296865 w 364959"/>
                <a:gd name="connsiteY5-208" fmla="*/ 7003 h 274513"/>
                <a:gd name="connsiteX6-209" fmla="*/ 345503 w 364959"/>
                <a:gd name="connsiteY6-210" fmla="*/ 36186 h 274513"/>
                <a:gd name="connsiteX7-211" fmla="*/ 364959 w 364959"/>
                <a:gd name="connsiteY7-212" fmla="*/ 94552 h 274513"/>
                <a:gd name="connsiteX8-213" fmla="*/ 287137 w 364959"/>
                <a:gd name="connsiteY8-214" fmla="*/ 118871 h 274513"/>
                <a:gd name="connsiteX9-215" fmla="*/ 184997 w 364959"/>
                <a:gd name="connsiteY9-216" fmla="*/ 274513 h 274513"/>
                <a:gd name="connsiteX10-217" fmla="*/ 80911 w 364959"/>
                <a:gd name="connsiteY10-218" fmla="*/ 120816 h 274513"/>
                <a:gd name="connsiteX11-219" fmla="*/ 14763 w 364959"/>
                <a:gd name="connsiteY11-220" fmla="*/ 89688 h 274513"/>
                <a:gd name="connsiteX12-221" fmla="*/ 171 w 364959"/>
                <a:gd name="connsiteY12-222" fmla="*/ 94552 h 274513"/>
                <a:gd name="connsiteX13-223" fmla="*/ 63401 w 364959"/>
                <a:gd name="connsiteY13-224" fmla="*/ 16730 h 274513"/>
                <a:gd name="connsiteX0-225" fmla="*/ 63401 w 364959"/>
                <a:gd name="connsiteY0-226" fmla="*/ 16730 h 274513"/>
                <a:gd name="connsiteX1-227" fmla="*/ 150950 w 364959"/>
                <a:gd name="connsiteY1-228" fmla="*/ 152917 h 274513"/>
                <a:gd name="connsiteX2-229" fmla="*/ 184997 w 364959"/>
                <a:gd name="connsiteY2-230" fmla="*/ 186964 h 274513"/>
                <a:gd name="connsiteX3-231" fmla="*/ 243363 w 364959"/>
                <a:gd name="connsiteY3-232" fmla="*/ 84824 h 274513"/>
                <a:gd name="connsiteX4-233" fmla="*/ 272546 w 364959"/>
                <a:gd name="connsiteY4-234" fmla="*/ 7003 h 274513"/>
                <a:gd name="connsiteX5-235" fmla="*/ 296865 w 364959"/>
                <a:gd name="connsiteY5-236" fmla="*/ 7003 h 274513"/>
                <a:gd name="connsiteX6-237" fmla="*/ 345503 w 364959"/>
                <a:gd name="connsiteY6-238" fmla="*/ 36186 h 274513"/>
                <a:gd name="connsiteX7-239" fmla="*/ 364959 w 364959"/>
                <a:gd name="connsiteY7-240" fmla="*/ 94552 h 274513"/>
                <a:gd name="connsiteX8-241" fmla="*/ 287137 w 364959"/>
                <a:gd name="connsiteY8-242" fmla="*/ 118871 h 274513"/>
                <a:gd name="connsiteX9-243" fmla="*/ 184997 w 364959"/>
                <a:gd name="connsiteY9-244" fmla="*/ 274513 h 274513"/>
                <a:gd name="connsiteX10-245" fmla="*/ 75075 w 364959"/>
                <a:gd name="connsiteY10-246" fmla="*/ 91635 h 274513"/>
                <a:gd name="connsiteX11-247" fmla="*/ 14763 w 364959"/>
                <a:gd name="connsiteY11-248" fmla="*/ 89688 h 274513"/>
                <a:gd name="connsiteX12-249" fmla="*/ 171 w 364959"/>
                <a:gd name="connsiteY12-250" fmla="*/ 94552 h 274513"/>
                <a:gd name="connsiteX13-251" fmla="*/ 63401 w 364959"/>
                <a:gd name="connsiteY13-252" fmla="*/ 16730 h 274513"/>
                <a:gd name="connsiteX0-253" fmla="*/ 63401 w 364959"/>
                <a:gd name="connsiteY0-254" fmla="*/ 16730 h 274513"/>
                <a:gd name="connsiteX1-255" fmla="*/ 150950 w 364959"/>
                <a:gd name="connsiteY1-256" fmla="*/ 152917 h 274513"/>
                <a:gd name="connsiteX2-257" fmla="*/ 184997 w 364959"/>
                <a:gd name="connsiteY2-258" fmla="*/ 186964 h 274513"/>
                <a:gd name="connsiteX3-259" fmla="*/ 243363 w 364959"/>
                <a:gd name="connsiteY3-260" fmla="*/ 84824 h 274513"/>
                <a:gd name="connsiteX4-261" fmla="*/ 272546 w 364959"/>
                <a:gd name="connsiteY4-262" fmla="*/ 7003 h 274513"/>
                <a:gd name="connsiteX5-263" fmla="*/ 296865 w 364959"/>
                <a:gd name="connsiteY5-264" fmla="*/ 7003 h 274513"/>
                <a:gd name="connsiteX6-265" fmla="*/ 345503 w 364959"/>
                <a:gd name="connsiteY6-266" fmla="*/ 36186 h 274513"/>
                <a:gd name="connsiteX7-267" fmla="*/ 364959 w 364959"/>
                <a:gd name="connsiteY7-268" fmla="*/ 94552 h 274513"/>
                <a:gd name="connsiteX8-269" fmla="*/ 287137 w 364959"/>
                <a:gd name="connsiteY8-270" fmla="*/ 118871 h 274513"/>
                <a:gd name="connsiteX9-271" fmla="*/ 184997 w 364959"/>
                <a:gd name="connsiteY9-272" fmla="*/ 274513 h 274513"/>
                <a:gd name="connsiteX10-273" fmla="*/ 84802 w 364959"/>
                <a:gd name="connsiteY10-274" fmla="*/ 105253 h 274513"/>
                <a:gd name="connsiteX11-275" fmla="*/ 14763 w 364959"/>
                <a:gd name="connsiteY11-276" fmla="*/ 89688 h 274513"/>
                <a:gd name="connsiteX12-277" fmla="*/ 171 w 364959"/>
                <a:gd name="connsiteY12-278" fmla="*/ 94552 h 274513"/>
                <a:gd name="connsiteX13-279" fmla="*/ 63401 w 364959"/>
                <a:gd name="connsiteY13-280" fmla="*/ 16730 h 274513"/>
                <a:gd name="connsiteX0-281" fmla="*/ 63401 w 364959"/>
                <a:gd name="connsiteY0-282" fmla="*/ 16730 h 274513"/>
                <a:gd name="connsiteX1-283" fmla="*/ 150950 w 364959"/>
                <a:gd name="connsiteY1-284" fmla="*/ 152917 h 274513"/>
                <a:gd name="connsiteX2-285" fmla="*/ 184997 w 364959"/>
                <a:gd name="connsiteY2-286" fmla="*/ 186964 h 274513"/>
                <a:gd name="connsiteX3-287" fmla="*/ 243363 w 364959"/>
                <a:gd name="connsiteY3-288" fmla="*/ 84824 h 274513"/>
                <a:gd name="connsiteX4-289" fmla="*/ 272546 w 364959"/>
                <a:gd name="connsiteY4-290" fmla="*/ 7003 h 274513"/>
                <a:gd name="connsiteX5-291" fmla="*/ 296865 w 364959"/>
                <a:gd name="connsiteY5-292" fmla="*/ 7003 h 274513"/>
                <a:gd name="connsiteX6-293" fmla="*/ 345503 w 364959"/>
                <a:gd name="connsiteY6-294" fmla="*/ 36186 h 274513"/>
                <a:gd name="connsiteX7-295" fmla="*/ 364959 w 364959"/>
                <a:gd name="connsiteY7-296" fmla="*/ 94552 h 274513"/>
                <a:gd name="connsiteX8-297" fmla="*/ 287137 w 364959"/>
                <a:gd name="connsiteY8-298" fmla="*/ 118871 h 274513"/>
                <a:gd name="connsiteX9-299" fmla="*/ 184997 w 364959"/>
                <a:gd name="connsiteY9-300" fmla="*/ 274513 h 274513"/>
                <a:gd name="connsiteX10-301" fmla="*/ 84802 w 364959"/>
                <a:gd name="connsiteY10-302" fmla="*/ 105253 h 274513"/>
                <a:gd name="connsiteX11-303" fmla="*/ 14763 w 364959"/>
                <a:gd name="connsiteY11-304" fmla="*/ 89688 h 274513"/>
                <a:gd name="connsiteX12-305" fmla="*/ 171 w 364959"/>
                <a:gd name="connsiteY12-306" fmla="*/ 94552 h 274513"/>
                <a:gd name="connsiteX13-307" fmla="*/ 63401 w 364959"/>
                <a:gd name="connsiteY13-308" fmla="*/ 16730 h 274513"/>
                <a:gd name="connsiteX0-309" fmla="*/ 63401 w 364959"/>
                <a:gd name="connsiteY0-310" fmla="*/ 16730 h 274513"/>
                <a:gd name="connsiteX1-311" fmla="*/ 150950 w 364959"/>
                <a:gd name="connsiteY1-312" fmla="*/ 152917 h 274513"/>
                <a:gd name="connsiteX2-313" fmla="*/ 184997 w 364959"/>
                <a:gd name="connsiteY2-314" fmla="*/ 186964 h 274513"/>
                <a:gd name="connsiteX3-315" fmla="*/ 243363 w 364959"/>
                <a:gd name="connsiteY3-316" fmla="*/ 84824 h 274513"/>
                <a:gd name="connsiteX4-317" fmla="*/ 272546 w 364959"/>
                <a:gd name="connsiteY4-318" fmla="*/ 7003 h 274513"/>
                <a:gd name="connsiteX5-319" fmla="*/ 296865 w 364959"/>
                <a:gd name="connsiteY5-320" fmla="*/ 7003 h 274513"/>
                <a:gd name="connsiteX6-321" fmla="*/ 345503 w 364959"/>
                <a:gd name="connsiteY6-322" fmla="*/ 36186 h 274513"/>
                <a:gd name="connsiteX7-323" fmla="*/ 364959 w 364959"/>
                <a:gd name="connsiteY7-324" fmla="*/ 94552 h 274513"/>
                <a:gd name="connsiteX8-325" fmla="*/ 287137 w 364959"/>
                <a:gd name="connsiteY8-326" fmla="*/ 118871 h 274513"/>
                <a:gd name="connsiteX9-327" fmla="*/ 184997 w 364959"/>
                <a:gd name="connsiteY9-328" fmla="*/ 274513 h 274513"/>
                <a:gd name="connsiteX10-329" fmla="*/ 84802 w 364959"/>
                <a:gd name="connsiteY10-330" fmla="*/ 105253 h 274513"/>
                <a:gd name="connsiteX11-331" fmla="*/ 14763 w 364959"/>
                <a:gd name="connsiteY11-332" fmla="*/ 89688 h 274513"/>
                <a:gd name="connsiteX12-333" fmla="*/ 171 w 364959"/>
                <a:gd name="connsiteY12-334" fmla="*/ 94552 h 274513"/>
                <a:gd name="connsiteX13-335" fmla="*/ 63401 w 364959"/>
                <a:gd name="connsiteY13-336" fmla="*/ 16730 h 274513"/>
                <a:gd name="connsiteX0-337" fmla="*/ 63401 w 364959"/>
                <a:gd name="connsiteY0-338" fmla="*/ 16730 h 274513"/>
                <a:gd name="connsiteX1-339" fmla="*/ 150950 w 364959"/>
                <a:gd name="connsiteY1-340" fmla="*/ 152917 h 274513"/>
                <a:gd name="connsiteX2-341" fmla="*/ 184997 w 364959"/>
                <a:gd name="connsiteY2-342" fmla="*/ 186964 h 274513"/>
                <a:gd name="connsiteX3-343" fmla="*/ 243363 w 364959"/>
                <a:gd name="connsiteY3-344" fmla="*/ 84824 h 274513"/>
                <a:gd name="connsiteX4-345" fmla="*/ 272546 w 364959"/>
                <a:gd name="connsiteY4-346" fmla="*/ 7003 h 274513"/>
                <a:gd name="connsiteX5-347" fmla="*/ 296865 w 364959"/>
                <a:gd name="connsiteY5-348" fmla="*/ 7003 h 274513"/>
                <a:gd name="connsiteX6-349" fmla="*/ 345503 w 364959"/>
                <a:gd name="connsiteY6-350" fmla="*/ 36186 h 274513"/>
                <a:gd name="connsiteX7-351" fmla="*/ 364959 w 364959"/>
                <a:gd name="connsiteY7-352" fmla="*/ 94552 h 274513"/>
                <a:gd name="connsiteX8-353" fmla="*/ 287137 w 364959"/>
                <a:gd name="connsiteY8-354" fmla="*/ 118871 h 274513"/>
                <a:gd name="connsiteX9-355" fmla="*/ 184997 w 364959"/>
                <a:gd name="connsiteY9-356" fmla="*/ 274513 h 274513"/>
                <a:gd name="connsiteX10-357" fmla="*/ 84802 w 364959"/>
                <a:gd name="connsiteY10-358" fmla="*/ 105253 h 274513"/>
                <a:gd name="connsiteX11-359" fmla="*/ 14763 w 364959"/>
                <a:gd name="connsiteY11-360" fmla="*/ 89688 h 274513"/>
                <a:gd name="connsiteX12-361" fmla="*/ 171 w 364959"/>
                <a:gd name="connsiteY12-362" fmla="*/ 94552 h 274513"/>
                <a:gd name="connsiteX13-363" fmla="*/ 63401 w 364959"/>
                <a:gd name="connsiteY13-364" fmla="*/ 16730 h 274513"/>
                <a:gd name="connsiteX0-365" fmla="*/ 63401 w 364959"/>
                <a:gd name="connsiteY0-366" fmla="*/ 16730 h 274513"/>
                <a:gd name="connsiteX1-367" fmla="*/ 150950 w 364959"/>
                <a:gd name="connsiteY1-368" fmla="*/ 152917 h 274513"/>
                <a:gd name="connsiteX2-369" fmla="*/ 184997 w 364959"/>
                <a:gd name="connsiteY2-370" fmla="*/ 186964 h 274513"/>
                <a:gd name="connsiteX3-371" fmla="*/ 243363 w 364959"/>
                <a:gd name="connsiteY3-372" fmla="*/ 84824 h 274513"/>
                <a:gd name="connsiteX4-373" fmla="*/ 272546 w 364959"/>
                <a:gd name="connsiteY4-374" fmla="*/ 7003 h 274513"/>
                <a:gd name="connsiteX5-375" fmla="*/ 296865 w 364959"/>
                <a:gd name="connsiteY5-376" fmla="*/ 7003 h 274513"/>
                <a:gd name="connsiteX6-377" fmla="*/ 345503 w 364959"/>
                <a:gd name="connsiteY6-378" fmla="*/ 36186 h 274513"/>
                <a:gd name="connsiteX7-379" fmla="*/ 364959 w 364959"/>
                <a:gd name="connsiteY7-380" fmla="*/ 94552 h 274513"/>
                <a:gd name="connsiteX8-381" fmla="*/ 287137 w 364959"/>
                <a:gd name="connsiteY8-382" fmla="*/ 118871 h 274513"/>
                <a:gd name="connsiteX9-383" fmla="*/ 184997 w 364959"/>
                <a:gd name="connsiteY9-384" fmla="*/ 274513 h 274513"/>
                <a:gd name="connsiteX10-385" fmla="*/ 84802 w 364959"/>
                <a:gd name="connsiteY10-386" fmla="*/ 105253 h 274513"/>
                <a:gd name="connsiteX11-387" fmla="*/ 14763 w 364959"/>
                <a:gd name="connsiteY11-388" fmla="*/ 89688 h 274513"/>
                <a:gd name="connsiteX12-389" fmla="*/ 171 w 364959"/>
                <a:gd name="connsiteY12-390" fmla="*/ 94552 h 274513"/>
                <a:gd name="connsiteX13-391" fmla="*/ 63401 w 364959"/>
                <a:gd name="connsiteY13-392" fmla="*/ 16730 h 274513"/>
                <a:gd name="connsiteX0-393" fmla="*/ 63401 w 364959"/>
                <a:gd name="connsiteY0-394" fmla="*/ 16730 h 274513"/>
                <a:gd name="connsiteX1-395" fmla="*/ 150950 w 364959"/>
                <a:gd name="connsiteY1-396" fmla="*/ 152917 h 274513"/>
                <a:gd name="connsiteX2-397" fmla="*/ 184997 w 364959"/>
                <a:gd name="connsiteY2-398" fmla="*/ 186964 h 274513"/>
                <a:gd name="connsiteX3-399" fmla="*/ 243363 w 364959"/>
                <a:gd name="connsiteY3-400" fmla="*/ 84824 h 274513"/>
                <a:gd name="connsiteX4-401" fmla="*/ 272546 w 364959"/>
                <a:gd name="connsiteY4-402" fmla="*/ 7003 h 274513"/>
                <a:gd name="connsiteX5-403" fmla="*/ 296865 w 364959"/>
                <a:gd name="connsiteY5-404" fmla="*/ 7003 h 274513"/>
                <a:gd name="connsiteX6-405" fmla="*/ 345503 w 364959"/>
                <a:gd name="connsiteY6-406" fmla="*/ 36186 h 274513"/>
                <a:gd name="connsiteX7-407" fmla="*/ 364959 w 364959"/>
                <a:gd name="connsiteY7-408" fmla="*/ 94552 h 274513"/>
                <a:gd name="connsiteX8-409" fmla="*/ 294919 w 364959"/>
                <a:gd name="connsiteY8-410" fmla="*/ 89690 h 274513"/>
                <a:gd name="connsiteX9-411" fmla="*/ 184997 w 364959"/>
                <a:gd name="connsiteY9-412" fmla="*/ 274513 h 274513"/>
                <a:gd name="connsiteX10-413" fmla="*/ 84802 w 364959"/>
                <a:gd name="connsiteY10-414" fmla="*/ 105253 h 274513"/>
                <a:gd name="connsiteX11-415" fmla="*/ 14763 w 364959"/>
                <a:gd name="connsiteY11-416" fmla="*/ 89688 h 274513"/>
                <a:gd name="connsiteX12-417" fmla="*/ 171 w 364959"/>
                <a:gd name="connsiteY12-418" fmla="*/ 94552 h 274513"/>
                <a:gd name="connsiteX13-419" fmla="*/ 63401 w 364959"/>
                <a:gd name="connsiteY13-420" fmla="*/ 16730 h 274513"/>
                <a:gd name="connsiteX0-421" fmla="*/ 63401 w 378577"/>
                <a:gd name="connsiteY0-422" fmla="*/ 16730 h 274513"/>
                <a:gd name="connsiteX1-423" fmla="*/ 150950 w 378577"/>
                <a:gd name="connsiteY1-424" fmla="*/ 152917 h 274513"/>
                <a:gd name="connsiteX2-425" fmla="*/ 184997 w 378577"/>
                <a:gd name="connsiteY2-426" fmla="*/ 186964 h 274513"/>
                <a:gd name="connsiteX3-427" fmla="*/ 243363 w 378577"/>
                <a:gd name="connsiteY3-428" fmla="*/ 84824 h 274513"/>
                <a:gd name="connsiteX4-429" fmla="*/ 272546 w 378577"/>
                <a:gd name="connsiteY4-430" fmla="*/ 7003 h 274513"/>
                <a:gd name="connsiteX5-431" fmla="*/ 296865 w 378577"/>
                <a:gd name="connsiteY5-432" fmla="*/ 7003 h 274513"/>
                <a:gd name="connsiteX6-433" fmla="*/ 345503 w 378577"/>
                <a:gd name="connsiteY6-434" fmla="*/ 36186 h 274513"/>
                <a:gd name="connsiteX7-435" fmla="*/ 378577 w 378577"/>
                <a:gd name="connsiteY7-436" fmla="*/ 98443 h 274513"/>
                <a:gd name="connsiteX8-437" fmla="*/ 294919 w 378577"/>
                <a:gd name="connsiteY8-438" fmla="*/ 89690 h 274513"/>
                <a:gd name="connsiteX9-439" fmla="*/ 184997 w 378577"/>
                <a:gd name="connsiteY9-440" fmla="*/ 274513 h 274513"/>
                <a:gd name="connsiteX10-441" fmla="*/ 84802 w 378577"/>
                <a:gd name="connsiteY10-442" fmla="*/ 105253 h 274513"/>
                <a:gd name="connsiteX11-443" fmla="*/ 14763 w 378577"/>
                <a:gd name="connsiteY11-444" fmla="*/ 89688 h 274513"/>
                <a:gd name="connsiteX12-445" fmla="*/ 171 w 378577"/>
                <a:gd name="connsiteY12-446" fmla="*/ 94552 h 274513"/>
                <a:gd name="connsiteX13-447" fmla="*/ 63401 w 378577"/>
                <a:gd name="connsiteY13-448" fmla="*/ 16730 h 274513"/>
                <a:gd name="connsiteX0-449" fmla="*/ 78821 w 393997"/>
                <a:gd name="connsiteY0-450" fmla="*/ 16730 h 274513"/>
                <a:gd name="connsiteX1-451" fmla="*/ 166370 w 393997"/>
                <a:gd name="connsiteY1-452" fmla="*/ 152917 h 274513"/>
                <a:gd name="connsiteX2-453" fmla="*/ 200417 w 393997"/>
                <a:gd name="connsiteY2-454" fmla="*/ 186964 h 274513"/>
                <a:gd name="connsiteX3-455" fmla="*/ 258783 w 393997"/>
                <a:gd name="connsiteY3-456" fmla="*/ 84824 h 274513"/>
                <a:gd name="connsiteX4-457" fmla="*/ 287966 w 393997"/>
                <a:gd name="connsiteY4-458" fmla="*/ 7003 h 274513"/>
                <a:gd name="connsiteX5-459" fmla="*/ 312285 w 393997"/>
                <a:gd name="connsiteY5-460" fmla="*/ 7003 h 274513"/>
                <a:gd name="connsiteX6-461" fmla="*/ 360923 w 393997"/>
                <a:gd name="connsiteY6-462" fmla="*/ 36186 h 274513"/>
                <a:gd name="connsiteX7-463" fmla="*/ 393997 w 393997"/>
                <a:gd name="connsiteY7-464" fmla="*/ 98443 h 274513"/>
                <a:gd name="connsiteX8-465" fmla="*/ 310339 w 393997"/>
                <a:gd name="connsiteY8-466" fmla="*/ 89690 h 274513"/>
                <a:gd name="connsiteX9-467" fmla="*/ 200417 w 393997"/>
                <a:gd name="connsiteY9-468" fmla="*/ 274513 h 274513"/>
                <a:gd name="connsiteX10-469" fmla="*/ 100222 w 393997"/>
                <a:gd name="connsiteY10-470" fmla="*/ 105253 h 274513"/>
                <a:gd name="connsiteX11-471" fmla="*/ 30183 w 393997"/>
                <a:gd name="connsiteY11-472" fmla="*/ 89688 h 274513"/>
                <a:gd name="connsiteX12-473" fmla="*/ 27 w 393997"/>
                <a:gd name="connsiteY12-474" fmla="*/ 102334 h 274513"/>
                <a:gd name="connsiteX13-475" fmla="*/ 78821 w 393997"/>
                <a:gd name="connsiteY13-476" fmla="*/ 16730 h 274513"/>
                <a:gd name="connsiteX0-477" fmla="*/ 78960 w 394136"/>
                <a:gd name="connsiteY0-478" fmla="*/ 16730 h 274513"/>
                <a:gd name="connsiteX1-479" fmla="*/ 166509 w 394136"/>
                <a:gd name="connsiteY1-480" fmla="*/ 152917 h 274513"/>
                <a:gd name="connsiteX2-481" fmla="*/ 200556 w 394136"/>
                <a:gd name="connsiteY2-482" fmla="*/ 186964 h 274513"/>
                <a:gd name="connsiteX3-483" fmla="*/ 258922 w 394136"/>
                <a:gd name="connsiteY3-484" fmla="*/ 84824 h 274513"/>
                <a:gd name="connsiteX4-485" fmla="*/ 288105 w 394136"/>
                <a:gd name="connsiteY4-486" fmla="*/ 7003 h 274513"/>
                <a:gd name="connsiteX5-487" fmla="*/ 312424 w 394136"/>
                <a:gd name="connsiteY5-488" fmla="*/ 7003 h 274513"/>
                <a:gd name="connsiteX6-489" fmla="*/ 361062 w 394136"/>
                <a:gd name="connsiteY6-490" fmla="*/ 36186 h 274513"/>
                <a:gd name="connsiteX7-491" fmla="*/ 394136 w 394136"/>
                <a:gd name="connsiteY7-492" fmla="*/ 98443 h 274513"/>
                <a:gd name="connsiteX8-493" fmla="*/ 310478 w 394136"/>
                <a:gd name="connsiteY8-494" fmla="*/ 89690 h 274513"/>
                <a:gd name="connsiteX9-495" fmla="*/ 200556 w 394136"/>
                <a:gd name="connsiteY9-496" fmla="*/ 274513 h 274513"/>
                <a:gd name="connsiteX10-497" fmla="*/ 100361 w 394136"/>
                <a:gd name="connsiteY10-498" fmla="*/ 105253 h 274513"/>
                <a:gd name="connsiteX11-499" fmla="*/ 166 w 394136"/>
                <a:gd name="connsiteY11-500" fmla="*/ 102334 h 274513"/>
                <a:gd name="connsiteX12-501" fmla="*/ 78960 w 394136"/>
                <a:gd name="connsiteY12-502" fmla="*/ 16730 h 274513"/>
                <a:gd name="connsiteX0-503" fmla="*/ 78960 w 394136"/>
                <a:gd name="connsiteY0-504" fmla="*/ 16730 h 274513"/>
                <a:gd name="connsiteX1-505" fmla="*/ 166509 w 394136"/>
                <a:gd name="connsiteY1-506" fmla="*/ 152917 h 274513"/>
                <a:gd name="connsiteX2-507" fmla="*/ 200556 w 394136"/>
                <a:gd name="connsiteY2-508" fmla="*/ 186964 h 274513"/>
                <a:gd name="connsiteX3-509" fmla="*/ 258922 w 394136"/>
                <a:gd name="connsiteY3-510" fmla="*/ 84824 h 274513"/>
                <a:gd name="connsiteX4-511" fmla="*/ 288105 w 394136"/>
                <a:gd name="connsiteY4-512" fmla="*/ 7003 h 274513"/>
                <a:gd name="connsiteX5-513" fmla="*/ 312424 w 394136"/>
                <a:gd name="connsiteY5-514" fmla="*/ 7003 h 274513"/>
                <a:gd name="connsiteX6-515" fmla="*/ 361062 w 394136"/>
                <a:gd name="connsiteY6-516" fmla="*/ 36186 h 274513"/>
                <a:gd name="connsiteX7-517" fmla="*/ 394136 w 394136"/>
                <a:gd name="connsiteY7-518" fmla="*/ 98443 h 274513"/>
                <a:gd name="connsiteX8-519" fmla="*/ 310478 w 394136"/>
                <a:gd name="connsiteY8-520" fmla="*/ 89690 h 274513"/>
                <a:gd name="connsiteX9-521" fmla="*/ 200556 w 394136"/>
                <a:gd name="connsiteY9-522" fmla="*/ 274513 h 274513"/>
                <a:gd name="connsiteX10-523" fmla="*/ 100361 w 394136"/>
                <a:gd name="connsiteY10-524" fmla="*/ 105253 h 274513"/>
                <a:gd name="connsiteX11-525" fmla="*/ 166 w 394136"/>
                <a:gd name="connsiteY11-526" fmla="*/ 102334 h 274513"/>
                <a:gd name="connsiteX12-527" fmla="*/ 78960 w 394136"/>
                <a:gd name="connsiteY12-528" fmla="*/ 16730 h 274513"/>
                <a:gd name="connsiteX0-529" fmla="*/ 78960 w 394136"/>
                <a:gd name="connsiteY0-530" fmla="*/ 16730 h 274513"/>
                <a:gd name="connsiteX1-531" fmla="*/ 166509 w 394136"/>
                <a:gd name="connsiteY1-532" fmla="*/ 152917 h 274513"/>
                <a:gd name="connsiteX2-533" fmla="*/ 200556 w 394136"/>
                <a:gd name="connsiteY2-534" fmla="*/ 186964 h 274513"/>
                <a:gd name="connsiteX3-535" fmla="*/ 258922 w 394136"/>
                <a:gd name="connsiteY3-536" fmla="*/ 84824 h 274513"/>
                <a:gd name="connsiteX4-537" fmla="*/ 288105 w 394136"/>
                <a:gd name="connsiteY4-538" fmla="*/ 7003 h 274513"/>
                <a:gd name="connsiteX5-539" fmla="*/ 312424 w 394136"/>
                <a:gd name="connsiteY5-540" fmla="*/ 7003 h 274513"/>
                <a:gd name="connsiteX6-541" fmla="*/ 361062 w 394136"/>
                <a:gd name="connsiteY6-542" fmla="*/ 36186 h 274513"/>
                <a:gd name="connsiteX7-543" fmla="*/ 394136 w 394136"/>
                <a:gd name="connsiteY7-544" fmla="*/ 98443 h 274513"/>
                <a:gd name="connsiteX8-545" fmla="*/ 310478 w 394136"/>
                <a:gd name="connsiteY8-546" fmla="*/ 89690 h 274513"/>
                <a:gd name="connsiteX9-547" fmla="*/ 200556 w 394136"/>
                <a:gd name="connsiteY9-548" fmla="*/ 274513 h 274513"/>
                <a:gd name="connsiteX10-549" fmla="*/ 100361 w 394136"/>
                <a:gd name="connsiteY10-550" fmla="*/ 105253 h 274513"/>
                <a:gd name="connsiteX11-551" fmla="*/ 166 w 394136"/>
                <a:gd name="connsiteY11-552" fmla="*/ 102334 h 274513"/>
                <a:gd name="connsiteX12-553" fmla="*/ 78960 w 394136"/>
                <a:gd name="connsiteY12-554" fmla="*/ 16730 h 274513"/>
                <a:gd name="connsiteX0-555" fmla="*/ 78794 w 393970"/>
                <a:gd name="connsiteY0-556" fmla="*/ 16730 h 274513"/>
                <a:gd name="connsiteX1-557" fmla="*/ 166343 w 393970"/>
                <a:gd name="connsiteY1-558" fmla="*/ 152917 h 274513"/>
                <a:gd name="connsiteX2-559" fmla="*/ 200390 w 393970"/>
                <a:gd name="connsiteY2-560" fmla="*/ 186964 h 274513"/>
                <a:gd name="connsiteX3-561" fmla="*/ 258756 w 393970"/>
                <a:gd name="connsiteY3-562" fmla="*/ 84824 h 274513"/>
                <a:gd name="connsiteX4-563" fmla="*/ 287939 w 393970"/>
                <a:gd name="connsiteY4-564" fmla="*/ 7003 h 274513"/>
                <a:gd name="connsiteX5-565" fmla="*/ 312258 w 393970"/>
                <a:gd name="connsiteY5-566" fmla="*/ 7003 h 274513"/>
                <a:gd name="connsiteX6-567" fmla="*/ 360896 w 393970"/>
                <a:gd name="connsiteY6-568" fmla="*/ 36186 h 274513"/>
                <a:gd name="connsiteX7-569" fmla="*/ 393970 w 393970"/>
                <a:gd name="connsiteY7-570" fmla="*/ 98443 h 274513"/>
                <a:gd name="connsiteX8-571" fmla="*/ 310312 w 393970"/>
                <a:gd name="connsiteY8-572" fmla="*/ 89690 h 274513"/>
                <a:gd name="connsiteX9-573" fmla="*/ 200390 w 393970"/>
                <a:gd name="connsiteY9-574" fmla="*/ 274513 h 274513"/>
                <a:gd name="connsiteX10-575" fmla="*/ 100195 w 393970"/>
                <a:gd name="connsiteY10-576" fmla="*/ 105253 h 274513"/>
                <a:gd name="connsiteX11-577" fmla="*/ 0 w 393970"/>
                <a:gd name="connsiteY11-578" fmla="*/ 102334 h 274513"/>
                <a:gd name="connsiteX12-579" fmla="*/ 78794 w 393970"/>
                <a:gd name="connsiteY12-580" fmla="*/ 16730 h 274513"/>
                <a:gd name="connsiteX0-581" fmla="*/ 78794 w 393970"/>
                <a:gd name="connsiteY0-582" fmla="*/ 16730 h 274513"/>
                <a:gd name="connsiteX1-583" fmla="*/ 166343 w 393970"/>
                <a:gd name="connsiteY1-584" fmla="*/ 152917 h 274513"/>
                <a:gd name="connsiteX2-585" fmla="*/ 200390 w 393970"/>
                <a:gd name="connsiteY2-586" fmla="*/ 186964 h 274513"/>
                <a:gd name="connsiteX3-587" fmla="*/ 258756 w 393970"/>
                <a:gd name="connsiteY3-588" fmla="*/ 84824 h 274513"/>
                <a:gd name="connsiteX4-589" fmla="*/ 287939 w 393970"/>
                <a:gd name="connsiteY4-590" fmla="*/ 7003 h 274513"/>
                <a:gd name="connsiteX5-591" fmla="*/ 312258 w 393970"/>
                <a:gd name="connsiteY5-592" fmla="*/ 7003 h 274513"/>
                <a:gd name="connsiteX6-593" fmla="*/ 360896 w 393970"/>
                <a:gd name="connsiteY6-594" fmla="*/ 36186 h 274513"/>
                <a:gd name="connsiteX7-595" fmla="*/ 393970 w 393970"/>
                <a:gd name="connsiteY7-596" fmla="*/ 98443 h 274513"/>
                <a:gd name="connsiteX8-597" fmla="*/ 310312 w 393970"/>
                <a:gd name="connsiteY8-598" fmla="*/ 89690 h 274513"/>
                <a:gd name="connsiteX9-599" fmla="*/ 200390 w 393970"/>
                <a:gd name="connsiteY9-600" fmla="*/ 274513 h 274513"/>
                <a:gd name="connsiteX10-601" fmla="*/ 100195 w 393970"/>
                <a:gd name="connsiteY10-602" fmla="*/ 105253 h 274513"/>
                <a:gd name="connsiteX11-603" fmla="*/ 0 w 393970"/>
                <a:gd name="connsiteY11-604" fmla="*/ 102334 h 274513"/>
                <a:gd name="connsiteX12-605" fmla="*/ 78794 w 393970"/>
                <a:gd name="connsiteY12-606" fmla="*/ 16730 h 274513"/>
                <a:gd name="connsiteX0-607" fmla="*/ 78794 w 393970"/>
                <a:gd name="connsiteY0-608" fmla="*/ 16730 h 274513"/>
                <a:gd name="connsiteX1-609" fmla="*/ 158561 w 393970"/>
                <a:gd name="connsiteY1-610" fmla="*/ 108172 h 274513"/>
                <a:gd name="connsiteX2-611" fmla="*/ 200390 w 393970"/>
                <a:gd name="connsiteY2-612" fmla="*/ 186964 h 274513"/>
                <a:gd name="connsiteX3-613" fmla="*/ 258756 w 393970"/>
                <a:gd name="connsiteY3-614" fmla="*/ 84824 h 274513"/>
                <a:gd name="connsiteX4-615" fmla="*/ 287939 w 393970"/>
                <a:gd name="connsiteY4-616" fmla="*/ 7003 h 274513"/>
                <a:gd name="connsiteX5-617" fmla="*/ 312258 w 393970"/>
                <a:gd name="connsiteY5-618" fmla="*/ 7003 h 274513"/>
                <a:gd name="connsiteX6-619" fmla="*/ 360896 w 393970"/>
                <a:gd name="connsiteY6-620" fmla="*/ 36186 h 274513"/>
                <a:gd name="connsiteX7-621" fmla="*/ 393970 w 393970"/>
                <a:gd name="connsiteY7-622" fmla="*/ 98443 h 274513"/>
                <a:gd name="connsiteX8-623" fmla="*/ 310312 w 393970"/>
                <a:gd name="connsiteY8-624" fmla="*/ 89690 h 274513"/>
                <a:gd name="connsiteX9-625" fmla="*/ 200390 w 393970"/>
                <a:gd name="connsiteY9-626" fmla="*/ 274513 h 274513"/>
                <a:gd name="connsiteX10-627" fmla="*/ 100195 w 393970"/>
                <a:gd name="connsiteY10-628" fmla="*/ 105253 h 274513"/>
                <a:gd name="connsiteX11-629" fmla="*/ 0 w 393970"/>
                <a:gd name="connsiteY11-630" fmla="*/ 102334 h 274513"/>
                <a:gd name="connsiteX12-631" fmla="*/ 78794 w 393970"/>
                <a:gd name="connsiteY12-632" fmla="*/ 16730 h 274513"/>
                <a:gd name="connsiteX0-633" fmla="*/ 78794 w 393970"/>
                <a:gd name="connsiteY0-634" fmla="*/ 16730 h 274513"/>
                <a:gd name="connsiteX1-635" fmla="*/ 158561 w 393970"/>
                <a:gd name="connsiteY1-636" fmla="*/ 108172 h 274513"/>
                <a:gd name="connsiteX2-637" fmla="*/ 200390 w 393970"/>
                <a:gd name="connsiteY2-638" fmla="*/ 186964 h 274513"/>
                <a:gd name="connsiteX3-639" fmla="*/ 258756 w 393970"/>
                <a:gd name="connsiteY3-640" fmla="*/ 84824 h 274513"/>
                <a:gd name="connsiteX4-641" fmla="*/ 287939 w 393970"/>
                <a:gd name="connsiteY4-642" fmla="*/ 7003 h 274513"/>
                <a:gd name="connsiteX5-643" fmla="*/ 312258 w 393970"/>
                <a:gd name="connsiteY5-644" fmla="*/ 7003 h 274513"/>
                <a:gd name="connsiteX6-645" fmla="*/ 360896 w 393970"/>
                <a:gd name="connsiteY6-646" fmla="*/ 36186 h 274513"/>
                <a:gd name="connsiteX7-647" fmla="*/ 393970 w 393970"/>
                <a:gd name="connsiteY7-648" fmla="*/ 98443 h 274513"/>
                <a:gd name="connsiteX8-649" fmla="*/ 310312 w 393970"/>
                <a:gd name="connsiteY8-650" fmla="*/ 89690 h 274513"/>
                <a:gd name="connsiteX9-651" fmla="*/ 200390 w 393970"/>
                <a:gd name="connsiteY9-652" fmla="*/ 274513 h 274513"/>
                <a:gd name="connsiteX10-653" fmla="*/ 100195 w 393970"/>
                <a:gd name="connsiteY10-654" fmla="*/ 105253 h 274513"/>
                <a:gd name="connsiteX11-655" fmla="*/ 0 w 393970"/>
                <a:gd name="connsiteY11-656" fmla="*/ 102334 h 274513"/>
                <a:gd name="connsiteX12-657" fmla="*/ 78794 w 393970"/>
                <a:gd name="connsiteY12-658" fmla="*/ 16730 h 274513"/>
                <a:gd name="connsiteX0-659" fmla="*/ 78794 w 393970"/>
                <a:gd name="connsiteY0-660" fmla="*/ 16730 h 274513"/>
                <a:gd name="connsiteX1-661" fmla="*/ 152726 w 393970"/>
                <a:gd name="connsiteY1-662" fmla="*/ 108172 h 274513"/>
                <a:gd name="connsiteX2-663" fmla="*/ 200390 w 393970"/>
                <a:gd name="connsiteY2-664" fmla="*/ 186964 h 274513"/>
                <a:gd name="connsiteX3-665" fmla="*/ 258756 w 393970"/>
                <a:gd name="connsiteY3-666" fmla="*/ 84824 h 274513"/>
                <a:gd name="connsiteX4-667" fmla="*/ 287939 w 393970"/>
                <a:gd name="connsiteY4-668" fmla="*/ 7003 h 274513"/>
                <a:gd name="connsiteX5-669" fmla="*/ 312258 w 393970"/>
                <a:gd name="connsiteY5-670" fmla="*/ 7003 h 274513"/>
                <a:gd name="connsiteX6-671" fmla="*/ 360896 w 393970"/>
                <a:gd name="connsiteY6-672" fmla="*/ 36186 h 274513"/>
                <a:gd name="connsiteX7-673" fmla="*/ 393970 w 393970"/>
                <a:gd name="connsiteY7-674" fmla="*/ 98443 h 274513"/>
                <a:gd name="connsiteX8-675" fmla="*/ 310312 w 393970"/>
                <a:gd name="connsiteY8-676" fmla="*/ 89690 h 274513"/>
                <a:gd name="connsiteX9-677" fmla="*/ 200390 w 393970"/>
                <a:gd name="connsiteY9-678" fmla="*/ 274513 h 274513"/>
                <a:gd name="connsiteX10-679" fmla="*/ 100195 w 393970"/>
                <a:gd name="connsiteY10-680" fmla="*/ 105253 h 274513"/>
                <a:gd name="connsiteX11-681" fmla="*/ 0 w 393970"/>
                <a:gd name="connsiteY11-682" fmla="*/ 102334 h 274513"/>
                <a:gd name="connsiteX12-683" fmla="*/ 78794 w 393970"/>
                <a:gd name="connsiteY12-684" fmla="*/ 16730 h 274513"/>
                <a:gd name="connsiteX0-685" fmla="*/ 78794 w 393970"/>
                <a:gd name="connsiteY0-686" fmla="*/ 16730 h 274513"/>
                <a:gd name="connsiteX1-687" fmla="*/ 152726 w 393970"/>
                <a:gd name="connsiteY1-688" fmla="*/ 108172 h 274513"/>
                <a:gd name="connsiteX2-689" fmla="*/ 200390 w 393970"/>
                <a:gd name="connsiteY2-690" fmla="*/ 186964 h 274513"/>
                <a:gd name="connsiteX3-691" fmla="*/ 258756 w 393970"/>
                <a:gd name="connsiteY3-692" fmla="*/ 84824 h 274513"/>
                <a:gd name="connsiteX4-693" fmla="*/ 287939 w 393970"/>
                <a:gd name="connsiteY4-694" fmla="*/ 7003 h 274513"/>
                <a:gd name="connsiteX5-695" fmla="*/ 312258 w 393970"/>
                <a:gd name="connsiteY5-696" fmla="*/ 7003 h 274513"/>
                <a:gd name="connsiteX6-697" fmla="*/ 360896 w 393970"/>
                <a:gd name="connsiteY6-698" fmla="*/ 36186 h 274513"/>
                <a:gd name="connsiteX7-699" fmla="*/ 393970 w 393970"/>
                <a:gd name="connsiteY7-700" fmla="*/ 98443 h 274513"/>
                <a:gd name="connsiteX8-701" fmla="*/ 310312 w 393970"/>
                <a:gd name="connsiteY8-702" fmla="*/ 89690 h 274513"/>
                <a:gd name="connsiteX9-703" fmla="*/ 200390 w 393970"/>
                <a:gd name="connsiteY9-704" fmla="*/ 274513 h 274513"/>
                <a:gd name="connsiteX10-705" fmla="*/ 100195 w 393970"/>
                <a:gd name="connsiteY10-706" fmla="*/ 105253 h 274513"/>
                <a:gd name="connsiteX11-707" fmla="*/ 0 w 393970"/>
                <a:gd name="connsiteY11-708" fmla="*/ 102334 h 274513"/>
                <a:gd name="connsiteX12-709" fmla="*/ 78794 w 393970"/>
                <a:gd name="connsiteY12-710" fmla="*/ 16730 h 274513"/>
                <a:gd name="connsiteX0-711" fmla="*/ 78794 w 393970"/>
                <a:gd name="connsiteY0-712" fmla="*/ 16730 h 274513"/>
                <a:gd name="connsiteX1-713" fmla="*/ 152726 w 393970"/>
                <a:gd name="connsiteY1-714" fmla="*/ 108172 h 274513"/>
                <a:gd name="connsiteX2-715" fmla="*/ 200390 w 393970"/>
                <a:gd name="connsiteY2-716" fmla="*/ 186964 h 274513"/>
                <a:gd name="connsiteX3-717" fmla="*/ 258756 w 393970"/>
                <a:gd name="connsiteY3-718" fmla="*/ 84824 h 274513"/>
                <a:gd name="connsiteX4-719" fmla="*/ 287939 w 393970"/>
                <a:gd name="connsiteY4-720" fmla="*/ 7003 h 274513"/>
                <a:gd name="connsiteX5-721" fmla="*/ 312258 w 393970"/>
                <a:gd name="connsiteY5-722" fmla="*/ 7003 h 274513"/>
                <a:gd name="connsiteX6-723" fmla="*/ 360896 w 393970"/>
                <a:gd name="connsiteY6-724" fmla="*/ 36186 h 274513"/>
                <a:gd name="connsiteX7-725" fmla="*/ 393970 w 393970"/>
                <a:gd name="connsiteY7-726" fmla="*/ 98443 h 274513"/>
                <a:gd name="connsiteX8-727" fmla="*/ 310312 w 393970"/>
                <a:gd name="connsiteY8-728" fmla="*/ 89690 h 274513"/>
                <a:gd name="connsiteX9-729" fmla="*/ 200390 w 393970"/>
                <a:gd name="connsiteY9-730" fmla="*/ 274513 h 274513"/>
                <a:gd name="connsiteX10-731" fmla="*/ 100195 w 393970"/>
                <a:gd name="connsiteY10-732" fmla="*/ 105253 h 274513"/>
                <a:gd name="connsiteX11-733" fmla="*/ 0 w 393970"/>
                <a:gd name="connsiteY11-734" fmla="*/ 102334 h 274513"/>
                <a:gd name="connsiteX12-735" fmla="*/ 78794 w 393970"/>
                <a:gd name="connsiteY12-736" fmla="*/ 16730 h 274513"/>
                <a:gd name="connsiteX0-737" fmla="*/ 78794 w 393970"/>
                <a:gd name="connsiteY0-738" fmla="*/ 16312 h 274095"/>
                <a:gd name="connsiteX1-739" fmla="*/ 152726 w 393970"/>
                <a:gd name="connsiteY1-740" fmla="*/ 107754 h 274095"/>
                <a:gd name="connsiteX2-741" fmla="*/ 200390 w 393970"/>
                <a:gd name="connsiteY2-742" fmla="*/ 186546 h 274095"/>
                <a:gd name="connsiteX3-743" fmla="*/ 249029 w 393970"/>
                <a:gd name="connsiteY3-744" fmla="*/ 78569 h 274095"/>
                <a:gd name="connsiteX4-745" fmla="*/ 287939 w 393970"/>
                <a:gd name="connsiteY4-746" fmla="*/ 6585 h 274095"/>
                <a:gd name="connsiteX5-747" fmla="*/ 312258 w 393970"/>
                <a:gd name="connsiteY5-748" fmla="*/ 6585 h 274095"/>
                <a:gd name="connsiteX6-749" fmla="*/ 360896 w 393970"/>
                <a:gd name="connsiteY6-750" fmla="*/ 35768 h 274095"/>
                <a:gd name="connsiteX7-751" fmla="*/ 393970 w 393970"/>
                <a:gd name="connsiteY7-752" fmla="*/ 98025 h 274095"/>
                <a:gd name="connsiteX8-753" fmla="*/ 310312 w 393970"/>
                <a:gd name="connsiteY8-754" fmla="*/ 89272 h 274095"/>
                <a:gd name="connsiteX9-755" fmla="*/ 200390 w 393970"/>
                <a:gd name="connsiteY9-756" fmla="*/ 274095 h 274095"/>
                <a:gd name="connsiteX10-757" fmla="*/ 100195 w 393970"/>
                <a:gd name="connsiteY10-758" fmla="*/ 104835 h 274095"/>
                <a:gd name="connsiteX11-759" fmla="*/ 0 w 393970"/>
                <a:gd name="connsiteY11-760" fmla="*/ 101916 h 274095"/>
                <a:gd name="connsiteX12-761" fmla="*/ 78794 w 393970"/>
                <a:gd name="connsiteY12-762" fmla="*/ 16312 h 27409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Lst>
              <a:rect l="l" t="t" r="r" b="b"/>
              <a:pathLst>
                <a:path w="393970" h="274095">
                  <a:moveTo>
                    <a:pt x="78794" y="16312"/>
                  </a:moveTo>
                  <a:cubicBezTo>
                    <a:pt x="104248" y="17285"/>
                    <a:pt x="134405" y="67709"/>
                    <a:pt x="152726" y="107754"/>
                  </a:cubicBezTo>
                  <a:cubicBezTo>
                    <a:pt x="171047" y="147799"/>
                    <a:pt x="183042" y="166769"/>
                    <a:pt x="200390" y="186546"/>
                  </a:cubicBezTo>
                  <a:cubicBezTo>
                    <a:pt x="211900" y="157689"/>
                    <a:pt x="234438" y="108562"/>
                    <a:pt x="249029" y="78569"/>
                  </a:cubicBezTo>
                  <a:cubicBezTo>
                    <a:pt x="263620" y="48576"/>
                    <a:pt x="277401" y="18582"/>
                    <a:pt x="287939" y="6585"/>
                  </a:cubicBezTo>
                  <a:cubicBezTo>
                    <a:pt x="298477" y="-5412"/>
                    <a:pt x="300099" y="1721"/>
                    <a:pt x="312258" y="6585"/>
                  </a:cubicBezTo>
                  <a:cubicBezTo>
                    <a:pt x="324418" y="11449"/>
                    <a:pt x="347277" y="20528"/>
                    <a:pt x="360896" y="35768"/>
                  </a:cubicBezTo>
                  <a:cubicBezTo>
                    <a:pt x="374515" y="51008"/>
                    <a:pt x="390081" y="74517"/>
                    <a:pt x="393970" y="98025"/>
                  </a:cubicBezTo>
                  <a:cubicBezTo>
                    <a:pt x="355062" y="90406"/>
                    <a:pt x="342251" y="84569"/>
                    <a:pt x="310312" y="89272"/>
                  </a:cubicBezTo>
                  <a:cubicBezTo>
                    <a:pt x="280318" y="119265"/>
                    <a:pt x="244164" y="205681"/>
                    <a:pt x="200390" y="274095"/>
                  </a:cubicBezTo>
                  <a:cubicBezTo>
                    <a:pt x="174124" y="214112"/>
                    <a:pt x="128567" y="135639"/>
                    <a:pt x="100195" y="104835"/>
                  </a:cubicBezTo>
                  <a:cubicBezTo>
                    <a:pt x="66797" y="76139"/>
                    <a:pt x="40530" y="91380"/>
                    <a:pt x="0" y="101916"/>
                  </a:cubicBezTo>
                  <a:cubicBezTo>
                    <a:pt x="17833" y="63817"/>
                    <a:pt x="53340" y="15339"/>
                    <a:pt x="78794" y="16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grpSp>
      <p:grpSp>
        <p:nvGrpSpPr>
          <p:cNvPr id="14" name="Group 118"/>
          <p:cNvGrpSpPr/>
          <p:nvPr/>
        </p:nvGrpSpPr>
        <p:grpSpPr>
          <a:xfrm>
            <a:off x="5318957" y="4157988"/>
            <a:ext cx="1485068" cy="1450894"/>
            <a:chOff x="5186888" y="3971505"/>
            <a:chExt cx="1710677" cy="1671310"/>
          </a:xfrm>
          <a:solidFill>
            <a:srgbClr val="86BD7D"/>
          </a:solidFill>
        </p:grpSpPr>
        <p:sp>
          <p:nvSpPr>
            <p:cNvPr id="120" name="Freeform 119"/>
            <p:cNvSpPr/>
            <p:nvPr/>
          </p:nvSpPr>
          <p:spPr>
            <a:xfrm>
              <a:off x="5186888" y="3971505"/>
              <a:ext cx="1710677" cy="1594714"/>
            </a:xfrm>
            <a:custGeom>
              <a:avLst/>
              <a:gdLst>
                <a:gd name="connsiteX0" fmla="*/ 135705 w 2544508"/>
                <a:gd name="connsiteY0" fmla="*/ 2232087 h 2258950"/>
                <a:gd name="connsiteX1" fmla="*/ 194826 w 2544508"/>
                <a:gd name="connsiteY1" fmla="*/ 1834008 h 2258950"/>
                <a:gd name="connsiteX2" fmla="*/ 242122 w 2544508"/>
                <a:gd name="connsiteY2" fmla="*/ 1692118 h 2258950"/>
                <a:gd name="connsiteX3" fmla="*/ 356422 w 2544508"/>
                <a:gd name="connsiteY3" fmla="*/ 1636939 h 2258950"/>
                <a:gd name="connsiteX4" fmla="*/ 990985 w 2544508"/>
                <a:gd name="connsiteY4" fmla="*/ 1455635 h 2258950"/>
                <a:gd name="connsiteX5" fmla="*/ 987043 w 2544508"/>
                <a:gd name="connsiteY5" fmla="*/ 1459577 h 2258950"/>
                <a:gd name="connsiteX6" fmla="*/ 1038281 w 2544508"/>
                <a:gd name="connsiteY6" fmla="*/ 1364983 h 2258950"/>
                <a:gd name="connsiteX7" fmla="*/ 1026457 w 2544508"/>
                <a:gd name="connsiteY7" fmla="*/ 1254625 h 2258950"/>
                <a:gd name="connsiteX8" fmla="*/ 963395 w 2544508"/>
                <a:gd name="connsiteY8" fmla="*/ 1160032 h 2258950"/>
                <a:gd name="connsiteX9" fmla="*/ 916098 w 2544508"/>
                <a:gd name="connsiteY9" fmla="*/ 1053614 h 2258950"/>
                <a:gd name="connsiteX10" fmla="*/ 908216 w 2544508"/>
                <a:gd name="connsiteY10" fmla="*/ 970846 h 2258950"/>
                <a:gd name="connsiteX11" fmla="*/ 872743 w 2544508"/>
                <a:gd name="connsiteY11" fmla="*/ 939314 h 2258950"/>
                <a:gd name="connsiteX12" fmla="*/ 821505 w 2544508"/>
                <a:gd name="connsiteY12" fmla="*/ 852604 h 2258950"/>
                <a:gd name="connsiteX13" fmla="*/ 809681 w 2544508"/>
                <a:gd name="connsiteY13" fmla="*/ 742246 h 2258950"/>
                <a:gd name="connsiteX14" fmla="*/ 829388 w 2544508"/>
                <a:gd name="connsiteY14" fmla="*/ 687066 h 2258950"/>
                <a:gd name="connsiteX15" fmla="*/ 817564 w 2544508"/>
                <a:gd name="connsiteY15" fmla="*/ 596414 h 2258950"/>
                <a:gd name="connsiteX16" fmla="*/ 805740 w 2544508"/>
                <a:gd name="connsiteY16" fmla="*/ 501821 h 2258950"/>
                <a:gd name="connsiteX17" fmla="*/ 837271 w 2544508"/>
                <a:gd name="connsiteY17" fmla="*/ 332342 h 2258950"/>
                <a:gd name="connsiteX18" fmla="*/ 888509 w 2544508"/>
                <a:gd name="connsiteY18" fmla="*/ 210159 h 2258950"/>
                <a:gd name="connsiteX19" fmla="*/ 983102 w 2544508"/>
                <a:gd name="connsiteY19" fmla="*/ 127390 h 2258950"/>
                <a:gd name="connsiteX20" fmla="*/ 1191995 w 2544508"/>
                <a:gd name="connsiteY20" fmla="*/ 20973 h 2258950"/>
                <a:gd name="connsiteX21" fmla="*/ 1404829 w 2544508"/>
                <a:gd name="connsiteY21" fmla="*/ 1266 h 2258950"/>
                <a:gd name="connsiteX22" fmla="*/ 1574309 w 2544508"/>
                <a:gd name="connsiteY22" fmla="*/ 40680 h 2258950"/>
                <a:gd name="connsiteX23" fmla="*/ 1688609 w 2544508"/>
                <a:gd name="connsiteY23" fmla="*/ 99801 h 2258950"/>
                <a:gd name="connsiteX24" fmla="*/ 1731964 w 2544508"/>
                <a:gd name="connsiteY24" fmla="*/ 154980 h 2258950"/>
                <a:gd name="connsiteX25" fmla="*/ 1728022 w 2544508"/>
                <a:gd name="connsiteY25" fmla="*/ 233808 h 2258950"/>
                <a:gd name="connsiteX26" fmla="*/ 1763495 w 2544508"/>
                <a:gd name="connsiteY26" fmla="*/ 249573 h 2258950"/>
                <a:gd name="connsiteX27" fmla="*/ 1838381 w 2544508"/>
                <a:gd name="connsiteY27" fmla="*/ 308694 h 2258950"/>
                <a:gd name="connsiteX28" fmla="*/ 1865971 w 2544508"/>
                <a:gd name="connsiteY28" fmla="*/ 430877 h 2258950"/>
                <a:gd name="connsiteX29" fmla="*/ 1877795 w 2544508"/>
                <a:gd name="connsiteY29" fmla="*/ 600356 h 2258950"/>
                <a:gd name="connsiteX30" fmla="*/ 1858088 w 2544508"/>
                <a:gd name="connsiteY30" fmla="*/ 694949 h 2258950"/>
                <a:gd name="connsiteX31" fmla="*/ 1881736 w 2544508"/>
                <a:gd name="connsiteY31" fmla="*/ 758011 h 2258950"/>
                <a:gd name="connsiteX32" fmla="*/ 1838381 w 2544508"/>
                <a:gd name="connsiteY32" fmla="*/ 899901 h 2258950"/>
                <a:gd name="connsiteX33" fmla="*/ 1787143 w 2544508"/>
                <a:gd name="connsiteY33" fmla="*/ 966904 h 2258950"/>
                <a:gd name="connsiteX34" fmla="*/ 1787143 w 2544508"/>
                <a:gd name="connsiteY34" fmla="*/ 966904 h 2258950"/>
                <a:gd name="connsiteX35" fmla="*/ 1763495 w 2544508"/>
                <a:gd name="connsiteY35" fmla="*/ 986611 h 2258950"/>
                <a:gd name="connsiteX36" fmla="*/ 1739847 w 2544508"/>
                <a:gd name="connsiteY36" fmla="*/ 1128501 h 2258950"/>
                <a:gd name="connsiteX37" fmla="*/ 1668902 w 2544508"/>
                <a:gd name="connsiteY37" fmla="*/ 1258566 h 2258950"/>
                <a:gd name="connsiteX38" fmla="*/ 1645253 w 2544508"/>
                <a:gd name="connsiteY38" fmla="*/ 1309804 h 2258950"/>
                <a:gd name="connsiteX39" fmla="*/ 1661019 w 2544508"/>
                <a:gd name="connsiteY39" fmla="*/ 1408339 h 2258950"/>
                <a:gd name="connsiteX40" fmla="*/ 1728022 w 2544508"/>
                <a:gd name="connsiteY40" fmla="*/ 1491108 h 2258950"/>
                <a:gd name="connsiteX41" fmla="*/ 1984212 w 2544508"/>
                <a:gd name="connsiteY41" fmla="*/ 1550228 h 2258950"/>
                <a:gd name="connsiteX42" fmla="*/ 2212812 w 2544508"/>
                <a:gd name="connsiteY42" fmla="*/ 1609349 h 2258950"/>
                <a:gd name="connsiteX43" fmla="*/ 2346819 w 2544508"/>
                <a:gd name="connsiteY43" fmla="*/ 1652704 h 2258950"/>
                <a:gd name="connsiteX44" fmla="*/ 2461119 w 2544508"/>
                <a:gd name="connsiteY44" fmla="*/ 1696059 h 2258950"/>
                <a:gd name="connsiteX45" fmla="*/ 2496591 w 2544508"/>
                <a:gd name="connsiteY45" fmla="*/ 1849773 h 2258950"/>
                <a:gd name="connsiteX46" fmla="*/ 2524181 w 2544508"/>
                <a:gd name="connsiteY46" fmla="*/ 2050783 h 2258950"/>
                <a:gd name="connsiteX47" fmla="*/ 2543888 w 2544508"/>
                <a:gd name="connsiteY47" fmla="*/ 2232087 h 2258950"/>
                <a:gd name="connsiteX48" fmla="*/ 2539947 w 2544508"/>
                <a:gd name="connsiteY48" fmla="*/ 2232087 h 2258950"/>
                <a:gd name="connsiteX49" fmla="*/ 194826 w 2544508"/>
                <a:gd name="connsiteY49" fmla="*/ 2224204 h 2258950"/>
                <a:gd name="connsiteX50" fmla="*/ 135705 w 2544508"/>
                <a:gd name="connsiteY50" fmla="*/ 2232087 h 2258950"/>
                <a:gd name="connsiteX0-1" fmla="*/ 0 w 2408803"/>
                <a:gd name="connsiteY0-2" fmla="*/ 2232087 h 2261428"/>
                <a:gd name="connsiteX1-3" fmla="*/ 59121 w 2408803"/>
                <a:gd name="connsiteY1-4" fmla="*/ 1834008 h 2261428"/>
                <a:gd name="connsiteX2-5" fmla="*/ 106417 w 2408803"/>
                <a:gd name="connsiteY2-6" fmla="*/ 1692118 h 2261428"/>
                <a:gd name="connsiteX3-7" fmla="*/ 220717 w 2408803"/>
                <a:gd name="connsiteY3-8" fmla="*/ 1636939 h 2261428"/>
                <a:gd name="connsiteX4-9" fmla="*/ 855280 w 2408803"/>
                <a:gd name="connsiteY4-10" fmla="*/ 1455635 h 2261428"/>
                <a:gd name="connsiteX5-11" fmla="*/ 851338 w 2408803"/>
                <a:gd name="connsiteY5-12" fmla="*/ 1459577 h 2261428"/>
                <a:gd name="connsiteX6-13" fmla="*/ 902576 w 2408803"/>
                <a:gd name="connsiteY6-14" fmla="*/ 1364983 h 2261428"/>
                <a:gd name="connsiteX7-15" fmla="*/ 890752 w 2408803"/>
                <a:gd name="connsiteY7-16" fmla="*/ 1254625 h 2261428"/>
                <a:gd name="connsiteX8-17" fmla="*/ 827690 w 2408803"/>
                <a:gd name="connsiteY8-18" fmla="*/ 1160032 h 2261428"/>
                <a:gd name="connsiteX9-19" fmla="*/ 780393 w 2408803"/>
                <a:gd name="connsiteY9-20" fmla="*/ 1053614 h 2261428"/>
                <a:gd name="connsiteX10-21" fmla="*/ 772511 w 2408803"/>
                <a:gd name="connsiteY10-22" fmla="*/ 970846 h 2261428"/>
                <a:gd name="connsiteX11-23" fmla="*/ 737038 w 2408803"/>
                <a:gd name="connsiteY11-24" fmla="*/ 939314 h 2261428"/>
                <a:gd name="connsiteX12-25" fmla="*/ 685800 w 2408803"/>
                <a:gd name="connsiteY12-26" fmla="*/ 852604 h 2261428"/>
                <a:gd name="connsiteX13-27" fmla="*/ 673976 w 2408803"/>
                <a:gd name="connsiteY13-28" fmla="*/ 742246 h 2261428"/>
                <a:gd name="connsiteX14-29" fmla="*/ 693683 w 2408803"/>
                <a:gd name="connsiteY14-30" fmla="*/ 687066 h 2261428"/>
                <a:gd name="connsiteX15-31" fmla="*/ 681859 w 2408803"/>
                <a:gd name="connsiteY15-32" fmla="*/ 596414 h 2261428"/>
                <a:gd name="connsiteX16-33" fmla="*/ 670035 w 2408803"/>
                <a:gd name="connsiteY16-34" fmla="*/ 501821 h 2261428"/>
                <a:gd name="connsiteX17-35" fmla="*/ 701566 w 2408803"/>
                <a:gd name="connsiteY17-36" fmla="*/ 332342 h 2261428"/>
                <a:gd name="connsiteX18-37" fmla="*/ 752804 w 2408803"/>
                <a:gd name="connsiteY18-38" fmla="*/ 210159 h 2261428"/>
                <a:gd name="connsiteX19-39" fmla="*/ 847397 w 2408803"/>
                <a:gd name="connsiteY19-40" fmla="*/ 127390 h 2261428"/>
                <a:gd name="connsiteX20-41" fmla="*/ 1056290 w 2408803"/>
                <a:gd name="connsiteY20-42" fmla="*/ 20973 h 2261428"/>
                <a:gd name="connsiteX21-43" fmla="*/ 1269124 w 2408803"/>
                <a:gd name="connsiteY21-44" fmla="*/ 1266 h 2261428"/>
                <a:gd name="connsiteX22-45" fmla="*/ 1438604 w 2408803"/>
                <a:gd name="connsiteY22-46" fmla="*/ 40680 h 2261428"/>
                <a:gd name="connsiteX23-47" fmla="*/ 1552904 w 2408803"/>
                <a:gd name="connsiteY23-48" fmla="*/ 99801 h 2261428"/>
                <a:gd name="connsiteX24-49" fmla="*/ 1596259 w 2408803"/>
                <a:gd name="connsiteY24-50" fmla="*/ 154980 h 2261428"/>
                <a:gd name="connsiteX25-51" fmla="*/ 1592317 w 2408803"/>
                <a:gd name="connsiteY25-52" fmla="*/ 233808 h 2261428"/>
                <a:gd name="connsiteX26-53" fmla="*/ 1627790 w 2408803"/>
                <a:gd name="connsiteY26-54" fmla="*/ 249573 h 2261428"/>
                <a:gd name="connsiteX27-55" fmla="*/ 1702676 w 2408803"/>
                <a:gd name="connsiteY27-56" fmla="*/ 308694 h 2261428"/>
                <a:gd name="connsiteX28-57" fmla="*/ 1730266 w 2408803"/>
                <a:gd name="connsiteY28-58" fmla="*/ 430877 h 2261428"/>
                <a:gd name="connsiteX29-59" fmla="*/ 1742090 w 2408803"/>
                <a:gd name="connsiteY29-60" fmla="*/ 600356 h 2261428"/>
                <a:gd name="connsiteX30-61" fmla="*/ 1722383 w 2408803"/>
                <a:gd name="connsiteY30-62" fmla="*/ 694949 h 2261428"/>
                <a:gd name="connsiteX31-63" fmla="*/ 1746031 w 2408803"/>
                <a:gd name="connsiteY31-64" fmla="*/ 758011 h 2261428"/>
                <a:gd name="connsiteX32-65" fmla="*/ 1702676 w 2408803"/>
                <a:gd name="connsiteY32-66" fmla="*/ 899901 h 2261428"/>
                <a:gd name="connsiteX33-67" fmla="*/ 1651438 w 2408803"/>
                <a:gd name="connsiteY33-68" fmla="*/ 966904 h 2261428"/>
                <a:gd name="connsiteX34-69" fmla="*/ 1651438 w 2408803"/>
                <a:gd name="connsiteY34-70" fmla="*/ 966904 h 2261428"/>
                <a:gd name="connsiteX35-71" fmla="*/ 1627790 w 2408803"/>
                <a:gd name="connsiteY35-72" fmla="*/ 986611 h 2261428"/>
                <a:gd name="connsiteX36-73" fmla="*/ 1604142 w 2408803"/>
                <a:gd name="connsiteY36-74" fmla="*/ 1128501 h 2261428"/>
                <a:gd name="connsiteX37-75" fmla="*/ 1533197 w 2408803"/>
                <a:gd name="connsiteY37-76" fmla="*/ 1258566 h 2261428"/>
                <a:gd name="connsiteX38-77" fmla="*/ 1509548 w 2408803"/>
                <a:gd name="connsiteY38-78" fmla="*/ 1309804 h 2261428"/>
                <a:gd name="connsiteX39-79" fmla="*/ 1525314 w 2408803"/>
                <a:gd name="connsiteY39-80" fmla="*/ 1408339 h 2261428"/>
                <a:gd name="connsiteX40-81" fmla="*/ 1592317 w 2408803"/>
                <a:gd name="connsiteY40-82" fmla="*/ 1491108 h 2261428"/>
                <a:gd name="connsiteX41-83" fmla="*/ 1848507 w 2408803"/>
                <a:gd name="connsiteY41-84" fmla="*/ 1550228 h 2261428"/>
                <a:gd name="connsiteX42-85" fmla="*/ 2077107 w 2408803"/>
                <a:gd name="connsiteY42-86" fmla="*/ 1609349 h 2261428"/>
                <a:gd name="connsiteX43-87" fmla="*/ 2211114 w 2408803"/>
                <a:gd name="connsiteY43-88" fmla="*/ 1652704 h 2261428"/>
                <a:gd name="connsiteX44-89" fmla="*/ 2325414 w 2408803"/>
                <a:gd name="connsiteY44-90" fmla="*/ 1696059 h 2261428"/>
                <a:gd name="connsiteX45-91" fmla="*/ 2360886 w 2408803"/>
                <a:gd name="connsiteY45-92" fmla="*/ 1849773 h 2261428"/>
                <a:gd name="connsiteX46-93" fmla="*/ 2388476 w 2408803"/>
                <a:gd name="connsiteY46-94" fmla="*/ 2050783 h 2261428"/>
                <a:gd name="connsiteX47-95" fmla="*/ 2408183 w 2408803"/>
                <a:gd name="connsiteY47-96" fmla="*/ 2232087 h 2261428"/>
                <a:gd name="connsiteX48-97" fmla="*/ 2404242 w 2408803"/>
                <a:gd name="connsiteY48-98" fmla="*/ 2232087 h 2261428"/>
                <a:gd name="connsiteX49-99" fmla="*/ 59121 w 2408803"/>
                <a:gd name="connsiteY49-100" fmla="*/ 2224204 h 2261428"/>
                <a:gd name="connsiteX50-101" fmla="*/ 0 w 2408803"/>
                <a:gd name="connsiteY50-102" fmla="*/ 2232087 h 2261428"/>
                <a:gd name="connsiteX0-103" fmla="*/ 241 w 2409044"/>
                <a:gd name="connsiteY0-104" fmla="*/ 2232087 h 2245516"/>
                <a:gd name="connsiteX1-105" fmla="*/ 59362 w 2409044"/>
                <a:gd name="connsiteY1-106" fmla="*/ 1834008 h 2245516"/>
                <a:gd name="connsiteX2-107" fmla="*/ 106658 w 2409044"/>
                <a:gd name="connsiteY2-108" fmla="*/ 1692118 h 2245516"/>
                <a:gd name="connsiteX3-109" fmla="*/ 220958 w 2409044"/>
                <a:gd name="connsiteY3-110" fmla="*/ 1636939 h 2245516"/>
                <a:gd name="connsiteX4-111" fmla="*/ 855521 w 2409044"/>
                <a:gd name="connsiteY4-112" fmla="*/ 1455635 h 2245516"/>
                <a:gd name="connsiteX5-113" fmla="*/ 851579 w 2409044"/>
                <a:gd name="connsiteY5-114" fmla="*/ 1459577 h 2245516"/>
                <a:gd name="connsiteX6-115" fmla="*/ 902817 w 2409044"/>
                <a:gd name="connsiteY6-116" fmla="*/ 1364983 h 2245516"/>
                <a:gd name="connsiteX7-117" fmla="*/ 890993 w 2409044"/>
                <a:gd name="connsiteY7-118" fmla="*/ 1254625 h 2245516"/>
                <a:gd name="connsiteX8-119" fmla="*/ 827931 w 2409044"/>
                <a:gd name="connsiteY8-120" fmla="*/ 1160032 h 2245516"/>
                <a:gd name="connsiteX9-121" fmla="*/ 780634 w 2409044"/>
                <a:gd name="connsiteY9-122" fmla="*/ 1053614 h 2245516"/>
                <a:gd name="connsiteX10-123" fmla="*/ 772752 w 2409044"/>
                <a:gd name="connsiteY10-124" fmla="*/ 970846 h 2245516"/>
                <a:gd name="connsiteX11-125" fmla="*/ 737279 w 2409044"/>
                <a:gd name="connsiteY11-126" fmla="*/ 939314 h 2245516"/>
                <a:gd name="connsiteX12-127" fmla="*/ 686041 w 2409044"/>
                <a:gd name="connsiteY12-128" fmla="*/ 852604 h 2245516"/>
                <a:gd name="connsiteX13-129" fmla="*/ 674217 w 2409044"/>
                <a:gd name="connsiteY13-130" fmla="*/ 742246 h 2245516"/>
                <a:gd name="connsiteX14-131" fmla="*/ 693924 w 2409044"/>
                <a:gd name="connsiteY14-132" fmla="*/ 687066 h 2245516"/>
                <a:gd name="connsiteX15-133" fmla="*/ 682100 w 2409044"/>
                <a:gd name="connsiteY15-134" fmla="*/ 596414 h 2245516"/>
                <a:gd name="connsiteX16-135" fmla="*/ 670276 w 2409044"/>
                <a:gd name="connsiteY16-136" fmla="*/ 501821 h 2245516"/>
                <a:gd name="connsiteX17-137" fmla="*/ 701807 w 2409044"/>
                <a:gd name="connsiteY17-138" fmla="*/ 332342 h 2245516"/>
                <a:gd name="connsiteX18-139" fmla="*/ 753045 w 2409044"/>
                <a:gd name="connsiteY18-140" fmla="*/ 210159 h 2245516"/>
                <a:gd name="connsiteX19-141" fmla="*/ 847638 w 2409044"/>
                <a:gd name="connsiteY19-142" fmla="*/ 127390 h 2245516"/>
                <a:gd name="connsiteX20-143" fmla="*/ 1056531 w 2409044"/>
                <a:gd name="connsiteY20-144" fmla="*/ 20973 h 2245516"/>
                <a:gd name="connsiteX21-145" fmla="*/ 1269365 w 2409044"/>
                <a:gd name="connsiteY21-146" fmla="*/ 1266 h 2245516"/>
                <a:gd name="connsiteX22-147" fmla="*/ 1438845 w 2409044"/>
                <a:gd name="connsiteY22-148" fmla="*/ 40680 h 2245516"/>
                <a:gd name="connsiteX23-149" fmla="*/ 1553145 w 2409044"/>
                <a:gd name="connsiteY23-150" fmla="*/ 99801 h 2245516"/>
                <a:gd name="connsiteX24-151" fmla="*/ 1596500 w 2409044"/>
                <a:gd name="connsiteY24-152" fmla="*/ 154980 h 2245516"/>
                <a:gd name="connsiteX25-153" fmla="*/ 1592558 w 2409044"/>
                <a:gd name="connsiteY25-154" fmla="*/ 233808 h 2245516"/>
                <a:gd name="connsiteX26-155" fmla="*/ 1628031 w 2409044"/>
                <a:gd name="connsiteY26-156" fmla="*/ 249573 h 2245516"/>
                <a:gd name="connsiteX27-157" fmla="*/ 1702917 w 2409044"/>
                <a:gd name="connsiteY27-158" fmla="*/ 308694 h 2245516"/>
                <a:gd name="connsiteX28-159" fmla="*/ 1730507 w 2409044"/>
                <a:gd name="connsiteY28-160" fmla="*/ 430877 h 2245516"/>
                <a:gd name="connsiteX29-161" fmla="*/ 1742331 w 2409044"/>
                <a:gd name="connsiteY29-162" fmla="*/ 600356 h 2245516"/>
                <a:gd name="connsiteX30-163" fmla="*/ 1722624 w 2409044"/>
                <a:gd name="connsiteY30-164" fmla="*/ 694949 h 2245516"/>
                <a:gd name="connsiteX31-165" fmla="*/ 1746272 w 2409044"/>
                <a:gd name="connsiteY31-166" fmla="*/ 758011 h 2245516"/>
                <a:gd name="connsiteX32-167" fmla="*/ 1702917 w 2409044"/>
                <a:gd name="connsiteY32-168" fmla="*/ 899901 h 2245516"/>
                <a:gd name="connsiteX33-169" fmla="*/ 1651679 w 2409044"/>
                <a:gd name="connsiteY33-170" fmla="*/ 966904 h 2245516"/>
                <a:gd name="connsiteX34-171" fmla="*/ 1651679 w 2409044"/>
                <a:gd name="connsiteY34-172" fmla="*/ 966904 h 2245516"/>
                <a:gd name="connsiteX35-173" fmla="*/ 1628031 w 2409044"/>
                <a:gd name="connsiteY35-174" fmla="*/ 986611 h 2245516"/>
                <a:gd name="connsiteX36-175" fmla="*/ 1604383 w 2409044"/>
                <a:gd name="connsiteY36-176" fmla="*/ 1128501 h 2245516"/>
                <a:gd name="connsiteX37-177" fmla="*/ 1533438 w 2409044"/>
                <a:gd name="connsiteY37-178" fmla="*/ 1258566 h 2245516"/>
                <a:gd name="connsiteX38-179" fmla="*/ 1509789 w 2409044"/>
                <a:gd name="connsiteY38-180" fmla="*/ 1309804 h 2245516"/>
                <a:gd name="connsiteX39-181" fmla="*/ 1525555 w 2409044"/>
                <a:gd name="connsiteY39-182" fmla="*/ 1408339 h 2245516"/>
                <a:gd name="connsiteX40-183" fmla="*/ 1592558 w 2409044"/>
                <a:gd name="connsiteY40-184" fmla="*/ 1491108 h 2245516"/>
                <a:gd name="connsiteX41-185" fmla="*/ 1848748 w 2409044"/>
                <a:gd name="connsiteY41-186" fmla="*/ 1550228 h 2245516"/>
                <a:gd name="connsiteX42-187" fmla="*/ 2077348 w 2409044"/>
                <a:gd name="connsiteY42-188" fmla="*/ 1609349 h 2245516"/>
                <a:gd name="connsiteX43-189" fmla="*/ 2211355 w 2409044"/>
                <a:gd name="connsiteY43-190" fmla="*/ 1652704 h 2245516"/>
                <a:gd name="connsiteX44-191" fmla="*/ 2325655 w 2409044"/>
                <a:gd name="connsiteY44-192" fmla="*/ 1696059 h 2245516"/>
                <a:gd name="connsiteX45-193" fmla="*/ 2361127 w 2409044"/>
                <a:gd name="connsiteY45-194" fmla="*/ 1849773 h 2245516"/>
                <a:gd name="connsiteX46-195" fmla="*/ 2388717 w 2409044"/>
                <a:gd name="connsiteY46-196" fmla="*/ 2050783 h 2245516"/>
                <a:gd name="connsiteX47-197" fmla="*/ 2408424 w 2409044"/>
                <a:gd name="connsiteY47-198" fmla="*/ 2232087 h 2245516"/>
                <a:gd name="connsiteX48-199" fmla="*/ 2404483 w 2409044"/>
                <a:gd name="connsiteY48-200" fmla="*/ 2232087 h 2245516"/>
                <a:gd name="connsiteX49-201" fmla="*/ 59362 w 2409044"/>
                <a:gd name="connsiteY49-202" fmla="*/ 2224204 h 2245516"/>
                <a:gd name="connsiteX50-203" fmla="*/ 241 w 2409044"/>
                <a:gd name="connsiteY50-204" fmla="*/ 2232087 h 2245516"/>
                <a:gd name="connsiteX0-205" fmla="*/ 62062 w 2470865"/>
                <a:gd name="connsiteY0-206" fmla="*/ 2232087 h 2262785"/>
                <a:gd name="connsiteX1-207" fmla="*/ 121183 w 2470865"/>
                <a:gd name="connsiteY1-208" fmla="*/ 1834008 h 2262785"/>
                <a:gd name="connsiteX2-209" fmla="*/ 168479 w 2470865"/>
                <a:gd name="connsiteY2-210" fmla="*/ 1692118 h 2262785"/>
                <a:gd name="connsiteX3-211" fmla="*/ 282779 w 2470865"/>
                <a:gd name="connsiteY3-212" fmla="*/ 1636939 h 2262785"/>
                <a:gd name="connsiteX4-213" fmla="*/ 917342 w 2470865"/>
                <a:gd name="connsiteY4-214" fmla="*/ 1455635 h 2262785"/>
                <a:gd name="connsiteX5-215" fmla="*/ 913400 w 2470865"/>
                <a:gd name="connsiteY5-216" fmla="*/ 1459577 h 2262785"/>
                <a:gd name="connsiteX6-217" fmla="*/ 964638 w 2470865"/>
                <a:gd name="connsiteY6-218" fmla="*/ 1364983 h 2262785"/>
                <a:gd name="connsiteX7-219" fmla="*/ 952814 w 2470865"/>
                <a:gd name="connsiteY7-220" fmla="*/ 1254625 h 2262785"/>
                <a:gd name="connsiteX8-221" fmla="*/ 889752 w 2470865"/>
                <a:gd name="connsiteY8-222" fmla="*/ 1160032 h 2262785"/>
                <a:gd name="connsiteX9-223" fmla="*/ 842455 w 2470865"/>
                <a:gd name="connsiteY9-224" fmla="*/ 1053614 h 2262785"/>
                <a:gd name="connsiteX10-225" fmla="*/ 834573 w 2470865"/>
                <a:gd name="connsiteY10-226" fmla="*/ 970846 h 2262785"/>
                <a:gd name="connsiteX11-227" fmla="*/ 799100 w 2470865"/>
                <a:gd name="connsiteY11-228" fmla="*/ 939314 h 2262785"/>
                <a:gd name="connsiteX12-229" fmla="*/ 747862 w 2470865"/>
                <a:gd name="connsiteY12-230" fmla="*/ 852604 h 2262785"/>
                <a:gd name="connsiteX13-231" fmla="*/ 736038 w 2470865"/>
                <a:gd name="connsiteY13-232" fmla="*/ 742246 h 2262785"/>
                <a:gd name="connsiteX14-233" fmla="*/ 755745 w 2470865"/>
                <a:gd name="connsiteY14-234" fmla="*/ 687066 h 2262785"/>
                <a:gd name="connsiteX15-235" fmla="*/ 743921 w 2470865"/>
                <a:gd name="connsiteY15-236" fmla="*/ 596414 h 2262785"/>
                <a:gd name="connsiteX16-237" fmla="*/ 732097 w 2470865"/>
                <a:gd name="connsiteY16-238" fmla="*/ 501821 h 2262785"/>
                <a:gd name="connsiteX17-239" fmla="*/ 763628 w 2470865"/>
                <a:gd name="connsiteY17-240" fmla="*/ 332342 h 2262785"/>
                <a:gd name="connsiteX18-241" fmla="*/ 814866 w 2470865"/>
                <a:gd name="connsiteY18-242" fmla="*/ 210159 h 2262785"/>
                <a:gd name="connsiteX19-243" fmla="*/ 909459 w 2470865"/>
                <a:gd name="connsiteY19-244" fmla="*/ 127390 h 2262785"/>
                <a:gd name="connsiteX20-245" fmla="*/ 1118352 w 2470865"/>
                <a:gd name="connsiteY20-246" fmla="*/ 20973 h 2262785"/>
                <a:gd name="connsiteX21-247" fmla="*/ 1331186 w 2470865"/>
                <a:gd name="connsiteY21-248" fmla="*/ 1266 h 2262785"/>
                <a:gd name="connsiteX22-249" fmla="*/ 1500666 w 2470865"/>
                <a:gd name="connsiteY22-250" fmla="*/ 40680 h 2262785"/>
                <a:gd name="connsiteX23-251" fmla="*/ 1614966 w 2470865"/>
                <a:gd name="connsiteY23-252" fmla="*/ 99801 h 2262785"/>
                <a:gd name="connsiteX24-253" fmla="*/ 1658321 w 2470865"/>
                <a:gd name="connsiteY24-254" fmla="*/ 154980 h 2262785"/>
                <a:gd name="connsiteX25-255" fmla="*/ 1654379 w 2470865"/>
                <a:gd name="connsiteY25-256" fmla="*/ 233808 h 2262785"/>
                <a:gd name="connsiteX26-257" fmla="*/ 1689852 w 2470865"/>
                <a:gd name="connsiteY26-258" fmla="*/ 249573 h 2262785"/>
                <a:gd name="connsiteX27-259" fmla="*/ 1764738 w 2470865"/>
                <a:gd name="connsiteY27-260" fmla="*/ 308694 h 2262785"/>
                <a:gd name="connsiteX28-261" fmla="*/ 1792328 w 2470865"/>
                <a:gd name="connsiteY28-262" fmla="*/ 430877 h 2262785"/>
                <a:gd name="connsiteX29-263" fmla="*/ 1804152 w 2470865"/>
                <a:gd name="connsiteY29-264" fmla="*/ 600356 h 2262785"/>
                <a:gd name="connsiteX30-265" fmla="*/ 1784445 w 2470865"/>
                <a:gd name="connsiteY30-266" fmla="*/ 694949 h 2262785"/>
                <a:gd name="connsiteX31-267" fmla="*/ 1808093 w 2470865"/>
                <a:gd name="connsiteY31-268" fmla="*/ 758011 h 2262785"/>
                <a:gd name="connsiteX32-269" fmla="*/ 1764738 w 2470865"/>
                <a:gd name="connsiteY32-270" fmla="*/ 899901 h 2262785"/>
                <a:gd name="connsiteX33-271" fmla="*/ 1713500 w 2470865"/>
                <a:gd name="connsiteY33-272" fmla="*/ 966904 h 2262785"/>
                <a:gd name="connsiteX34-273" fmla="*/ 1713500 w 2470865"/>
                <a:gd name="connsiteY34-274" fmla="*/ 966904 h 2262785"/>
                <a:gd name="connsiteX35-275" fmla="*/ 1689852 w 2470865"/>
                <a:gd name="connsiteY35-276" fmla="*/ 986611 h 2262785"/>
                <a:gd name="connsiteX36-277" fmla="*/ 1666204 w 2470865"/>
                <a:gd name="connsiteY36-278" fmla="*/ 1128501 h 2262785"/>
                <a:gd name="connsiteX37-279" fmla="*/ 1595259 w 2470865"/>
                <a:gd name="connsiteY37-280" fmla="*/ 1258566 h 2262785"/>
                <a:gd name="connsiteX38-281" fmla="*/ 1571610 w 2470865"/>
                <a:gd name="connsiteY38-282" fmla="*/ 1309804 h 2262785"/>
                <a:gd name="connsiteX39-283" fmla="*/ 1587376 w 2470865"/>
                <a:gd name="connsiteY39-284" fmla="*/ 1408339 h 2262785"/>
                <a:gd name="connsiteX40-285" fmla="*/ 1654379 w 2470865"/>
                <a:gd name="connsiteY40-286" fmla="*/ 1491108 h 2262785"/>
                <a:gd name="connsiteX41-287" fmla="*/ 1910569 w 2470865"/>
                <a:gd name="connsiteY41-288" fmla="*/ 1550228 h 2262785"/>
                <a:gd name="connsiteX42-289" fmla="*/ 2139169 w 2470865"/>
                <a:gd name="connsiteY42-290" fmla="*/ 1609349 h 2262785"/>
                <a:gd name="connsiteX43-291" fmla="*/ 2273176 w 2470865"/>
                <a:gd name="connsiteY43-292" fmla="*/ 1652704 h 2262785"/>
                <a:gd name="connsiteX44-293" fmla="*/ 2387476 w 2470865"/>
                <a:gd name="connsiteY44-294" fmla="*/ 1696059 h 2262785"/>
                <a:gd name="connsiteX45-295" fmla="*/ 2422948 w 2470865"/>
                <a:gd name="connsiteY45-296" fmla="*/ 1849773 h 2262785"/>
                <a:gd name="connsiteX46-297" fmla="*/ 2450538 w 2470865"/>
                <a:gd name="connsiteY46-298" fmla="*/ 2050783 h 2262785"/>
                <a:gd name="connsiteX47-299" fmla="*/ 2470245 w 2470865"/>
                <a:gd name="connsiteY47-300" fmla="*/ 2232087 h 2262785"/>
                <a:gd name="connsiteX48-301" fmla="*/ 2466304 w 2470865"/>
                <a:gd name="connsiteY48-302" fmla="*/ 2232087 h 2262785"/>
                <a:gd name="connsiteX49-303" fmla="*/ 1090762 w 2470865"/>
                <a:gd name="connsiteY49-304" fmla="*/ 2228145 h 2262785"/>
                <a:gd name="connsiteX50-305" fmla="*/ 62062 w 2470865"/>
                <a:gd name="connsiteY50-306" fmla="*/ 2232087 h 2262785"/>
                <a:gd name="connsiteX0-307" fmla="*/ 18957 w 2427760"/>
                <a:gd name="connsiteY0-308" fmla="*/ 2232087 h 2256644"/>
                <a:gd name="connsiteX1-309" fmla="*/ 78078 w 2427760"/>
                <a:gd name="connsiteY1-310" fmla="*/ 1834008 h 2256644"/>
                <a:gd name="connsiteX2-311" fmla="*/ 125374 w 2427760"/>
                <a:gd name="connsiteY2-312" fmla="*/ 1692118 h 2256644"/>
                <a:gd name="connsiteX3-313" fmla="*/ 239674 w 2427760"/>
                <a:gd name="connsiteY3-314" fmla="*/ 1636939 h 2256644"/>
                <a:gd name="connsiteX4-315" fmla="*/ 874237 w 2427760"/>
                <a:gd name="connsiteY4-316" fmla="*/ 1455635 h 2256644"/>
                <a:gd name="connsiteX5-317" fmla="*/ 870295 w 2427760"/>
                <a:gd name="connsiteY5-318" fmla="*/ 1459577 h 2256644"/>
                <a:gd name="connsiteX6-319" fmla="*/ 921533 w 2427760"/>
                <a:gd name="connsiteY6-320" fmla="*/ 1364983 h 2256644"/>
                <a:gd name="connsiteX7-321" fmla="*/ 909709 w 2427760"/>
                <a:gd name="connsiteY7-322" fmla="*/ 1254625 h 2256644"/>
                <a:gd name="connsiteX8-323" fmla="*/ 846647 w 2427760"/>
                <a:gd name="connsiteY8-324" fmla="*/ 1160032 h 2256644"/>
                <a:gd name="connsiteX9-325" fmla="*/ 799350 w 2427760"/>
                <a:gd name="connsiteY9-326" fmla="*/ 1053614 h 2256644"/>
                <a:gd name="connsiteX10-327" fmla="*/ 791468 w 2427760"/>
                <a:gd name="connsiteY10-328" fmla="*/ 970846 h 2256644"/>
                <a:gd name="connsiteX11-329" fmla="*/ 755995 w 2427760"/>
                <a:gd name="connsiteY11-330" fmla="*/ 939314 h 2256644"/>
                <a:gd name="connsiteX12-331" fmla="*/ 704757 w 2427760"/>
                <a:gd name="connsiteY12-332" fmla="*/ 852604 h 2256644"/>
                <a:gd name="connsiteX13-333" fmla="*/ 692933 w 2427760"/>
                <a:gd name="connsiteY13-334" fmla="*/ 742246 h 2256644"/>
                <a:gd name="connsiteX14-335" fmla="*/ 712640 w 2427760"/>
                <a:gd name="connsiteY14-336" fmla="*/ 687066 h 2256644"/>
                <a:gd name="connsiteX15-337" fmla="*/ 700816 w 2427760"/>
                <a:gd name="connsiteY15-338" fmla="*/ 596414 h 2256644"/>
                <a:gd name="connsiteX16-339" fmla="*/ 688992 w 2427760"/>
                <a:gd name="connsiteY16-340" fmla="*/ 501821 h 2256644"/>
                <a:gd name="connsiteX17-341" fmla="*/ 720523 w 2427760"/>
                <a:gd name="connsiteY17-342" fmla="*/ 332342 h 2256644"/>
                <a:gd name="connsiteX18-343" fmla="*/ 771761 w 2427760"/>
                <a:gd name="connsiteY18-344" fmla="*/ 210159 h 2256644"/>
                <a:gd name="connsiteX19-345" fmla="*/ 866354 w 2427760"/>
                <a:gd name="connsiteY19-346" fmla="*/ 127390 h 2256644"/>
                <a:gd name="connsiteX20-347" fmla="*/ 1075247 w 2427760"/>
                <a:gd name="connsiteY20-348" fmla="*/ 20973 h 2256644"/>
                <a:gd name="connsiteX21-349" fmla="*/ 1288081 w 2427760"/>
                <a:gd name="connsiteY21-350" fmla="*/ 1266 h 2256644"/>
                <a:gd name="connsiteX22-351" fmla="*/ 1457561 w 2427760"/>
                <a:gd name="connsiteY22-352" fmla="*/ 40680 h 2256644"/>
                <a:gd name="connsiteX23-353" fmla="*/ 1571861 w 2427760"/>
                <a:gd name="connsiteY23-354" fmla="*/ 99801 h 2256644"/>
                <a:gd name="connsiteX24-355" fmla="*/ 1615216 w 2427760"/>
                <a:gd name="connsiteY24-356" fmla="*/ 154980 h 2256644"/>
                <a:gd name="connsiteX25-357" fmla="*/ 1611274 w 2427760"/>
                <a:gd name="connsiteY25-358" fmla="*/ 233808 h 2256644"/>
                <a:gd name="connsiteX26-359" fmla="*/ 1646747 w 2427760"/>
                <a:gd name="connsiteY26-360" fmla="*/ 249573 h 2256644"/>
                <a:gd name="connsiteX27-361" fmla="*/ 1721633 w 2427760"/>
                <a:gd name="connsiteY27-362" fmla="*/ 308694 h 2256644"/>
                <a:gd name="connsiteX28-363" fmla="*/ 1749223 w 2427760"/>
                <a:gd name="connsiteY28-364" fmla="*/ 430877 h 2256644"/>
                <a:gd name="connsiteX29-365" fmla="*/ 1761047 w 2427760"/>
                <a:gd name="connsiteY29-366" fmla="*/ 600356 h 2256644"/>
                <a:gd name="connsiteX30-367" fmla="*/ 1741340 w 2427760"/>
                <a:gd name="connsiteY30-368" fmla="*/ 694949 h 2256644"/>
                <a:gd name="connsiteX31-369" fmla="*/ 1764988 w 2427760"/>
                <a:gd name="connsiteY31-370" fmla="*/ 758011 h 2256644"/>
                <a:gd name="connsiteX32-371" fmla="*/ 1721633 w 2427760"/>
                <a:gd name="connsiteY32-372" fmla="*/ 899901 h 2256644"/>
                <a:gd name="connsiteX33-373" fmla="*/ 1670395 w 2427760"/>
                <a:gd name="connsiteY33-374" fmla="*/ 966904 h 2256644"/>
                <a:gd name="connsiteX34-375" fmla="*/ 1670395 w 2427760"/>
                <a:gd name="connsiteY34-376" fmla="*/ 966904 h 2256644"/>
                <a:gd name="connsiteX35-377" fmla="*/ 1646747 w 2427760"/>
                <a:gd name="connsiteY35-378" fmla="*/ 986611 h 2256644"/>
                <a:gd name="connsiteX36-379" fmla="*/ 1623099 w 2427760"/>
                <a:gd name="connsiteY36-380" fmla="*/ 1128501 h 2256644"/>
                <a:gd name="connsiteX37-381" fmla="*/ 1552154 w 2427760"/>
                <a:gd name="connsiteY37-382" fmla="*/ 1258566 h 2256644"/>
                <a:gd name="connsiteX38-383" fmla="*/ 1528505 w 2427760"/>
                <a:gd name="connsiteY38-384" fmla="*/ 1309804 h 2256644"/>
                <a:gd name="connsiteX39-385" fmla="*/ 1544271 w 2427760"/>
                <a:gd name="connsiteY39-386" fmla="*/ 1408339 h 2256644"/>
                <a:gd name="connsiteX40-387" fmla="*/ 1611274 w 2427760"/>
                <a:gd name="connsiteY40-388" fmla="*/ 1491108 h 2256644"/>
                <a:gd name="connsiteX41-389" fmla="*/ 1867464 w 2427760"/>
                <a:gd name="connsiteY41-390" fmla="*/ 1550228 h 2256644"/>
                <a:gd name="connsiteX42-391" fmla="*/ 2096064 w 2427760"/>
                <a:gd name="connsiteY42-392" fmla="*/ 1609349 h 2256644"/>
                <a:gd name="connsiteX43-393" fmla="*/ 2230071 w 2427760"/>
                <a:gd name="connsiteY43-394" fmla="*/ 1652704 h 2256644"/>
                <a:gd name="connsiteX44-395" fmla="*/ 2344371 w 2427760"/>
                <a:gd name="connsiteY44-396" fmla="*/ 1696059 h 2256644"/>
                <a:gd name="connsiteX45-397" fmla="*/ 2379843 w 2427760"/>
                <a:gd name="connsiteY45-398" fmla="*/ 1849773 h 2256644"/>
                <a:gd name="connsiteX46-399" fmla="*/ 2407433 w 2427760"/>
                <a:gd name="connsiteY46-400" fmla="*/ 2050783 h 2256644"/>
                <a:gd name="connsiteX47-401" fmla="*/ 2427140 w 2427760"/>
                <a:gd name="connsiteY47-402" fmla="*/ 2232087 h 2256644"/>
                <a:gd name="connsiteX48-403" fmla="*/ 2423199 w 2427760"/>
                <a:gd name="connsiteY48-404" fmla="*/ 2232087 h 2256644"/>
                <a:gd name="connsiteX49-405" fmla="*/ 440685 w 2427760"/>
                <a:gd name="connsiteY49-406" fmla="*/ 2208438 h 2256644"/>
                <a:gd name="connsiteX50-407" fmla="*/ 18957 w 2427760"/>
                <a:gd name="connsiteY50-408" fmla="*/ 2232087 h 2256644"/>
                <a:gd name="connsiteX0-409" fmla="*/ 18957 w 2427760"/>
                <a:gd name="connsiteY0-410" fmla="*/ 2232087 h 2255961"/>
                <a:gd name="connsiteX1-411" fmla="*/ 78078 w 2427760"/>
                <a:gd name="connsiteY1-412" fmla="*/ 1834008 h 2255961"/>
                <a:gd name="connsiteX2-413" fmla="*/ 125374 w 2427760"/>
                <a:gd name="connsiteY2-414" fmla="*/ 1692118 h 2255961"/>
                <a:gd name="connsiteX3-415" fmla="*/ 239674 w 2427760"/>
                <a:gd name="connsiteY3-416" fmla="*/ 1636939 h 2255961"/>
                <a:gd name="connsiteX4-417" fmla="*/ 874237 w 2427760"/>
                <a:gd name="connsiteY4-418" fmla="*/ 1455635 h 2255961"/>
                <a:gd name="connsiteX5-419" fmla="*/ 870295 w 2427760"/>
                <a:gd name="connsiteY5-420" fmla="*/ 1459577 h 2255961"/>
                <a:gd name="connsiteX6-421" fmla="*/ 921533 w 2427760"/>
                <a:gd name="connsiteY6-422" fmla="*/ 1364983 h 2255961"/>
                <a:gd name="connsiteX7-423" fmla="*/ 909709 w 2427760"/>
                <a:gd name="connsiteY7-424" fmla="*/ 1254625 h 2255961"/>
                <a:gd name="connsiteX8-425" fmla="*/ 846647 w 2427760"/>
                <a:gd name="connsiteY8-426" fmla="*/ 1160032 h 2255961"/>
                <a:gd name="connsiteX9-427" fmla="*/ 799350 w 2427760"/>
                <a:gd name="connsiteY9-428" fmla="*/ 1053614 h 2255961"/>
                <a:gd name="connsiteX10-429" fmla="*/ 791468 w 2427760"/>
                <a:gd name="connsiteY10-430" fmla="*/ 970846 h 2255961"/>
                <a:gd name="connsiteX11-431" fmla="*/ 755995 w 2427760"/>
                <a:gd name="connsiteY11-432" fmla="*/ 939314 h 2255961"/>
                <a:gd name="connsiteX12-433" fmla="*/ 704757 w 2427760"/>
                <a:gd name="connsiteY12-434" fmla="*/ 852604 h 2255961"/>
                <a:gd name="connsiteX13-435" fmla="*/ 692933 w 2427760"/>
                <a:gd name="connsiteY13-436" fmla="*/ 742246 h 2255961"/>
                <a:gd name="connsiteX14-437" fmla="*/ 712640 w 2427760"/>
                <a:gd name="connsiteY14-438" fmla="*/ 687066 h 2255961"/>
                <a:gd name="connsiteX15-439" fmla="*/ 700816 w 2427760"/>
                <a:gd name="connsiteY15-440" fmla="*/ 596414 h 2255961"/>
                <a:gd name="connsiteX16-441" fmla="*/ 688992 w 2427760"/>
                <a:gd name="connsiteY16-442" fmla="*/ 501821 h 2255961"/>
                <a:gd name="connsiteX17-443" fmla="*/ 720523 w 2427760"/>
                <a:gd name="connsiteY17-444" fmla="*/ 332342 h 2255961"/>
                <a:gd name="connsiteX18-445" fmla="*/ 771761 w 2427760"/>
                <a:gd name="connsiteY18-446" fmla="*/ 210159 h 2255961"/>
                <a:gd name="connsiteX19-447" fmla="*/ 866354 w 2427760"/>
                <a:gd name="connsiteY19-448" fmla="*/ 127390 h 2255961"/>
                <a:gd name="connsiteX20-449" fmla="*/ 1075247 w 2427760"/>
                <a:gd name="connsiteY20-450" fmla="*/ 20973 h 2255961"/>
                <a:gd name="connsiteX21-451" fmla="*/ 1288081 w 2427760"/>
                <a:gd name="connsiteY21-452" fmla="*/ 1266 h 2255961"/>
                <a:gd name="connsiteX22-453" fmla="*/ 1457561 w 2427760"/>
                <a:gd name="connsiteY22-454" fmla="*/ 40680 h 2255961"/>
                <a:gd name="connsiteX23-455" fmla="*/ 1571861 w 2427760"/>
                <a:gd name="connsiteY23-456" fmla="*/ 99801 h 2255961"/>
                <a:gd name="connsiteX24-457" fmla="*/ 1615216 w 2427760"/>
                <a:gd name="connsiteY24-458" fmla="*/ 154980 h 2255961"/>
                <a:gd name="connsiteX25-459" fmla="*/ 1611274 w 2427760"/>
                <a:gd name="connsiteY25-460" fmla="*/ 233808 h 2255961"/>
                <a:gd name="connsiteX26-461" fmla="*/ 1646747 w 2427760"/>
                <a:gd name="connsiteY26-462" fmla="*/ 249573 h 2255961"/>
                <a:gd name="connsiteX27-463" fmla="*/ 1721633 w 2427760"/>
                <a:gd name="connsiteY27-464" fmla="*/ 308694 h 2255961"/>
                <a:gd name="connsiteX28-465" fmla="*/ 1749223 w 2427760"/>
                <a:gd name="connsiteY28-466" fmla="*/ 430877 h 2255961"/>
                <a:gd name="connsiteX29-467" fmla="*/ 1761047 w 2427760"/>
                <a:gd name="connsiteY29-468" fmla="*/ 600356 h 2255961"/>
                <a:gd name="connsiteX30-469" fmla="*/ 1741340 w 2427760"/>
                <a:gd name="connsiteY30-470" fmla="*/ 694949 h 2255961"/>
                <a:gd name="connsiteX31-471" fmla="*/ 1764988 w 2427760"/>
                <a:gd name="connsiteY31-472" fmla="*/ 758011 h 2255961"/>
                <a:gd name="connsiteX32-473" fmla="*/ 1721633 w 2427760"/>
                <a:gd name="connsiteY32-474" fmla="*/ 899901 h 2255961"/>
                <a:gd name="connsiteX33-475" fmla="*/ 1670395 w 2427760"/>
                <a:gd name="connsiteY33-476" fmla="*/ 966904 h 2255961"/>
                <a:gd name="connsiteX34-477" fmla="*/ 1670395 w 2427760"/>
                <a:gd name="connsiteY34-478" fmla="*/ 966904 h 2255961"/>
                <a:gd name="connsiteX35-479" fmla="*/ 1646747 w 2427760"/>
                <a:gd name="connsiteY35-480" fmla="*/ 986611 h 2255961"/>
                <a:gd name="connsiteX36-481" fmla="*/ 1623099 w 2427760"/>
                <a:gd name="connsiteY36-482" fmla="*/ 1128501 h 2255961"/>
                <a:gd name="connsiteX37-483" fmla="*/ 1552154 w 2427760"/>
                <a:gd name="connsiteY37-484" fmla="*/ 1258566 h 2255961"/>
                <a:gd name="connsiteX38-485" fmla="*/ 1528505 w 2427760"/>
                <a:gd name="connsiteY38-486" fmla="*/ 1309804 h 2255961"/>
                <a:gd name="connsiteX39-487" fmla="*/ 1544271 w 2427760"/>
                <a:gd name="connsiteY39-488" fmla="*/ 1408339 h 2255961"/>
                <a:gd name="connsiteX40-489" fmla="*/ 1611274 w 2427760"/>
                <a:gd name="connsiteY40-490" fmla="*/ 1491108 h 2255961"/>
                <a:gd name="connsiteX41-491" fmla="*/ 1867464 w 2427760"/>
                <a:gd name="connsiteY41-492" fmla="*/ 1550228 h 2255961"/>
                <a:gd name="connsiteX42-493" fmla="*/ 2096064 w 2427760"/>
                <a:gd name="connsiteY42-494" fmla="*/ 1609349 h 2255961"/>
                <a:gd name="connsiteX43-495" fmla="*/ 2230071 w 2427760"/>
                <a:gd name="connsiteY43-496" fmla="*/ 1652704 h 2255961"/>
                <a:gd name="connsiteX44-497" fmla="*/ 2344371 w 2427760"/>
                <a:gd name="connsiteY44-498" fmla="*/ 1696059 h 2255961"/>
                <a:gd name="connsiteX45-499" fmla="*/ 2379843 w 2427760"/>
                <a:gd name="connsiteY45-500" fmla="*/ 1849773 h 2255961"/>
                <a:gd name="connsiteX46-501" fmla="*/ 2407433 w 2427760"/>
                <a:gd name="connsiteY46-502" fmla="*/ 2050783 h 2255961"/>
                <a:gd name="connsiteX47-503" fmla="*/ 2427140 w 2427760"/>
                <a:gd name="connsiteY47-504" fmla="*/ 2232087 h 2255961"/>
                <a:gd name="connsiteX48-505" fmla="*/ 2423199 w 2427760"/>
                <a:gd name="connsiteY48-506" fmla="*/ 2232087 h 2255961"/>
                <a:gd name="connsiteX49-507" fmla="*/ 440685 w 2427760"/>
                <a:gd name="connsiteY49-508" fmla="*/ 2208438 h 2255961"/>
                <a:gd name="connsiteX50-509" fmla="*/ 18957 w 2427760"/>
                <a:gd name="connsiteY50-510" fmla="*/ 2232087 h 2255961"/>
                <a:gd name="connsiteX0-511" fmla="*/ 76709 w 2485512"/>
                <a:gd name="connsiteY0-512" fmla="*/ 2232087 h 2264696"/>
                <a:gd name="connsiteX1-513" fmla="*/ 135830 w 2485512"/>
                <a:gd name="connsiteY1-514" fmla="*/ 1834008 h 2264696"/>
                <a:gd name="connsiteX2-515" fmla="*/ 183126 w 2485512"/>
                <a:gd name="connsiteY2-516" fmla="*/ 1692118 h 2264696"/>
                <a:gd name="connsiteX3-517" fmla="*/ 297426 w 2485512"/>
                <a:gd name="connsiteY3-518" fmla="*/ 1636939 h 2264696"/>
                <a:gd name="connsiteX4-519" fmla="*/ 931989 w 2485512"/>
                <a:gd name="connsiteY4-520" fmla="*/ 1455635 h 2264696"/>
                <a:gd name="connsiteX5-521" fmla="*/ 928047 w 2485512"/>
                <a:gd name="connsiteY5-522" fmla="*/ 1459577 h 2264696"/>
                <a:gd name="connsiteX6-523" fmla="*/ 979285 w 2485512"/>
                <a:gd name="connsiteY6-524" fmla="*/ 1364983 h 2264696"/>
                <a:gd name="connsiteX7-525" fmla="*/ 967461 w 2485512"/>
                <a:gd name="connsiteY7-526" fmla="*/ 1254625 h 2264696"/>
                <a:gd name="connsiteX8-527" fmla="*/ 904399 w 2485512"/>
                <a:gd name="connsiteY8-528" fmla="*/ 1160032 h 2264696"/>
                <a:gd name="connsiteX9-529" fmla="*/ 857102 w 2485512"/>
                <a:gd name="connsiteY9-530" fmla="*/ 1053614 h 2264696"/>
                <a:gd name="connsiteX10-531" fmla="*/ 849220 w 2485512"/>
                <a:gd name="connsiteY10-532" fmla="*/ 970846 h 2264696"/>
                <a:gd name="connsiteX11-533" fmla="*/ 813747 w 2485512"/>
                <a:gd name="connsiteY11-534" fmla="*/ 939314 h 2264696"/>
                <a:gd name="connsiteX12-535" fmla="*/ 762509 w 2485512"/>
                <a:gd name="connsiteY12-536" fmla="*/ 852604 h 2264696"/>
                <a:gd name="connsiteX13-537" fmla="*/ 750685 w 2485512"/>
                <a:gd name="connsiteY13-538" fmla="*/ 742246 h 2264696"/>
                <a:gd name="connsiteX14-539" fmla="*/ 770392 w 2485512"/>
                <a:gd name="connsiteY14-540" fmla="*/ 687066 h 2264696"/>
                <a:gd name="connsiteX15-541" fmla="*/ 758568 w 2485512"/>
                <a:gd name="connsiteY15-542" fmla="*/ 596414 h 2264696"/>
                <a:gd name="connsiteX16-543" fmla="*/ 746744 w 2485512"/>
                <a:gd name="connsiteY16-544" fmla="*/ 501821 h 2264696"/>
                <a:gd name="connsiteX17-545" fmla="*/ 778275 w 2485512"/>
                <a:gd name="connsiteY17-546" fmla="*/ 332342 h 2264696"/>
                <a:gd name="connsiteX18-547" fmla="*/ 829513 w 2485512"/>
                <a:gd name="connsiteY18-548" fmla="*/ 210159 h 2264696"/>
                <a:gd name="connsiteX19-549" fmla="*/ 924106 w 2485512"/>
                <a:gd name="connsiteY19-550" fmla="*/ 127390 h 2264696"/>
                <a:gd name="connsiteX20-551" fmla="*/ 1132999 w 2485512"/>
                <a:gd name="connsiteY20-552" fmla="*/ 20973 h 2264696"/>
                <a:gd name="connsiteX21-553" fmla="*/ 1345833 w 2485512"/>
                <a:gd name="connsiteY21-554" fmla="*/ 1266 h 2264696"/>
                <a:gd name="connsiteX22-555" fmla="*/ 1515313 w 2485512"/>
                <a:gd name="connsiteY22-556" fmla="*/ 40680 h 2264696"/>
                <a:gd name="connsiteX23-557" fmla="*/ 1629613 w 2485512"/>
                <a:gd name="connsiteY23-558" fmla="*/ 99801 h 2264696"/>
                <a:gd name="connsiteX24-559" fmla="*/ 1672968 w 2485512"/>
                <a:gd name="connsiteY24-560" fmla="*/ 154980 h 2264696"/>
                <a:gd name="connsiteX25-561" fmla="*/ 1669026 w 2485512"/>
                <a:gd name="connsiteY25-562" fmla="*/ 233808 h 2264696"/>
                <a:gd name="connsiteX26-563" fmla="*/ 1704499 w 2485512"/>
                <a:gd name="connsiteY26-564" fmla="*/ 249573 h 2264696"/>
                <a:gd name="connsiteX27-565" fmla="*/ 1779385 w 2485512"/>
                <a:gd name="connsiteY27-566" fmla="*/ 308694 h 2264696"/>
                <a:gd name="connsiteX28-567" fmla="*/ 1806975 w 2485512"/>
                <a:gd name="connsiteY28-568" fmla="*/ 430877 h 2264696"/>
                <a:gd name="connsiteX29-569" fmla="*/ 1818799 w 2485512"/>
                <a:gd name="connsiteY29-570" fmla="*/ 600356 h 2264696"/>
                <a:gd name="connsiteX30-571" fmla="*/ 1799092 w 2485512"/>
                <a:gd name="connsiteY30-572" fmla="*/ 694949 h 2264696"/>
                <a:gd name="connsiteX31-573" fmla="*/ 1822740 w 2485512"/>
                <a:gd name="connsiteY31-574" fmla="*/ 758011 h 2264696"/>
                <a:gd name="connsiteX32-575" fmla="*/ 1779385 w 2485512"/>
                <a:gd name="connsiteY32-576" fmla="*/ 899901 h 2264696"/>
                <a:gd name="connsiteX33-577" fmla="*/ 1728147 w 2485512"/>
                <a:gd name="connsiteY33-578" fmla="*/ 966904 h 2264696"/>
                <a:gd name="connsiteX34-579" fmla="*/ 1728147 w 2485512"/>
                <a:gd name="connsiteY34-580" fmla="*/ 966904 h 2264696"/>
                <a:gd name="connsiteX35-581" fmla="*/ 1704499 w 2485512"/>
                <a:gd name="connsiteY35-582" fmla="*/ 986611 h 2264696"/>
                <a:gd name="connsiteX36-583" fmla="*/ 1680851 w 2485512"/>
                <a:gd name="connsiteY36-584" fmla="*/ 1128501 h 2264696"/>
                <a:gd name="connsiteX37-585" fmla="*/ 1609906 w 2485512"/>
                <a:gd name="connsiteY37-586" fmla="*/ 1258566 h 2264696"/>
                <a:gd name="connsiteX38-587" fmla="*/ 1586257 w 2485512"/>
                <a:gd name="connsiteY38-588" fmla="*/ 1309804 h 2264696"/>
                <a:gd name="connsiteX39-589" fmla="*/ 1602023 w 2485512"/>
                <a:gd name="connsiteY39-590" fmla="*/ 1408339 h 2264696"/>
                <a:gd name="connsiteX40-591" fmla="*/ 1669026 w 2485512"/>
                <a:gd name="connsiteY40-592" fmla="*/ 1491108 h 2264696"/>
                <a:gd name="connsiteX41-593" fmla="*/ 1925216 w 2485512"/>
                <a:gd name="connsiteY41-594" fmla="*/ 1550228 h 2264696"/>
                <a:gd name="connsiteX42-595" fmla="*/ 2153816 w 2485512"/>
                <a:gd name="connsiteY42-596" fmla="*/ 1609349 h 2264696"/>
                <a:gd name="connsiteX43-597" fmla="*/ 2287823 w 2485512"/>
                <a:gd name="connsiteY43-598" fmla="*/ 1652704 h 2264696"/>
                <a:gd name="connsiteX44-599" fmla="*/ 2402123 w 2485512"/>
                <a:gd name="connsiteY44-600" fmla="*/ 1696059 h 2264696"/>
                <a:gd name="connsiteX45-601" fmla="*/ 2437595 w 2485512"/>
                <a:gd name="connsiteY45-602" fmla="*/ 1849773 h 2264696"/>
                <a:gd name="connsiteX46-603" fmla="*/ 2465185 w 2485512"/>
                <a:gd name="connsiteY46-604" fmla="*/ 2050783 h 2264696"/>
                <a:gd name="connsiteX47-605" fmla="*/ 2484892 w 2485512"/>
                <a:gd name="connsiteY47-606" fmla="*/ 2232087 h 2264696"/>
                <a:gd name="connsiteX48-607" fmla="*/ 2480951 w 2485512"/>
                <a:gd name="connsiteY48-608" fmla="*/ 2232087 h 2264696"/>
                <a:gd name="connsiteX49-609" fmla="*/ 1306420 w 2485512"/>
                <a:gd name="connsiteY49-610" fmla="*/ 2236027 h 2264696"/>
                <a:gd name="connsiteX50-611" fmla="*/ 76709 w 2485512"/>
                <a:gd name="connsiteY50-612" fmla="*/ 2232087 h 2264696"/>
                <a:gd name="connsiteX0-613" fmla="*/ 4 w 2408807"/>
                <a:gd name="connsiteY0-614" fmla="*/ 2232087 h 2254305"/>
                <a:gd name="connsiteX1-615" fmla="*/ 59125 w 2408807"/>
                <a:gd name="connsiteY1-616" fmla="*/ 1834008 h 2254305"/>
                <a:gd name="connsiteX2-617" fmla="*/ 106421 w 2408807"/>
                <a:gd name="connsiteY2-618" fmla="*/ 1692118 h 2254305"/>
                <a:gd name="connsiteX3-619" fmla="*/ 220721 w 2408807"/>
                <a:gd name="connsiteY3-620" fmla="*/ 1636939 h 2254305"/>
                <a:gd name="connsiteX4-621" fmla="*/ 855284 w 2408807"/>
                <a:gd name="connsiteY4-622" fmla="*/ 1455635 h 2254305"/>
                <a:gd name="connsiteX5-623" fmla="*/ 851342 w 2408807"/>
                <a:gd name="connsiteY5-624" fmla="*/ 1459577 h 2254305"/>
                <a:gd name="connsiteX6-625" fmla="*/ 902580 w 2408807"/>
                <a:gd name="connsiteY6-626" fmla="*/ 1364983 h 2254305"/>
                <a:gd name="connsiteX7-627" fmla="*/ 890756 w 2408807"/>
                <a:gd name="connsiteY7-628" fmla="*/ 1254625 h 2254305"/>
                <a:gd name="connsiteX8-629" fmla="*/ 827694 w 2408807"/>
                <a:gd name="connsiteY8-630" fmla="*/ 1160032 h 2254305"/>
                <a:gd name="connsiteX9-631" fmla="*/ 780397 w 2408807"/>
                <a:gd name="connsiteY9-632" fmla="*/ 1053614 h 2254305"/>
                <a:gd name="connsiteX10-633" fmla="*/ 772515 w 2408807"/>
                <a:gd name="connsiteY10-634" fmla="*/ 970846 h 2254305"/>
                <a:gd name="connsiteX11-635" fmla="*/ 737042 w 2408807"/>
                <a:gd name="connsiteY11-636" fmla="*/ 939314 h 2254305"/>
                <a:gd name="connsiteX12-637" fmla="*/ 685804 w 2408807"/>
                <a:gd name="connsiteY12-638" fmla="*/ 852604 h 2254305"/>
                <a:gd name="connsiteX13-639" fmla="*/ 673980 w 2408807"/>
                <a:gd name="connsiteY13-640" fmla="*/ 742246 h 2254305"/>
                <a:gd name="connsiteX14-641" fmla="*/ 693687 w 2408807"/>
                <a:gd name="connsiteY14-642" fmla="*/ 687066 h 2254305"/>
                <a:gd name="connsiteX15-643" fmla="*/ 681863 w 2408807"/>
                <a:gd name="connsiteY15-644" fmla="*/ 596414 h 2254305"/>
                <a:gd name="connsiteX16-645" fmla="*/ 670039 w 2408807"/>
                <a:gd name="connsiteY16-646" fmla="*/ 501821 h 2254305"/>
                <a:gd name="connsiteX17-647" fmla="*/ 701570 w 2408807"/>
                <a:gd name="connsiteY17-648" fmla="*/ 332342 h 2254305"/>
                <a:gd name="connsiteX18-649" fmla="*/ 752808 w 2408807"/>
                <a:gd name="connsiteY18-650" fmla="*/ 210159 h 2254305"/>
                <a:gd name="connsiteX19-651" fmla="*/ 847401 w 2408807"/>
                <a:gd name="connsiteY19-652" fmla="*/ 127390 h 2254305"/>
                <a:gd name="connsiteX20-653" fmla="*/ 1056294 w 2408807"/>
                <a:gd name="connsiteY20-654" fmla="*/ 20973 h 2254305"/>
                <a:gd name="connsiteX21-655" fmla="*/ 1269128 w 2408807"/>
                <a:gd name="connsiteY21-656" fmla="*/ 1266 h 2254305"/>
                <a:gd name="connsiteX22-657" fmla="*/ 1438608 w 2408807"/>
                <a:gd name="connsiteY22-658" fmla="*/ 40680 h 2254305"/>
                <a:gd name="connsiteX23-659" fmla="*/ 1552908 w 2408807"/>
                <a:gd name="connsiteY23-660" fmla="*/ 99801 h 2254305"/>
                <a:gd name="connsiteX24-661" fmla="*/ 1596263 w 2408807"/>
                <a:gd name="connsiteY24-662" fmla="*/ 154980 h 2254305"/>
                <a:gd name="connsiteX25-663" fmla="*/ 1592321 w 2408807"/>
                <a:gd name="connsiteY25-664" fmla="*/ 233808 h 2254305"/>
                <a:gd name="connsiteX26-665" fmla="*/ 1627794 w 2408807"/>
                <a:gd name="connsiteY26-666" fmla="*/ 249573 h 2254305"/>
                <a:gd name="connsiteX27-667" fmla="*/ 1702680 w 2408807"/>
                <a:gd name="connsiteY27-668" fmla="*/ 308694 h 2254305"/>
                <a:gd name="connsiteX28-669" fmla="*/ 1730270 w 2408807"/>
                <a:gd name="connsiteY28-670" fmla="*/ 430877 h 2254305"/>
                <a:gd name="connsiteX29-671" fmla="*/ 1742094 w 2408807"/>
                <a:gd name="connsiteY29-672" fmla="*/ 600356 h 2254305"/>
                <a:gd name="connsiteX30-673" fmla="*/ 1722387 w 2408807"/>
                <a:gd name="connsiteY30-674" fmla="*/ 694949 h 2254305"/>
                <a:gd name="connsiteX31-675" fmla="*/ 1746035 w 2408807"/>
                <a:gd name="connsiteY31-676" fmla="*/ 758011 h 2254305"/>
                <a:gd name="connsiteX32-677" fmla="*/ 1702680 w 2408807"/>
                <a:gd name="connsiteY32-678" fmla="*/ 899901 h 2254305"/>
                <a:gd name="connsiteX33-679" fmla="*/ 1651442 w 2408807"/>
                <a:gd name="connsiteY33-680" fmla="*/ 966904 h 2254305"/>
                <a:gd name="connsiteX34-681" fmla="*/ 1651442 w 2408807"/>
                <a:gd name="connsiteY34-682" fmla="*/ 966904 h 2254305"/>
                <a:gd name="connsiteX35-683" fmla="*/ 1627794 w 2408807"/>
                <a:gd name="connsiteY35-684" fmla="*/ 986611 h 2254305"/>
                <a:gd name="connsiteX36-685" fmla="*/ 1604146 w 2408807"/>
                <a:gd name="connsiteY36-686" fmla="*/ 1128501 h 2254305"/>
                <a:gd name="connsiteX37-687" fmla="*/ 1533201 w 2408807"/>
                <a:gd name="connsiteY37-688" fmla="*/ 1258566 h 2254305"/>
                <a:gd name="connsiteX38-689" fmla="*/ 1509552 w 2408807"/>
                <a:gd name="connsiteY38-690" fmla="*/ 1309804 h 2254305"/>
                <a:gd name="connsiteX39-691" fmla="*/ 1525318 w 2408807"/>
                <a:gd name="connsiteY39-692" fmla="*/ 1408339 h 2254305"/>
                <a:gd name="connsiteX40-693" fmla="*/ 1592321 w 2408807"/>
                <a:gd name="connsiteY40-694" fmla="*/ 1491108 h 2254305"/>
                <a:gd name="connsiteX41-695" fmla="*/ 1848511 w 2408807"/>
                <a:gd name="connsiteY41-696" fmla="*/ 1550228 h 2254305"/>
                <a:gd name="connsiteX42-697" fmla="*/ 2077111 w 2408807"/>
                <a:gd name="connsiteY42-698" fmla="*/ 1609349 h 2254305"/>
                <a:gd name="connsiteX43-699" fmla="*/ 2211118 w 2408807"/>
                <a:gd name="connsiteY43-700" fmla="*/ 1652704 h 2254305"/>
                <a:gd name="connsiteX44-701" fmla="*/ 2325418 w 2408807"/>
                <a:gd name="connsiteY44-702" fmla="*/ 1696059 h 2254305"/>
                <a:gd name="connsiteX45-703" fmla="*/ 2360890 w 2408807"/>
                <a:gd name="connsiteY45-704" fmla="*/ 1849773 h 2254305"/>
                <a:gd name="connsiteX46-705" fmla="*/ 2388480 w 2408807"/>
                <a:gd name="connsiteY46-706" fmla="*/ 2050783 h 2254305"/>
                <a:gd name="connsiteX47-707" fmla="*/ 2408187 w 2408807"/>
                <a:gd name="connsiteY47-708" fmla="*/ 2232087 h 2254305"/>
                <a:gd name="connsiteX48-709" fmla="*/ 2404246 w 2408807"/>
                <a:gd name="connsiteY48-710" fmla="*/ 2232087 h 2254305"/>
                <a:gd name="connsiteX49-711" fmla="*/ 1229715 w 2408807"/>
                <a:gd name="connsiteY49-712" fmla="*/ 2236027 h 2254305"/>
                <a:gd name="connsiteX50-713" fmla="*/ 4 w 2408807"/>
                <a:gd name="connsiteY50-714" fmla="*/ 2232087 h 2254305"/>
                <a:gd name="connsiteX0-715" fmla="*/ 0 w 2408803"/>
                <a:gd name="connsiteY0-716" fmla="*/ 2232087 h 2245516"/>
                <a:gd name="connsiteX1-717" fmla="*/ 59121 w 2408803"/>
                <a:gd name="connsiteY1-718" fmla="*/ 1834008 h 2245516"/>
                <a:gd name="connsiteX2-719" fmla="*/ 106417 w 2408803"/>
                <a:gd name="connsiteY2-720" fmla="*/ 1692118 h 2245516"/>
                <a:gd name="connsiteX3-721" fmla="*/ 220717 w 2408803"/>
                <a:gd name="connsiteY3-722" fmla="*/ 1636939 h 2245516"/>
                <a:gd name="connsiteX4-723" fmla="*/ 855280 w 2408803"/>
                <a:gd name="connsiteY4-724" fmla="*/ 1455635 h 2245516"/>
                <a:gd name="connsiteX5-725" fmla="*/ 851338 w 2408803"/>
                <a:gd name="connsiteY5-726" fmla="*/ 1459577 h 2245516"/>
                <a:gd name="connsiteX6-727" fmla="*/ 902576 w 2408803"/>
                <a:gd name="connsiteY6-728" fmla="*/ 1364983 h 2245516"/>
                <a:gd name="connsiteX7-729" fmla="*/ 890752 w 2408803"/>
                <a:gd name="connsiteY7-730" fmla="*/ 1254625 h 2245516"/>
                <a:gd name="connsiteX8-731" fmla="*/ 827690 w 2408803"/>
                <a:gd name="connsiteY8-732" fmla="*/ 1160032 h 2245516"/>
                <a:gd name="connsiteX9-733" fmla="*/ 780393 w 2408803"/>
                <a:gd name="connsiteY9-734" fmla="*/ 1053614 h 2245516"/>
                <a:gd name="connsiteX10-735" fmla="*/ 772511 w 2408803"/>
                <a:gd name="connsiteY10-736" fmla="*/ 970846 h 2245516"/>
                <a:gd name="connsiteX11-737" fmla="*/ 737038 w 2408803"/>
                <a:gd name="connsiteY11-738" fmla="*/ 939314 h 2245516"/>
                <a:gd name="connsiteX12-739" fmla="*/ 685800 w 2408803"/>
                <a:gd name="connsiteY12-740" fmla="*/ 852604 h 2245516"/>
                <a:gd name="connsiteX13-741" fmla="*/ 673976 w 2408803"/>
                <a:gd name="connsiteY13-742" fmla="*/ 742246 h 2245516"/>
                <a:gd name="connsiteX14-743" fmla="*/ 693683 w 2408803"/>
                <a:gd name="connsiteY14-744" fmla="*/ 687066 h 2245516"/>
                <a:gd name="connsiteX15-745" fmla="*/ 681859 w 2408803"/>
                <a:gd name="connsiteY15-746" fmla="*/ 596414 h 2245516"/>
                <a:gd name="connsiteX16-747" fmla="*/ 670035 w 2408803"/>
                <a:gd name="connsiteY16-748" fmla="*/ 501821 h 2245516"/>
                <a:gd name="connsiteX17-749" fmla="*/ 701566 w 2408803"/>
                <a:gd name="connsiteY17-750" fmla="*/ 332342 h 2245516"/>
                <a:gd name="connsiteX18-751" fmla="*/ 752804 w 2408803"/>
                <a:gd name="connsiteY18-752" fmla="*/ 210159 h 2245516"/>
                <a:gd name="connsiteX19-753" fmla="*/ 847397 w 2408803"/>
                <a:gd name="connsiteY19-754" fmla="*/ 127390 h 2245516"/>
                <a:gd name="connsiteX20-755" fmla="*/ 1056290 w 2408803"/>
                <a:gd name="connsiteY20-756" fmla="*/ 20973 h 2245516"/>
                <a:gd name="connsiteX21-757" fmla="*/ 1269124 w 2408803"/>
                <a:gd name="connsiteY21-758" fmla="*/ 1266 h 2245516"/>
                <a:gd name="connsiteX22-759" fmla="*/ 1438604 w 2408803"/>
                <a:gd name="connsiteY22-760" fmla="*/ 40680 h 2245516"/>
                <a:gd name="connsiteX23-761" fmla="*/ 1552904 w 2408803"/>
                <a:gd name="connsiteY23-762" fmla="*/ 99801 h 2245516"/>
                <a:gd name="connsiteX24-763" fmla="*/ 1596259 w 2408803"/>
                <a:gd name="connsiteY24-764" fmla="*/ 154980 h 2245516"/>
                <a:gd name="connsiteX25-765" fmla="*/ 1592317 w 2408803"/>
                <a:gd name="connsiteY25-766" fmla="*/ 233808 h 2245516"/>
                <a:gd name="connsiteX26-767" fmla="*/ 1627790 w 2408803"/>
                <a:gd name="connsiteY26-768" fmla="*/ 249573 h 2245516"/>
                <a:gd name="connsiteX27-769" fmla="*/ 1702676 w 2408803"/>
                <a:gd name="connsiteY27-770" fmla="*/ 308694 h 2245516"/>
                <a:gd name="connsiteX28-771" fmla="*/ 1730266 w 2408803"/>
                <a:gd name="connsiteY28-772" fmla="*/ 430877 h 2245516"/>
                <a:gd name="connsiteX29-773" fmla="*/ 1742090 w 2408803"/>
                <a:gd name="connsiteY29-774" fmla="*/ 600356 h 2245516"/>
                <a:gd name="connsiteX30-775" fmla="*/ 1722383 w 2408803"/>
                <a:gd name="connsiteY30-776" fmla="*/ 694949 h 2245516"/>
                <a:gd name="connsiteX31-777" fmla="*/ 1746031 w 2408803"/>
                <a:gd name="connsiteY31-778" fmla="*/ 758011 h 2245516"/>
                <a:gd name="connsiteX32-779" fmla="*/ 1702676 w 2408803"/>
                <a:gd name="connsiteY32-780" fmla="*/ 899901 h 2245516"/>
                <a:gd name="connsiteX33-781" fmla="*/ 1651438 w 2408803"/>
                <a:gd name="connsiteY33-782" fmla="*/ 966904 h 2245516"/>
                <a:gd name="connsiteX34-783" fmla="*/ 1651438 w 2408803"/>
                <a:gd name="connsiteY34-784" fmla="*/ 966904 h 2245516"/>
                <a:gd name="connsiteX35-785" fmla="*/ 1627790 w 2408803"/>
                <a:gd name="connsiteY35-786" fmla="*/ 986611 h 2245516"/>
                <a:gd name="connsiteX36-787" fmla="*/ 1604142 w 2408803"/>
                <a:gd name="connsiteY36-788" fmla="*/ 1128501 h 2245516"/>
                <a:gd name="connsiteX37-789" fmla="*/ 1533197 w 2408803"/>
                <a:gd name="connsiteY37-790" fmla="*/ 1258566 h 2245516"/>
                <a:gd name="connsiteX38-791" fmla="*/ 1509548 w 2408803"/>
                <a:gd name="connsiteY38-792" fmla="*/ 1309804 h 2245516"/>
                <a:gd name="connsiteX39-793" fmla="*/ 1525314 w 2408803"/>
                <a:gd name="connsiteY39-794" fmla="*/ 1408339 h 2245516"/>
                <a:gd name="connsiteX40-795" fmla="*/ 1592317 w 2408803"/>
                <a:gd name="connsiteY40-796" fmla="*/ 1491108 h 2245516"/>
                <a:gd name="connsiteX41-797" fmla="*/ 1848507 w 2408803"/>
                <a:gd name="connsiteY41-798" fmla="*/ 1550228 h 2245516"/>
                <a:gd name="connsiteX42-799" fmla="*/ 2077107 w 2408803"/>
                <a:gd name="connsiteY42-800" fmla="*/ 1609349 h 2245516"/>
                <a:gd name="connsiteX43-801" fmla="*/ 2211114 w 2408803"/>
                <a:gd name="connsiteY43-802" fmla="*/ 1652704 h 2245516"/>
                <a:gd name="connsiteX44-803" fmla="*/ 2325414 w 2408803"/>
                <a:gd name="connsiteY44-804" fmla="*/ 1696059 h 2245516"/>
                <a:gd name="connsiteX45-805" fmla="*/ 2360886 w 2408803"/>
                <a:gd name="connsiteY45-806" fmla="*/ 1849773 h 2245516"/>
                <a:gd name="connsiteX46-807" fmla="*/ 2388476 w 2408803"/>
                <a:gd name="connsiteY46-808" fmla="*/ 2050783 h 2245516"/>
                <a:gd name="connsiteX47-809" fmla="*/ 2408183 w 2408803"/>
                <a:gd name="connsiteY47-810" fmla="*/ 2232087 h 2245516"/>
                <a:gd name="connsiteX48-811" fmla="*/ 2404242 w 2408803"/>
                <a:gd name="connsiteY48-812" fmla="*/ 2232087 h 2245516"/>
                <a:gd name="connsiteX49-813" fmla="*/ 1229711 w 2408803"/>
                <a:gd name="connsiteY49-814" fmla="*/ 2236027 h 2245516"/>
                <a:gd name="connsiteX50-815" fmla="*/ 0 w 2408803"/>
                <a:gd name="connsiteY50-816" fmla="*/ 2232087 h 2245516"/>
                <a:gd name="connsiteX0-817" fmla="*/ 0 w 2408803"/>
                <a:gd name="connsiteY0-818" fmla="*/ 2232087 h 2245516"/>
                <a:gd name="connsiteX1-819" fmla="*/ 59121 w 2408803"/>
                <a:gd name="connsiteY1-820" fmla="*/ 1834008 h 2245516"/>
                <a:gd name="connsiteX2-821" fmla="*/ 106417 w 2408803"/>
                <a:gd name="connsiteY2-822" fmla="*/ 1692118 h 2245516"/>
                <a:gd name="connsiteX3-823" fmla="*/ 220717 w 2408803"/>
                <a:gd name="connsiteY3-824" fmla="*/ 1636939 h 2245516"/>
                <a:gd name="connsiteX4-825" fmla="*/ 855280 w 2408803"/>
                <a:gd name="connsiteY4-826" fmla="*/ 1455635 h 2245516"/>
                <a:gd name="connsiteX5-827" fmla="*/ 851338 w 2408803"/>
                <a:gd name="connsiteY5-828" fmla="*/ 1459577 h 2245516"/>
                <a:gd name="connsiteX6-829" fmla="*/ 902576 w 2408803"/>
                <a:gd name="connsiteY6-830" fmla="*/ 1364983 h 2245516"/>
                <a:gd name="connsiteX7-831" fmla="*/ 890752 w 2408803"/>
                <a:gd name="connsiteY7-832" fmla="*/ 1254625 h 2245516"/>
                <a:gd name="connsiteX8-833" fmla="*/ 827690 w 2408803"/>
                <a:gd name="connsiteY8-834" fmla="*/ 1160032 h 2245516"/>
                <a:gd name="connsiteX9-835" fmla="*/ 780393 w 2408803"/>
                <a:gd name="connsiteY9-836" fmla="*/ 1053614 h 2245516"/>
                <a:gd name="connsiteX10-837" fmla="*/ 772511 w 2408803"/>
                <a:gd name="connsiteY10-838" fmla="*/ 970846 h 2245516"/>
                <a:gd name="connsiteX11-839" fmla="*/ 737038 w 2408803"/>
                <a:gd name="connsiteY11-840" fmla="*/ 939314 h 2245516"/>
                <a:gd name="connsiteX12-841" fmla="*/ 685800 w 2408803"/>
                <a:gd name="connsiteY12-842" fmla="*/ 852604 h 2245516"/>
                <a:gd name="connsiteX13-843" fmla="*/ 673976 w 2408803"/>
                <a:gd name="connsiteY13-844" fmla="*/ 742246 h 2245516"/>
                <a:gd name="connsiteX14-845" fmla="*/ 693683 w 2408803"/>
                <a:gd name="connsiteY14-846" fmla="*/ 687066 h 2245516"/>
                <a:gd name="connsiteX15-847" fmla="*/ 681859 w 2408803"/>
                <a:gd name="connsiteY15-848" fmla="*/ 596414 h 2245516"/>
                <a:gd name="connsiteX16-849" fmla="*/ 670035 w 2408803"/>
                <a:gd name="connsiteY16-850" fmla="*/ 501821 h 2245516"/>
                <a:gd name="connsiteX17-851" fmla="*/ 701566 w 2408803"/>
                <a:gd name="connsiteY17-852" fmla="*/ 332342 h 2245516"/>
                <a:gd name="connsiteX18-853" fmla="*/ 752804 w 2408803"/>
                <a:gd name="connsiteY18-854" fmla="*/ 210159 h 2245516"/>
                <a:gd name="connsiteX19-855" fmla="*/ 847397 w 2408803"/>
                <a:gd name="connsiteY19-856" fmla="*/ 127390 h 2245516"/>
                <a:gd name="connsiteX20-857" fmla="*/ 1056290 w 2408803"/>
                <a:gd name="connsiteY20-858" fmla="*/ 20973 h 2245516"/>
                <a:gd name="connsiteX21-859" fmla="*/ 1269124 w 2408803"/>
                <a:gd name="connsiteY21-860" fmla="*/ 1266 h 2245516"/>
                <a:gd name="connsiteX22-861" fmla="*/ 1438604 w 2408803"/>
                <a:gd name="connsiteY22-862" fmla="*/ 40680 h 2245516"/>
                <a:gd name="connsiteX23-863" fmla="*/ 1552904 w 2408803"/>
                <a:gd name="connsiteY23-864" fmla="*/ 99801 h 2245516"/>
                <a:gd name="connsiteX24-865" fmla="*/ 1596259 w 2408803"/>
                <a:gd name="connsiteY24-866" fmla="*/ 154980 h 2245516"/>
                <a:gd name="connsiteX25-867" fmla="*/ 1608082 w 2408803"/>
                <a:gd name="connsiteY25-868" fmla="*/ 214101 h 2245516"/>
                <a:gd name="connsiteX26-869" fmla="*/ 1627790 w 2408803"/>
                <a:gd name="connsiteY26-870" fmla="*/ 249573 h 2245516"/>
                <a:gd name="connsiteX27-871" fmla="*/ 1702676 w 2408803"/>
                <a:gd name="connsiteY27-872" fmla="*/ 308694 h 2245516"/>
                <a:gd name="connsiteX28-873" fmla="*/ 1730266 w 2408803"/>
                <a:gd name="connsiteY28-874" fmla="*/ 430877 h 2245516"/>
                <a:gd name="connsiteX29-875" fmla="*/ 1742090 w 2408803"/>
                <a:gd name="connsiteY29-876" fmla="*/ 600356 h 2245516"/>
                <a:gd name="connsiteX30-877" fmla="*/ 1722383 w 2408803"/>
                <a:gd name="connsiteY30-878" fmla="*/ 694949 h 2245516"/>
                <a:gd name="connsiteX31-879" fmla="*/ 1746031 w 2408803"/>
                <a:gd name="connsiteY31-880" fmla="*/ 758011 h 2245516"/>
                <a:gd name="connsiteX32-881" fmla="*/ 1702676 w 2408803"/>
                <a:gd name="connsiteY32-882" fmla="*/ 899901 h 2245516"/>
                <a:gd name="connsiteX33-883" fmla="*/ 1651438 w 2408803"/>
                <a:gd name="connsiteY33-884" fmla="*/ 966904 h 2245516"/>
                <a:gd name="connsiteX34-885" fmla="*/ 1651438 w 2408803"/>
                <a:gd name="connsiteY34-886" fmla="*/ 966904 h 2245516"/>
                <a:gd name="connsiteX35-887" fmla="*/ 1627790 w 2408803"/>
                <a:gd name="connsiteY35-888" fmla="*/ 986611 h 2245516"/>
                <a:gd name="connsiteX36-889" fmla="*/ 1604142 w 2408803"/>
                <a:gd name="connsiteY36-890" fmla="*/ 1128501 h 2245516"/>
                <a:gd name="connsiteX37-891" fmla="*/ 1533197 w 2408803"/>
                <a:gd name="connsiteY37-892" fmla="*/ 1258566 h 2245516"/>
                <a:gd name="connsiteX38-893" fmla="*/ 1509548 w 2408803"/>
                <a:gd name="connsiteY38-894" fmla="*/ 1309804 h 2245516"/>
                <a:gd name="connsiteX39-895" fmla="*/ 1525314 w 2408803"/>
                <a:gd name="connsiteY39-896" fmla="*/ 1408339 h 2245516"/>
                <a:gd name="connsiteX40-897" fmla="*/ 1592317 w 2408803"/>
                <a:gd name="connsiteY40-898" fmla="*/ 1491108 h 2245516"/>
                <a:gd name="connsiteX41-899" fmla="*/ 1848507 w 2408803"/>
                <a:gd name="connsiteY41-900" fmla="*/ 1550228 h 2245516"/>
                <a:gd name="connsiteX42-901" fmla="*/ 2077107 w 2408803"/>
                <a:gd name="connsiteY42-902" fmla="*/ 1609349 h 2245516"/>
                <a:gd name="connsiteX43-903" fmla="*/ 2211114 w 2408803"/>
                <a:gd name="connsiteY43-904" fmla="*/ 1652704 h 2245516"/>
                <a:gd name="connsiteX44-905" fmla="*/ 2325414 w 2408803"/>
                <a:gd name="connsiteY44-906" fmla="*/ 1696059 h 2245516"/>
                <a:gd name="connsiteX45-907" fmla="*/ 2360886 w 2408803"/>
                <a:gd name="connsiteY45-908" fmla="*/ 1849773 h 2245516"/>
                <a:gd name="connsiteX46-909" fmla="*/ 2388476 w 2408803"/>
                <a:gd name="connsiteY46-910" fmla="*/ 2050783 h 2245516"/>
                <a:gd name="connsiteX47-911" fmla="*/ 2408183 w 2408803"/>
                <a:gd name="connsiteY47-912" fmla="*/ 2232087 h 2245516"/>
                <a:gd name="connsiteX48-913" fmla="*/ 2404242 w 2408803"/>
                <a:gd name="connsiteY48-914" fmla="*/ 2232087 h 2245516"/>
                <a:gd name="connsiteX49-915" fmla="*/ 1229711 w 2408803"/>
                <a:gd name="connsiteY49-916" fmla="*/ 2236027 h 2245516"/>
                <a:gd name="connsiteX50-917" fmla="*/ 0 w 2408803"/>
                <a:gd name="connsiteY50-918" fmla="*/ 2232087 h 2245516"/>
                <a:gd name="connsiteX0-919" fmla="*/ 0 w 2408803"/>
                <a:gd name="connsiteY0-920" fmla="*/ 2232087 h 2245516"/>
                <a:gd name="connsiteX1-921" fmla="*/ 59121 w 2408803"/>
                <a:gd name="connsiteY1-922" fmla="*/ 1834008 h 2245516"/>
                <a:gd name="connsiteX2-923" fmla="*/ 106417 w 2408803"/>
                <a:gd name="connsiteY2-924" fmla="*/ 1692118 h 2245516"/>
                <a:gd name="connsiteX3-925" fmla="*/ 220717 w 2408803"/>
                <a:gd name="connsiteY3-926" fmla="*/ 1636939 h 2245516"/>
                <a:gd name="connsiteX4-927" fmla="*/ 855280 w 2408803"/>
                <a:gd name="connsiteY4-928" fmla="*/ 1455635 h 2245516"/>
                <a:gd name="connsiteX5-929" fmla="*/ 851338 w 2408803"/>
                <a:gd name="connsiteY5-930" fmla="*/ 1459577 h 2245516"/>
                <a:gd name="connsiteX6-931" fmla="*/ 902576 w 2408803"/>
                <a:gd name="connsiteY6-932" fmla="*/ 1364983 h 2245516"/>
                <a:gd name="connsiteX7-933" fmla="*/ 890752 w 2408803"/>
                <a:gd name="connsiteY7-934" fmla="*/ 1254625 h 2245516"/>
                <a:gd name="connsiteX8-935" fmla="*/ 827690 w 2408803"/>
                <a:gd name="connsiteY8-936" fmla="*/ 1160032 h 2245516"/>
                <a:gd name="connsiteX9-937" fmla="*/ 780393 w 2408803"/>
                <a:gd name="connsiteY9-938" fmla="*/ 1053614 h 2245516"/>
                <a:gd name="connsiteX10-939" fmla="*/ 772511 w 2408803"/>
                <a:gd name="connsiteY10-940" fmla="*/ 970846 h 2245516"/>
                <a:gd name="connsiteX11-941" fmla="*/ 737038 w 2408803"/>
                <a:gd name="connsiteY11-942" fmla="*/ 939314 h 2245516"/>
                <a:gd name="connsiteX12-943" fmla="*/ 685800 w 2408803"/>
                <a:gd name="connsiteY12-944" fmla="*/ 852604 h 2245516"/>
                <a:gd name="connsiteX13-945" fmla="*/ 673976 w 2408803"/>
                <a:gd name="connsiteY13-946" fmla="*/ 742246 h 2245516"/>
                <a:gd name="connsiteX14-947" fmla="*/ 693683 w 2408803"/>
                <a:gd name="connsiteY14-948" fmla="*/ 687066 h 2245516"/>
                <a:gd name="connsiteX15-949" fmla="*/ 681859 w 2408803"/>
                <a:gd name="connsiteY15-950" fmla="*/ 596414 h 2245516"/>
                <a:gd name="connsiteX16-951" fmla="*/ 670035 w 2408803"/>
                <a:gd name="connsiteY16-952" fmla="*/ 501821 h 2245516"/>
                <a:gd name="connsiteX17-953" fmla="*/ 701566 w 2408803"/>
                <a:gd name="connsiteY17-954" fmla="*/ 332342 h 2245516"/>
                <a:gd name="connsiteX18-955" fmla="*/ 752804 w 2408803"/>
                <a:gd name="connsiteY18-956" fmla="*/ 210159 h 2245516"/>
                <a:gd name="connsiteX19-957" fmla="*/ 847397 w 2408803"/>
                <a:gd name="connsiteY19-958" fmla="*/ 127390 h 2245516"/>
                <a:gd name="connsiteX20-959" fmla="*/ 1056290 w 2408803"/>
                <a:gd name="connsiteY20-960" fmla="*/ 20973 h 2245516"/>
                <a:gd name="connsiteX21-961" fmla="*/ 1269124 w 2408803"/>
                <a:gd name="connsiteY21-962" fmla="*/ 1266 h 2245516"/>
                <a:gd name="connsiteX22-963" fmla="*/ 1438604 w 2408803"/>
                <a:gd name="connsiteY22-964" fmla="*/ 40680 h 2245516"/>
                <a:gd name="connsiteX23-965" fmla="*/ 1552904 w 2408803"/>
                <a:gd name="connsiteY23-966" fmla="*/ 99801 h 2245516"/>
                <a:gd name="connsiteX24-967" fmla="*/ 1596259 w 2408803"/>
                <a:gd name="connsiteY24-968" fmla="*/ 154980 h 2245516"/>
                <a:gd name="connsiteX25-969" fmla="*/ 1608082 w 2408803"/>
                <a:gd name="connsiteY25-970" fmla="*/ 214101 h 2245516"/>
                <a:gd name="connsiteX26-971" fmla="*/ 1655380 w 2408803"/>
                <a:gd name="connsiteY26-972" fmla="*/ 237749 h 2245516"/>
                <a:gd name="connsiteX27-973" fmla="*/ 1702676 w 2408803"/>
                <a:gd name="connsiteY27-974" fmla="*/ 308694 h 2245516"/>
                <a:gd name="connsiteX28-975" fmla="*/ 1730266 w 2408803"/>
                <a:gd name="connsiteY28-976" fmla="*/ 430877 h 2245516"/>
                <a:gd name="connsiteX29-977" fmla="*/ 1742090 w 2408803"/>
                <a:gd name="connsiteY29-978" fmla="*/ 600356 h 2245516"/>
                <a:gd name="connsiteX30-979" fmla="*/ 1722383 w 2408803"/>
                <a:gd name="connsiteY30-980" fmla="*/ 694949 h 2245516"/>
                <a:gd name="connsiteX31-981" fmla="*/ 1746031 w 2408803"/>
                <a:gd name="connsiteY31-982" fmla="*/ 758011 h 2245516"/>
                <a:gd name="connsiteX32-983" fmla="*/ 1702676 w 2408803"/>
                <a:gd name="connsiteY32-984" fmla="*/ 899901 h 2245516"/>
                <a:gd name="connsiteX33-985" fmla="*/ 1651438 w 2408803"/>
                <a:gd name="connsiteY33-986" fmla="*/ 966904 h 2245516"/>
                <a:gd name="connsiteX34-987" fmla="*/ 1651438 w 2408803"/>
                <a:gd name="connsiteY34-988" fmla="*/ 966904 h 2245516"/>
                <a:gd name="connsiteX35-989" fmla="*/ 1627790 w 2408803"/>
                <a:gd name="connsiteY35-990" fmla="*/ 986611 h 2245516"/>
                <a:gd name="connsiteX36-991" fmla="*/ 1604142 w 2408803"/>
                <a:gd name="connsiteY36-992" fmla="*/ 1128501 h 2245516"/>
                <a:gd name="connsiteX37-993" fmla="*/ 1533197 w 2408803"/>
                <a:gd name="connsiteY37-994" fmla="*/ 1258566 h 2245516"/>
                <a:gd name="connsiteX38-995" fmla="*/ 1509548 w 2408803"/>
                <a:gd name="connsiteY38-996" fmla="*/ 1309804 h 2245516"/>
                <a:gd name="connsiteX39-997" fmla="*/ 1525314 w 2408803"/>
                <a:gd name="connsiteY39-998" fmla="*/ 1408339 h 2245516"/>
                <a:gd name="connsiteX40-999" fmla="*/ 1592317 w 2408803"/>
                <a:gd name="connsiteY40-1000" fmla="*/ 1491108 h 2245516"/>
                <a:gd name="connsiteX41-1001" fmla="*/ 1848507 w 2408803"/>
                <a:gd name="connsiteY41-1002" fmla="*/ 1550228 h 2245516"/>
                <a:gd name="connsiteX42-1003" fmla="*/ 2077107 w 2408803"/>
                <a:gd name="connsiteY42-1004" fmla="*/ 1609349 h 2245516"/>
                <a:gd name="connsiteX43-1005" fmla="*/ 2211114 w 2408803"/>
                <a:gd name="connsiteY43-1006" fmla="*/ 1652704 h 2245516"/>
                <a:gd name="connsiteX44-1007" fmla="*/ 2325414 w 2408803"/>
                <a:gd name="connsiteY44-1008" fmla="*/ 1696059 h 2245516"/>
                <a:gd name="connsiteX45-1009" fmla="*/ 2360886 w 2408803"/>
                <a:gd name="connsiteY45-1010" fmla="*/ 1849773 h 2245516"/>
                <a:gd name="connsiteX46-1011" fmla="*/ 2388476 w 2408803"/>
                <a:gd name="connsiteY46-1012" fmla="*/ 2050783 h 2245516"/>
                <a:gd name="connsiteX47-1013" fmla="*/ 2408183 w 2408803"/>
                <a:gd name="connsiteY47-1014" fmla="*/ 2232087 h 2245516"/>
                <a:gd name="connsiteX48-1015" fmla="*/ 2404242 w 2408803"/>
                <a:gd name="connsiteY48-1016" fmla="*/ 2232087 h 2245516"/>
                <a:gd name="connsiteX49-1017" fmla="*/ 1229711 w 2408803"/>
                <a:gd name="connsiteY49-1018" fmla="*/ 2236027 h 2245516"/>
                <a:gd name="connsiteX50-1019" fmla="*/ 0 w 2408803"/>
                <a:gd name="connsiteY50-1020" fmla="*/ 2232087 h 2245516"/>
                <a:gd name="connsiteX0-1021" fmla="*/ 0 w 2408803"/>
                <a:gd name="connsiteY0-1022" fmla="*/ 2232087 h 2245516"/>
                <a:gd name="connsiteX1-1023" fmla="*/ 59121 w 2408803"/>
                <a:gd name="connsiteY1-1024" fmla="*/ 1834008 h 2245516"/>
                <a:gd name="connsiteX2-1025" fmla="*/ 106417 w 2408803"/>
                <a:gd name="connsiteY2-1026" fmla="*/ 1692118 h 2245516"/>
                <a:gd name="connsiteX3-1027" fmla="*/ 220717 w 2408803"/>
                <a:gd name="connsiteY3-1028" fmla="*/ 1636939 h 2245516"/>
                <a:gd name="connsiteX4-1029" fmla="*/ 855280 w 2408803"/>
                <a:gd name="connsiteY4-1030" fmla="*/ 1455635 h 2245516"/>
                <a:gd name="connsiteX5-1031" fmla="*/ 981404 w 2408803"/>
                <a:gd name="connsiteY5-1032" fmla="*/ 1467460 h 2245516"/>
                <a:gd name="connsiteX6-1033" fmla="*/ 902576 w 2408803"/>
                <a:gd name="connsiteY6-1034" fmla="*/ 1364983 h 2245516"/>
                <a:gd name="connsiteX7-1035" fmla="*/ 890752 w 2408803"/>
                <a:gd name="connsiteY7-1036" fmla="*/ 1254625 h 2245516"/>
                <a:gd name="connsiteX8-1037" fmla="*/ 827690 w 2408803"/>
                <a:gd name="connsiteY8-1038" fmla="*/ 1160032 h 2245516"/>
                <a:gd name="connsiteX9-1039" fmla="*/ 780393 w 2408803"/>
                <a:gd name="connsiteY9-1040" fmla="*/ 1053614 h 2245516"/>
                <a:gd name="connsiteX10-1041" fmla="*/ 772511 w 2408803"/>
                <a:gd name="connsiteY10-1042" fmla="*/ 970846 h 2245516"/>
                <a:gd name="connsiteX11-1043" fmla="*/ 737038 w 2408803"/>
                <a:gd name="connsiteY11-1044" fmla="*/ 939314 h 2245516"/>
                <a:gd name="connsiteX12-1045" fmla="*/ 685800 w 2408803"/>
                <a:gd name="connsiteY12-1046" fmla="*/ 852604 h 2245516"/>
                <a:gd name="connsiteX13-1047" fmla="*/ 673976 w 2408803"/>
                <a:gd name="connsiteY13-1048" fmla="*/ 742246 h 2245516"/>
                <a:gd name="connsiteX14-1049" fmla="*/ 693683 w 2408803"/>
                <a:gd name="connsiteY14-1050" fmla="*/ 687066 h 2245516"/>
                <a:gd name="connsiteX15-1051" fmla="*/ 681859 w 2408803"/>
                <a:gd name="connsiteY15-1052" fmla="*/ 596414 h 2245516"/>
                <a:gd name="connsiteX16-1053" fmla="*/ 670035 w 2408803"/>
                <a:gd name="connsiteY16-1054" fmla="*/ 501821 h 2245516"/>
                <a:gd name="connsiteX17-1055" fmla="*/ 701566 w 2408803"/>
                <a:gd name="connsiteY17-1056" fmla="*/ 332342 h 2245516"/>
                <a:gd name="connsiteX18-1057" fmla="*/ 752804 w 2408803"/>
                <a:gd name="connsiteY18-1058" fmla="*/ 210159 h 2245516"/>
                <a:gd name="connsiteX19-1059" fmla="*/ 847397 w 2408803"/>
                <a:gd name="connsiteY19-1060" fmla="*/ 127390 h 2245516"/>
                <a:gd name="connsiteX20-1061" fmla="*/ 1056290 w 2408803"/>
                <a:gd name="connsiteY20-1062" fmla="*/ 20973 h 2245516"/>
                <a:gd name="connsiteX21-1063" fmla="*/ 1269124 w 2408803"/>
                <a:gd name="connsiteY21-1064" fmla="*/ 1266 h 2245516"/>
                <a:gd name="connsiteX22-1065" fmla="*/ 1438604 w 2408803"/>
                <a:gd name="connsiteY22-1066" fmla="*/ 40680 h 2245516"/>
                <a:gd name="connsiteX23-1067" fmla="*/ 1552904 w 2408803"/>
                <a:gd name="connsiteY23-1068" fmla="*/ 99801 h 2245516"/>
                <a:gd name="connsiteX24-1069" fmla="*/ 1596259 w 2408803"/>
                <a:gd name="connsiteY24-1070" fmla="*/ 154980 h 2245516"/>
                <a:gd name="connsiteX25-1071" fmla="*/ 1608082 w 2408803"/>
                <a:gd name="connsiteY25-1072" fmla="*/ 214101 h 2245516"/>
                <a:gd name="connsiteX26-1073" fmla="*/ 1655380 w 2408803"/>
                <a:gd name="connsiteY26-1074" fmla="*/ 237749 h 2245516"/>
                <a:gd name="connsiteX27-1075" fmla="*/ 1702676 w 2408803"/>
                <a:gd name="connsiteY27-1076" fmla="*/ 308694 h 2245516"/>
                <a:gd name="connsiteX28-1077" fmla="*/ 1730266 w 2408803"/>
                <a:gd name="connsiteY28-1078" fmla="*/ 430877 h 2245516"/>
                <a:gd name="connsiteX29-1079" fmla="*/ 1742090 w 2408803"/>
                <a:gd name="connsiteY29-1080" fmla="*/ 600356 h 2245516"/>
                <a:gd name="connsiteX30-1081" fmla="*/ 1722383 w 2408803"/>
                <a:gd name="connsiteY30-1082" fmla="*/ 694949 h 2245516"/>
                <a:gd name="connsiteX31-1083" fmla="*/ 1746031 w 2408803"/>
                <a:gd name="connsiteY31-1084" fmla="*/ 758011 h 2245516"/>
                <a:gd name="connsiteX32-1085" fmla="*/ 1702676 w 2408803"/>
                <a:gd name="connsiteY32-1086" fmla="*/ 899901 h 2245516"/>
                <a:gd name="connsiteX33-1087" fmla="*/ 1651438 w 2408803"/>
                <a:gd name="connsiteY33-1088" fmla="*/ 966904 h 2245516"/>
                <a:gd name="connsiteX34-1089" fmla="*/ 1651438 w 2408803"/>
                <a:gd name="connsiteY34-1090" fmla="*/ 966904 h 2245516"/>
                <a:gd name="connsiteX35-1091" fmla="*/ 1627790 w 2408803"/>
                <a:gd name="connsiteY35-1092" fmla="*/ 986611 h 2245516"/>
                <a:gd name="connsiteX36-1093" fmla="*/ 1604142 w 2408803"/>
                <a:gd name="connsiteY36-1094" fmla="*/ 1128501 h 2245516"/>
                <a:gd name="connsiteX37-1095" fmla="*/ 1533197 w 2408803"/>
                <a:gd name="connsiteY37-1096" fmla="*/ 1258566 h 2245516"/>
                <a:gd name="connsiteX38-1097" fmla="*/ 1509548 w 2408803"/>
                <a:gd name="connsiteY38-1098" fmla="*/ 1309804 h 2245516"/>
                <a:gd name="connsiteX39-1099" fmla="*/ 1525314 w 2408803"/>
                <a:gd name="connsiteY39-1100" fmla="*/ 1408339 h 2245516"/>
                <a:gd name="connsiteX40-1101" fmla="*/ 1592317 w 2408803"/>
                <a:gd name="connsiteY40-1102" fmla="*/ 1491108 h 2245516"/>
                <a:gd name="connsiteX41-1103" fmla="*/ 1848507 w 2408803"/>
                <a:gd name="connsiteY41-1104" fmla="*/ 1550228 h 2245516"/>
                <a:gd name="connsiteX42-1105" fmla="*/ 2077107 w 2408803"/>
                <a:gd name="connsiteY42-1106" fmla="*/ 1609349 h 2245516"/>
                <a:gd name="connsiteX43-1107" fmla="*/ 2211114 w 2408803"/>
                <a:gd name="connsiteY43-1108" fmla="*/ 1652704 h 2245516"/>
                <a:gd name="connsiteX44-1109" fmla="*/ 2325414 w 2408803"/>
                <a:gd name="connsiteY44-1110" fmla="*/ 1696059 h 2245516"/>
                <a:gd name="connsiteX45-1111" fmla="*/ 2360886 w 2408803"/>
                <a:gd name="connsiteY45-1112" fmla="*/ 1849773 h 2245516"/>
                <a:gd name="connsiteX46-1113" fmla="*/ 2388476 w 2408803"/>
                <a:gd name="connsiteY46-1114" fmla="*/ 2050783 h 2245516"/>
                <a:gd name="connsiteX47-1115" fmla="*/ 2408183 w 2408803"/>
                <a:gd name="connsiteY47-1116" fmla="*/ 2232087 h 2245516"/>
                <a:gd name="connsiteX48-1117" fmla="*/ 2404242 w 2408803"/>
                <a:gd name="connsiteY48-1118" fmla="*/ 2232087 h 2245516"/>
                <a:gd name="connsiteX49-1119" fmla="*/ 1229711 w 2408803"/>
                <a:gd name="connsiteY49-1120" fmla="*/ 2236027 h 2245516"/>
                <a:gd name="connsiteX50-1121" fmla="*/ 0 w 2408803"/>
                <a:gd name="connsiteY50-1122" fmla="*/ 2232087 h 2245516"/>
                <a:gd name="connsiteX0-1123" fmla="*/ 0 w 2408803"/>
                <a:gd name="connsiteY0-1124" fmla="*/ 2232087 h 2245516"/>
                <a:gd name="connsiteX1-1125" fmla="*/ 59121 w 2408803"/>
                <a:gd name="connsiteY1-1126" fmla="*/ 1834008 h 2245516"/>
                <a:gd name="connsiteX2-1127" fmla="*/ 106417 w 2408803"/>
                <a:gd name="connsiteY2-1128" fmla="*/ 1692118 h 2245516"/>
                <a:gd name="connsiteX3-1129" fmla="*/ 220717 w 2408803"/>
                <a:gd name="connsiteY3-1130" fmla="*/ 1636939 h 2245516"/>
                <a:gd name="connsiteX4-1131" fmla="*/ 855280 w 2408803"/>
                <a:gd name="connsiteY4-1132" fmla="*/ 1455635 h 2245516"/>
                <a:gd name="connsiteX5-1133" fmla="*/ 878929 w 2408803"/>
                <a:gd name="connsiteY5-1134" fmla="*/ 1400457 h 2245516"/>
                <a:gd name="connsiteX6-1135" fmla="*/ 902576 w 2408803"/>
                <a:gd name="connsiteY6-1136" fmla="*/ 1364983 h 2245516"/>
                <a:gd name="connsiteX7-1137" fmla="*/ 890752 w 2408803"/>
                <a:gd name="connsiteY7-1138" fmla="*/ 1254625 h 2245516"/>
                <a:gd name="connsiteX8-1139" fmla="*/ 827690 w 2408803"/>
                <a:gd name="connsiteY8-1140" fmla="*/ 1160032 h 2245516"/>
                <a:gd name="connsiteX9-1141" fmla="*/ 780393 w 2408803"/>
                <a:gd name="connsiteY9-1142" fmla="*/ 1053614 h 2245516"/>
                <a:gd name="connsiteX10-1143" fmla="*/ 772511 w 2408803"/>
                <a:gd name="connsiteY10-1144" fmla="*/ 970846 h 2245516"/>
                <a:gd name="connsiteX11-1145" fmla="*/ 737038 w 2408803"/>
                <a:gd name="connsiteY11-1146" fmla="*/ 939314 h 2245516"/>
                <a:gd name="connsiteX12-1147" fmla="*/ 685800 w 2408803"/>
                <a:gd name="connsiteY12-1148" fmla="*/ 852604 h 2245516"/>
                <a:gd name="connsiteX13-1149" fmla="*/ 673976 w 2408803"/>
                <a:gd name="connsiteY13-1150" fmla="*/ 742246 h 2245516"/>
                <a:gd name="connsiteX14-1151" fmla="*/ 693683 w 2408803"/>
                <a:gd name="connsiteY14-1152" fmla="*/ 687066 h 2245516"/>
                <a:gd name="connsiteX15-1153" fmla="*/ 681859 w 2408803"/>
                <a:gd name="connsiteY15-1154" fmla="*/ 596414 h 2245516"/>
                <a:gd name="connsiteX16-1155" fmla="*/ 670035 w 2408803"/>
                <a:gd name="connsiteY16-1156" fmla="*/ 501821 h 2245516"/>
                <a:gd name="connsiteX17-1157" fmla="*/ 701566 w 2408803"/>
                <a:gd name="connsiteY17-1158" fmla="*/ 332342 h 2245516"/>
                <a:gd name="connsiteX18-1159" fmla="*/ 752804 w 2408803"/>
                <a:gd name="connsiteY18-1160" fmla="*/ 210159 h 2245516"/>
                <a:gd name="connsiteX19-1161" fmla="*/ 847397 w 2408803"/>
                <a:gd name="connsiteY19-1162" fmla="*/ 127390 h 2245516"/>
                <a:gd name="connsiteX20-1163" fmla="*/ 1056290 w 2408803"/>
                <a:gd name="connsiteY20-1164" fmla="*/ 20973 h 2245516"/>
                <a:gd name="connsiteX21-1165" fmla="*/ 1269124 w 2408803"/>
                <a:gd name="connsiteY21-1166" fmla="*/ 1266 h 2245516"/>
                <a:gd name="connsiteX22-1167" fmla="*/ 1438604 w 2408803"/>
                <a:gd name="connsiteY22-1168" fmla="*/ 40680 h 2245516"/>
                <a:gd name="connsiteX23-1169" fmla="*/ 1552904 w 2408803"/>
                <a:gd name="connsiteY23-1170" fmla="*/ 99801 h 2245516"/>
                <a:gd name="connsiteX24-1171" fmla="*/ 1596259 w 2408803"/>
                <a:gd name="connsiteY24-1172" fmla="*/ 154980 h 2245516"/>
                <a:gd name="connsiteX25-1173" fmla="*/ 1608082 w 2408803"/>
                <a:gd name="connsiteY25-1174" fmla="*/ 214101 h 2245516"/>
                <a:gd name="connsiteX26-1175" fmla="*/ 1655380 w 2408803"/>
                <a:gd name="connsiteY26-1176" fmla="*/ 237749 h 2245516"/>
                <a:gd name="connsiteX27-1177" fmla="*/ 1702676 w 2408803"/>
                <a:gd name="connsiteY27-1178" fmla="*/ 308694 h 2245516"/>
                <a:gd name="connsiteX28-1179" fmla="*/ 1730266 w 2408803"/>
                <a:gd name="connsiteY28-1180" fmla="*/ 430877 h 2245516"/>
                <a:gd name="connsiteX29-1181" fmla="*/ 1742090 w 2408803"/>
                <a:gd name="connsiteY29-1182" fmla="*/ 600356 h 2245516"/>
                <a:gd name="connsiteX30-1183" fmla="*/ 1722383 w 2408803"/>
                <a:gd name="connsiteY30-1184" fmla="*/ 694949 h 2245516"/>
                <a:gd name="connsiteX31-1185" fmla="*/ 1746031 w 2408803"/>
                <a:gd name="connsiteY31-1186" fmla="*/ 758011 h 2245516"/>
                <a:gd name="connsiteX32-1187" fmla="*/ 1702676 w 2408803"/>
                <a:gd name="connsiteY32-1188" fmla="*/ 899901 h 2245516"/>
                <a:gd name="connsiteX33-1189" fmla="*/ 1651438 w 2408803"/>
                <a:gd name="connsiteY33-1190" fmla="*/ 966904 h 2245516"/>
                <a:gd name="connsiteX34-1191" fmla="*/ 1651438 w 2408803"/>
                <a:gd name="connsiteY34-1192" fmla="*/ 966904 h 2245516"/>
                <a:gd name="connsiteX35-1193" fmla="*/ 1627790 w 2408803"/>
                <a:gd name="connsiteY35-1194" fmla="*/ 986611 h 2245516"/>
                <a:gd name="connsiteX36-1195" fmla="*/ 1604142 w 2408803"/>
                <a:gd name="connsiteY36-1196" fmla="*/ 1128501 h 2245516"/>
                <a:gd name="connsiteX37-1197" fmla="*/ 1533197 w 2408803"/>
                <a:gd name="connsiteY37-1198" fmla="*/ 1258566 h 2245516"/>
                <a:gd name="connsiteX38-1199" fmla="*/ 1509548 w 2408803"/>
                <a:gd name="connsiteY38-1200" fmla="*/ 1309804 h 2245516"/>
                <a:gd name="connsiteX39-1201" fmla="*/ 1525314 w 2408803"/>
                <a:gd name="connsiteY39-1202" fmla="*/ 1408339 h 2245516"/>
                <a:gd name="connsiteX40-1203" fmla="*/ 1592317 w 2408803"/>
                <a:gd name="connsiteY40-1204" fmla="*/ 1491108 h 2245516"/>
                <a:gd name="connsiteX41-1205" fmla="*/ 1848507 w 2408803"/>
                <a:gd name="connsiteY41-1206" fmla="*/ 1550228 h 2245516"/>
                <a:gd name="connsiteX42-1207" fmla="*/ 2077107 w 2408803"/>
                <a:gd name="connsiteY42-1208" fmla="*/ 1609349 h 2245516"/>
                <a:gd name="connsiteX43-1209" fmla="*/ 2211114 w 2408803"/>
                <a:gd name="connsiteY43-1210" fmla="*/ 1652704 h 2245516"/>
                <a:gd name="connsiteX44-1211" fmla="*/ 2325414 w 2408803"/>
                <a:gd name="connsiteY44-1212" fmla="*/ 1696059 h 2245516"/>
                <a:gd name="connsiteX45-1213" fmla="*/ 2360886 w 2408803"/>
                <a:gd name="connsiteY45-1214" fmla="*/ 1849773 h 2245516"/>
                <a:gd name="connsiteX46-1215" fmla="*/ 2388476 w 2408803"/>
                <a:gd name="connsiteY46-1216" fmla="*/ 2050783 h 2245516"/>
                <a:gd name="connsiteX47-1217" fmla="*/ 2408183 w 2408803"/>
                <a:gd name="connsiteY47-1218" fmla="*/ 2232087 h 2245516"/>
                <a:gd name="connsiteX48-1219" fmla="*/ 2404242 w 2408803"/>
                <a:gd name="connsiteY48-1220" fmla="*/ 2232087 h 2245516"/>
                <a:gd name="connsiteX49-1221" fmla="*/ 1229711 w 2408803"/>
                <a:gd name="connsiteY49-1222" fmla="*/ 2236027 h 2245516"/>
                <a:gd name="connsiteX50-1223" fmla="*/ 0 w 2408803"/>
                <a:gd name="connsiteY50-1224" fmla="*/ 2232087 h 2245516"/>
                <a:gd name="connsiteX0-1225" fmla="*/ 0 w 2408803"/>
                <a:gd name="connsiteY0-1226" fmla="*/ 2232087 h 2245516"/>
                <a:gd name="connsiteX1-1227" fmla="*/ 59121 w 2408803"/>
                <a:gd name="connsiteY1-1228" fmla="*/ 1834008 h 2245516"/>
                <a:gd name="connsiteX2-1229" fmla="*/ 106417 w 2408803"/>
                <a:gd name="connsiteY2-1230" fmla="*/ 1692118 h 2245516"/>
                <a:gd name="connsiteX3-1231" fmla="*/ 220717 w 2408803"/>
                <a:gd name="connsiteY3-1232" fmla="*/ 1636939 h 2245516"/>
                <a:gd name="connsiteX4-1233" fmla="*/ 855280 w 2408803"/>
                <a:gd name="connsiteY4-1234" fmla="*/ 1455635 h 2245516"/>
                <a:gd name="connsiteX5-1235" fmla="*/ 878929 w 2408803"/>
                <a:gd name="connsiteY5-1236" fmla="*/ 1400457 h 2245516"/>
                <a:gd name="connsiteX6-1237" fmla="*/ 902576 w 2408803"/>
                <a:gd name="connsiteY6-1238" fmla="*/ 1364983 h 2245516"/>
                <a:gd name="connsiteX7-1239" fmla="*/ 890752 w 2408803"/>
                <a:gd name="connsiteY7-1240" fmla="*/ 1254625 h 2245516"/>
                <a:gd name="connsiteX8-1241" fmla="*/ 827690 w 2408803"/>
                <a:gd name="connsiteY8-1242" fmla="*/ 1160032 h 2245516"/>
                <a:gd name="connsiteX9-1243" fmla="*/ 780393 w 2408803"/>
                <a:gd name="connsiteY9-1244" fmla="*/ 1053614 h 2245516"/>
                <a:gd name="connsiteX10-1245" fmla="*/ 772511 w 2408803"/>
                <a:gd name="connsiteY10-1246" fmla="*/ 970846 h 2245516"/>
                <a:gd name="connsiteX11-1247" fmla="*/ 737038 w 2408803"/>
                <a:gd name="connsiteY11-1248" fmla="*/ 939314 h 2245516"/>
                <a:gd name="connsiteX12-1249" fmla="*/ 685800 w 2408803"/>
                <a:gd name="connsiteY12-1250" fmla="*/ 852604 h 2245516"/>
                <a:gd name="connsiteX13-1251" fmla="*/ 673976 w 2408803"/>
                <a:gd name="connsiteY13-1252" fmla="*/ 742246 h 2245516"/>
                <a:gd name="connsiteX14-1253" fmla="*/ 693683 w 2408803"/>
                <a:gd name="connsiteY14-1254" fmla="*/ 687066 h 2245516"/>
                <a:gd name="connsiteX15-1255" fmla="*/ 681859 w 2408803"/>
                <a:gd name="connsiteY15-1256" fmla="*/ 596414 h 2245516"/>
                <a:gd name="connsiteX16-1257" fmla="*/ 670035 w 2408803"/>
                <a:gd name="connsiteY16-1258" fmla="*/ 501821 h 2245516"/>
                <a:gd name="connsiteX17-1259" fmla="*/ 701566 w 2408803"/>
                <a:gd name="connsiteY17-1260" fmla="*/ 332342 h 2245516"/>
                <a:gd name="connsiteX18-1261" fmla="*/ 752804 w 2408803"/>
                <a:gd name="connsiteY18-1262" fmla="*/ 210159 h 2245516"/>
                <a:gd name="connsiteX19-1263" fmla="*/ 847397 w 2408803"/>
                <a:gd name="connsiteY19-1264" fmla="*/ 127390 h 2245516"/>
                <a:gd name="connsiteX20-1265" fmla="*/ 1056290 w 2408803"/>
                <a:gd name="connsiteY20-1266" fmla="*/ 20973 h 2245516"/>
                <a:gd name="connsiteX21-1267" fmla="*/ 1269124 w 2408803"/>
                <a:gd name="connsiteY21-1268" fmla="*/ 1266 h 2245516"/>
                <a:gd name="connsiteX22-1269" fmla="*/ 1438604 w 2408803"/>
                <a:gd name="connsiteY22-1270" fmla="*/ 40680 h 2245516"/>
                <a:gd name="connsiteX23-1271" fmla="*/ 1552904 w 2408803"/>
                <a:gd name="connsiteY23-1272" fmla="*/ 99801 h 2245516"/>
                <a:gd name="connsiteX24-1273" fmla="*/ 1596259 w 2408803"/>
                <a:gd name="connsiteY24-1274" fmla="*/ 154980 h 2245516"/>
                <a:gd name="connsiteX25-1275" fmla="*/ 1608082 w 2408803"/>
                <a:gd name="connsiteY25-1276" fmla="*/ 214101 h 2245516"/>
                <a:gd name="connsiteX26-1277" fmla="*/ 1655380 w 2408803"/>
                <a:gd name="connsiteY26-1278" fmla="*/ 237749 h 2245516"/>
                <a:gd name="connsiteX27-1279" fmla="*/ 1702676 w 2408803"/>
                <a:gd name="connsiteY27-1280" fmla="*/ 308694 h 2245516"/>
                <a:gd name="connsiteX28-1281" fmla="*/ 1730266 w 2408803"/>
                <a:gd name="connsiteY28-1282" fmla="*/ 430877 h 2245516"/>
                <a:gd name="connsiteX29-1283" fmla="*/ 1742090 w 2408803"/>
                <a:gd name="connsiteY29-1284" fmla="*/ 600356 h 2245516"/>
                <a:gd name="connsiteX30-1285" fmla="*/ 1722383 w 2408803"/>
                <a:gd name="connsiteY30-1286" fmla="*/ 694949 h 2245516"/>
                <a:gd name="connsiteX31-1287" fmla="*/ 1746031 w 2408803"/>
                <a:gd name="connsiteY31-1288" fmla="*/ 758011 h 2245516"/>
                <a:gd name="connsiteX32-1289" fmla="*/ 1702676 w 2408803"/>
                <a:gd name="connsiteY32-1290" fmla="*/ 899901 h 2245516"/>
                <a:gd name="connsiteX33-1291" fmla="*/ 1651438 w 2408803"/>
                <a:gd name="connsiteY33-1292" fmla="*/ 966904 h 2245516"/>
                <a:gd name="connsiteX34-1293" fmla="*/ 1651438 w 2408803"/>
                <a:gd name="connsiteY34-1294" fmla="*/ 966904 h 2245516"/>
                <a:gd name="connsiteX35-1295" fmla="*/ 1627790 w 2408803"/>
                <a:gd name="connsiteY35-1296" fmla="*/ 986611 h 2245516"/>
                <a:gd name="connsiteX36-1297" fmla="*/ 1604142 w 2408803"/>
                <a:gd name="connsiteY36-1298" fmla="*/ 1128501 h 2245516"/>
                <a:gd name="connsiteX37-1299" fmla="*/ 1533197 w 2408803"/>
                <a:gd name="connsiteY37-1300" fmla="*/ 1258566 h 2245516"/>
                <a:gd name="connsiteX38-1301" fmla="*/ 1509548 w 2408803"/>
                <a:gd name="connsiteY38-1302" fmla="*/ 1309804 h 2245516"/>
                <a:gd name="connsiteX39-1303" fmla="*/ 1525314 w 2408803"/>
                <a:gd name="connsiteY39-1304" fmla="*/ 1408339 h 2245516"/>
                <a:gd name="connsiteX40-1305" fmla="*/ 1592317 w 2408803"/>
                <a:gd name="connsiteY40-1306" fmla="*/ 1491108 h 2245516"/>
                <a:gd name="connsiteX41-1307" fmla="*/ 1848507 w 2408803"/>
                <a:gd name="connsiteY41-1308" fmla="*/ 1550228 h 2245516"/>
                <a:gd name="connsiteX42-1309" fmla="*/ 2077107 w 2408803"/>
                <a:gd name="connsiteY42-1310" fmla="*/ 1609349 h 2245516"/>
                <a:gd name="connsiteX43-1311" fmla="*/ 2211114 w 2408803"/>
                <a:gd name="connsiteY43-1312" fmla="*/ 1652704 h 2245516"/>
                <a:gd name="connsiteX44-1313" fmla="*/ 2325414 w 2408803"/>
                <a:gd name="connsiteY44-1314" fmla="*/ 1696059 h 2245516"/>
                <a:gd name="connsiteX45-1315" fmla="*/ 2360886 w 2408803"/>
                <a:gd name="connsiteY45-1316" fmla="*/ 1849773 h 2245516"/>
                <a:gd name="connsiteX46-1317" fmla="*/ 2388476 w 2408803"/>
                <a:gd name="connsiteY46-1318" fmla="*/ 2050783 h 2245516"/>
                <a:gd name="connsiteX47-1319" fmla="*/ 2408183 w 2408803"/>
                <a:gd name="connsiteY47-1320" fmla="*/ 2232087 h 2245516"/>
                <a:gd name="connsiteX48-1321" fmla="*/ 2404242 w 2408803"/>
                <a:gd name="connsiteY48-1322" fmla="*/ 2232087 h 2245516"/>
                <a:gd name="connsiteX49-1323" fmla="*/ 1229711 w 2408803"/>
                <a:gd name="connsiteY49-1324" fmla="*/ 2236027 h 2245516"/>
                <a:gd name="connsiteX50-1325" fmla="*/ 0 w 2408803"/>
                <a:gd name="connsiteY50-1326" fmla="*/ 2232087 h 2245516"/>
                <a:gd name="connsiteX0-1327" fmla="*/ 0 w 2408803"/>
                <a:gd name="connsiteY0-1328" fmla="*/ 2232087 h 2245516"/>
                <a:gd name="connsiteX1-1329" fmla="*/ 59121 w 2408803"/>
                <a:gd name="connsiteY1-1330" fmla="*/ 1834008 h 2245516"/>
                <a:gd name="connsiteX2-1331" fmla="*/ 106417 w 2408803"/>
                <a:gd name="connsiteY2-1332" fmla="*/ 1692118 h 2245516"/>
                <a:gd name="connsiteX3-1333" fmla="*/ 220717 w 2408803"/>
                <a:gd name="connsiteY3-1334" fmla="*/ 1636939 h 2245516"/>
                <a:gd name="connsiteX4-1335" fmla="*/ 855280 w 2408803"/>
                <a:gd name="connsiteY4-1336" fmla="*/ 1455635 h 2245516"/>
                <a:gd name="connsiteX5-1337" fmla="*/ 878929 w 2408803"/>
                <a:gd name="connsiteY5-1338" fmla="*/ 1400457 h 2245516"/>
                <a:gd name="connsiteX6-1339" fmla="*/ 902576 w 2408803"/>
                <a:gd name="connsiteY6-1340" fmla="*/ 1364983 h 2245516"/>
                <a:gd name="connsiteX7-1341" fmla="*/ 890752 w 2408803"/>
                <a:gd name="connsiteY7-1342" fmla="*/ 1254625 h 2245516"/>
                <a:gd name="connsiteX8-1343" fmla="*/ 827690 w 2408803"/>
                <a:gd name="connsiteY8-1344" fmla="*/ 1160032 h 2245516"/>
                <a:gd name="connsiteX9-1345" fmla="*/ 780393 w 2408803"/>
                <a:gd name="connsiteY9-1346" fmla="*/ 1053614 h 2245516"/>
                <a:gd name="connsiteX10-1347" fmla="*/ 772511 w 2408803"/>
                <a:gd name="connsiteY10-1348" fmla="*/ 970846 h 2245516"/>
                <a:gd name="connsiteX11-1349" fmla="*/ 737038 w 2408803"/>
                <a:gd name="connsiteY11-1350" fmla="*/ 939314 h 2245516"/>
                <a:gd name="connsiteX12-1351" fmla="*/ 685800 w 2408803"/>
                <a:gd name="connsiteY12-1352" fmla="*/ 852604 h 2245516"/>
                <a:gd name="connsiteX13-1353" fmla="*/ 673976 w 2408803"/>
                <a:gd name="connsiteY13-1354" fmla="*/ 742246 h 2245516"/>
                <a:gd name="connsiteX14-1355" fmla="*/ 693683 w 2408803"/>
                <a:gd name="connsiteY14-1356" fmla="*/ 687066 h 2245516"/>
                <a:gd name="connsiteX15-1357" fmla="*/ 681859 w 2408803"/>
                <a:gd name="connsiteY15-1358" fmla="*/ 596414 h 2245516"/>
                <a:gd name="connsiteX16-1359" fmla="*/ 670035 w 2408803"/>
                <a:gd name="connsiteY16-1360" fmla="*/ 501821 h 2245516"/>
                <a:gd name="connsiteX17-1361" fmla="*/ 701566 w 2408803"/>
                <a:gd name="connsiteY17-1362" fmla="*/ 332342 h 2245516"/>
                <a:gd name="connsiteX18-1363" fmla="*/ 752804 w 2408803"/>
                <a:gd name="connsiteY18-1364" fmla="*/ 210159 h 2245516"/>
                <a:gd name="connsiteX19-1365" fmla="*/ 847397 w 2408803"/>
                <a:gd name="connsiteY19-1366" fmla="*/ 127390 h 2245516"/>
                <a:gd name="connsiteX20-1367" fmla="*/ 1056290 w 2408803"/>
                <a:gd name="connsiteY20-1368" fmla="*/ 20973 h 2245516"/>
                <a:gd name="connsiteX21-1369" fmla="*/ 1269124 w 2408803"/>
                <a:gd name="connsiteY21-1370" fmla="*/ 1266 h 2245516"/>
                <a:gd name="connsiteX22-1371" fmla="*/ 1438604 w 2408803"/>
                <a:gd name="connsiteY22-1372" fmla="*/ 40680 h 2245516"/>
                <a:gd name="connsiteX23-1373" fmla="*/ 1552904 w 2408803"/>
                <a:gd name="connsiteY23-1374" fmla="*/ 99801 h 2245516"/>
                <a:gd name="connsiteX24-1375" fmla="*/ 1596259 w 2408803"/>
                <a:gd name="connsiteY24-1376" fmla="*/ 154980 h 2245516"/>
                <a:gd name="connsiteX25-1377" fmla="*/ 1608082 w 2408803"/>
                <a:gd name="connsiteY25-1378" fmla="*/ 214101 h 2245516"/>
                <a:gd name="connsiteX26-1379" fmla="*/ 1655380 w 2408803"/>
                <a:gd name="connsiteY26-1380" fmla="*/ 237749 h 2245516"/>
                <a:gd name="connsiteX27-1381" fmla="*/ 1702676 w 2408803"/>
                <a:gd name="connsiteY27-1382" fmla="*/ 308694 h 2245516"/>
                <a:gd name="connsiteX28-1383" fmla="*/ 1730266 w 2408803"/>
                <a:gd name="connsiteY28-1384" fmla="*/ 430877 h 2245516"/>
                <a:gd name="connsiteX29-1385" fmla="*/ 1742090 w 2408803"/>
                <a:gd name="connsiteY29-1386" fmla="*/ 600356 h 2245516"/>
                <a:gd name="connsiteX30-1387" fmla="*/ 1722383 w 2408803"/>
                <a:gd name="connsiteY30-1388" fmla="*/ 694949 h 2245516"/>
                <a:gd name="connsiteX31-1389" fmla="*/ 1746031 w 2408803"/>
                <a:gd name="connsiteY31-1390" fmla="*/ 758011 h 2245516"/>
                <a:gd name="connsiteX32-1391" fmla="*/ 1702676 w 2408803"/>
                <a:gd name="connsiteY32-1392" fmla="*/ 899901 h 2245516"/>
                <a:gd name="connsiteX33-1393" fmla="*/ 1651438 w 2408803"/>
                <a:gd name="connsiteY33-1394" fmla="*/ 966904 h 2245516"/>
                <a:gd name="connsiteX34-1395" fmla="*/ 1651438 w 2408803"/>
                <a:gd name="connsiteY34-1396" fmla="*/ 966904 h 2245516"/>
                <a:gd name="connsiteX35-1397" fmla="*/ 1627790 w 2408803"/>
                <a:gd name="connsiteY35-1398" fmla="*/ 986611 h 2245516"/>
                <a:gd name="connsiteX36-1399" fmla="*/ 1604142 w 2408803"/>
                <a:gd name="connsiteY36-1400" fmla="*/ 1128501 h 2245516"/>
                <a:gd name="connsiteX37-1401" fmla="*/ 1533197 w 2408803"/>
                <a:gd name="connsiteY37-1402" fmla="*/ 1258566 h 2245516"/>
                <a:gd name="connsiteX38-1403" fmla="*/ 1509548 w 2408803"/>
                <a:gd name="connsiteY38-1404" fmla="*/ 1309804 h 2245516"/>
                <a:gd name="connsiteX39-1405" fmla="*/ 1525314 w 2408803"/>
                <a:gd name="connsiteY39-1406" fmla="*/ 1408339 h 2245516"/>
                <a:gd name="connsiteX40-1407" fmla="*/ 1548962 w 2408803"/>
                <a:gd name="connsiteY40-1408" fmla="*/ 1439871 h 2245516"/>
                <a:gd name="connsiteX41-1409" fmla="*/ 1592317 w 2408803"/>
                <a:gd name="connsiteY41-1410" fmla="*/ 1491108 h 2245516"/>
                <a:gd name="connsiteX42-1411" fmla="*/ 1848507 w 2408803"/>
                <a:gd name="connsiteY42-1412" fmla="*/ 1550228 h 2245516"/>
                <a:gd name="connsiteX43-1413" fmla="*/ 2077107 w 2408803"/>
                <a:gd name="connsiteY43-1414" fmla="*/ 1609349 h 2245516"/>
                <a:gd name="connsiteX44-1415" fmla="*/ 2211114 w 2408803"/>
                <a:gd name="connsiteY44-1416" fmla="*/ 1652704 h 2245516"/>
                <a:gd name="connsiteX45-1417" fmla="*/ 2325414 w 2408803"/>
                <a:gd name="connsiteY45-1418" fmla="*/ 1696059 h 2245516"/>
                <a:gd name="connsiteX46-1419" fmla="*/ 2360886 w 2408803"/>
                <a:gd name="connsiteY46-1420" fmla="*/ 1849773 h 2245516"/>
                <a:gd name="connsiteX47-1421" fmla="*/ 2388476 w 2408803"/>
                <a:gd name="connsiteY47-1422" fmla="*/ 2050783 h 2245516"/>
                <a:gd name="connsiteX48-1423" fmla="*/ 2408183 w 2408803"/>
                <a:gd name="connsiteY48-1424" fmla="*/ 2232087 h 2245516"/>
                <a:gd name="connsiteX49-1425" fmla="*/ 2404242 w 2408803"/>
                <a:gd name="connsiteY49-1426" fmla="*/ 2232087 h 2245516"/>
                <a:gd name="connsiteX50-1427" fmla="*/ 1229711 w 2408803"/>
                <a:gd name="connsiteY50-1428" fmla="*/ 2236027 h 2245516"/>
                <a:gd name="connsiteX51" fmla="*/ 0 w 2408803"/>
                <a:gd name="connsiteY51" fmla="*/ 2232087 h 2245516"/>
                <a:gd name="connsiteX0-1429" fmla="*/ 0 w 2408803"/>
                <a:gd name="connsiteY0-1430" fmla="*/ 2232087 h 2245516"/>
                <a:gd name="connsiteX1-1431" fmla="*/ 59121 w 2408803"/>
                <a:gd name="connsiteY1-1432" fmla="*/ 1834008 h 2245516"/>
                <a:gd name="connsiteX2-1433" fmla="*/ 106417 w 2408803"/>
                <a:gd name="connsiteY2-1434" fmla="*/ 1692118 h 2245516"/>
                <a:gd name="connsiteX3-1435" fmla="*/ 220717 w 2408803"/>
                <a:gd name="connsiteY3-1436" fmla="*/ 1636939 h 2245516"/>
                <a:gd name="connsiteX4-1437" fmla="*/ 855280 w 2408803"/>
                <a:gd name="connsiteY4-1438" fmla="*/ 1455635 h 2245516"/>
                <a:gd name="connsiteX5-1439" fmla="*/ 878929 w 2408803"/>
                <a:gd name="connsiteY5-1440" fmla="*/ 1400457 h 2245516"/>
                <a:gd name="connsiteX6-1441" fmla="*/ 902576 w 2408803"/>
                <a:gd name="connsiteY6-1442" fmla="*/ 1364983 h 2245516"/>
                <a:gd name="connsiteX7-1443" fmla="*/ 890752 w 2408803"/>
                <a:gd name="connsiteY7-1444" fmla="*/ 1254625 h 2245516"/>
                <a:gd name="connsiteX8-1445" fmla="*/ 827690 w 2408803"/>
                <a:gd name="connsiteY8-1446" fmla="*/ 1160032 h 2245516"/>
                <a:gd name="connsiteX9-1447" fmla="*/ 780393 w 2408803"/>
                <a:gd name="connsiteY9-1448" fmla="*/ 1053614 h 2245516"/>
                <a:gd name="connsiteX10-1449" fmla="*/ 772511 w 2408803"/>
                <a:gd name="connsiteY10-1450" fmla="*/ 970846 h 2245516"/>
                <a:gd name="connsiteX11-1451" fmla="*/ 737038 w 2408803"/>
                <a:gd name="connsiteY11-1452" fmla="*/ 939314 h 2245516"/>
                <a:gd name="connsiteX12-1453" fmla="*/ 685800 w 2408803"/>
                <a:gd name="connsiteY12-1454" fmla="*/ 852604 h 2245516"/>
                <a:gd name="connsiteX13-1455" fmla="*/ 673976 w 2408803"/>
                <a:gd name="connsiteY13-1456" fmla="*/ 742246 h 2245516"/>
                <a:gd name="connsiteX14-1457" fmla="*/ 693683 w 2408803"/>
                <a:gd name="connsiteY14-1458" fmla="*/ 687066 h 2245516"/>
                <a:gd name="connsiteX15-1459" fmla="*/ 681859 w 2408803"/>
                <a:gd name="connsiteY15-1460" fmla="*/ 596414 h 2245516"/>
                <a:gd name="connsiteX16-1461" fmla="*/ 670035 w 2408803"/>
                <a:gd name="connsiteY16-1462" fmla="*/ 501821 h 2245516"/>
                <a:gd name="connsiteX17-1463" fmla="*/ 701566 w 2408803"/>
                <a:gd name="connsiteY17-1464" fmla="*/ 332342 h 2245516"/>
                <a:gd name="connsiteX18-1465" fmla="*/ 752804 w 2408803"/>
                <a:gd name="connsiteY18-1466" fmla="*/ 210159 h 2245516"/>
                <a:gd name="connsiteX19-1467" fmla="*/ 847397 w 2408803"/>
                <a:gd name="connsiteY19-1468" fmla="*/ 127390 h 2245516"/>
                <a:gd name="connsiteX20-1469" fmla="*/ 1056290 w 2408803"/>
                <a:gd name="connsiteY20-1470" fmla="*/ 20973 h 2245516"/>
                <a:gd name="connsiteX21-1471" fmla="*/ 1269124 w 2408803"/>
                <a:gd name="connsiteY21-1472" fmla="*/ 1266 h 2245516"/>
                <a:gd name="connsiteX22-1473" fmla="*/ 1438604 w 2408803"/>
                <a:gd name="connsiteY22-1474" fmla="*/ 40680 h 2245516"/>
                <a:gd name="connsiteX23-1475" fmla="*/ 1552904 w 2408803"/>
                <a:gd name="connsiteY23-1476" fmla="*/ 99801 h 2245516"/>
                <a:gd name="connsiteX24-1477" fmla="*/ 1596259 w 2408803"/>
                <a:gd name="connsiteY24-1478" fmla="*/ 154980 h 2245516"/>
                <a:gd name="connsiteX25-1479" fmla="*/ 1608082 w 2408803"/>
                <a:gd name="connsiteY25-1480" fmla="*/ 214101 h 2245516"/>
                <a:gd name="connsiteX26-1481" fmla="*/ 1655380 w 2408803"/>
                <a:gd name="connsiteY26-1482" fmla="*/ 237749 h 2245516"/>
                <a:gd name="connsiteX27-1483" fmla="*/ 1702676 w 2408803"/>
                <a:gd name="connsiteY27-1484" fmla="*/ 308694 h 2245516"/>
                <a:gd name="connsiteX28-1485" fmla="*/ 1730266 w 2408803"/>
                <a:gd name="connsiteY28-1486" fmla="*/ 430877 h 2245516"/>
                <a:gd name="connsiteX29-1487" fmla="*/ 1742090 w 2408803"/>
                <a:gd name="connsiteY29-1488" fmla="*/ 600356 h 2245516"/>
                <a:gd name="connsiteX30-1489" fmla="*/ 1722383 w 2408803"/>
                <a:gd name="connsiteY30-1490" fmla="*/ 694949 h 2245516"/>
                <a:gd name="connsiteX31-1491" fmla="*/ 1746031 w 2408803"/>
                <a:gd name="connsiteY31-1492" fmla="*/ 758011 h 2245516"/>
                <a:gd name="connsiteX32-1493" fmla="*/ 1702676 w 2408803"/>
                <a:gd name="connsiteY32-1494" fmla="*/ 899901 h 2245516"/>
                <a:gd name="connsiteX33-1495" fmla="*/ 1651438 w 2408803"/>
                <a:gd name="connsiteY33-1496" fmla="*/ 966904 h 2245516"/>
                <a:gd name="connsiteX34-1497" fmla="*/ 1651438 w 2408803"/>
                <a:gd name="connsiteY34-1498" fmla="*/ 966904 h 2245516"/>
                <a:gd name="connsiteX35-1499" fmla="*/ 1627790 w 2408803"/>
                <a:gd name="connsiteY35-1500" fmla="*/ 986611 h 2245516"/>
                <a:gd name="connsiteX36-1501" fmla="*/ 1604142 w 2408803"/>
                <a:gd name="connsiteY36-1502" fmla="*/ 1128501 h 2245516"/>
                <a:gd name="connsiteX37-1503" fmla="*/ 1533197 w 2408803"/>
                <a:gd name="connsiteY37-1504" fmla="*/ 1258566 h 2245516"/>
                <a:gd name="connsiteX38-1505" fmla="*/ 1509548 w 2408803"/>
                <a:gd name="connsiteY38-1506" fmla="*/ 1309804 h 2245516"/>
                <a:gd name="connsiteX39-1507" fmla="*/ 1525314 w 2408803"/>
                <a:gd name="connsiteY39-1508" fmla="*/ 1408339 h 2245516"/>
                <a:gd name="connsiteX40-1509" fmla="*/ 1548962 w 2408803"/>
                <a:gd name="connsiteY40-1510" fmla="*/ 1439871 h 2245516"/>
                <a:gd name="connsiteX41-1511" fmla="*/ 1600199 w 2408803"/>
                <a:gd name="connsiteY41-1512" fmla="*/ 1479284 h 2245516"/>
                <a:gd name="connsiteX42-1513" fmla="*/ 1848507 w 2408803"/>
                <a:gd name="connsiteY42-1514" fmla="*/ 1550228 h 2245516"/>
                <a:gd name="connsiteX43-1515" fmla="*/ 2077107 w 2408803"/>
                <a:gd name="connsiteY43-1516" fmla="*/ 1609349 h 2245516"/>
                <a:gd name="connsiteX44-1517" fmla="*/ 2211114 w 2408803"/>
                <a:gd name="connsiteY44-1518" fmla="*/ 1652704 h 2245516"/>
                <a:gd name="connsiteX45-1519" fmla="*/ 2325414 w 2408803"/>
                <a:gd name="connsiteY45-1520" fmla="*/ 1696059 h 2245516"/>
                <a:gd name="connsiteX46-1521" fmla="*/ 2360886 w 2408803"/>
                <a:gd name="connsiteY46-1522" fmla="*/ 1849773 h 2245516"/>
                <a:gd name="connsiteX47-1523" fmla="*/ 2388476 w 2408803"/>
                <a:gd name="connsiteY47-1524" fmla="*/ 2050783 h 2245516"/>
                <a:gd name="connsiteX48-1525" fmla="*/ 2408183 w 2408803"/>
                <a:gd name="connsiteY48-1526" fmla="*/ 2232087 h 2245516"/>
                <a:gd name="connsiteX49-1527" fmla="*/ 2404242 w 2408803"/>
                <a:gd name="connsiteY49-1528" fmla="*/ 2232087 h 2245516"/>
                <a:gd name="connsiteX50-1529" fmla="*/ 1229711 w 2408803"/>
                <a:gd name="connsiteY50-1530" fmla="*/ 2236027 h 2245516"/>
                <a:gd name="connsiteX51-1531" fmla="*/ 0 w 2408803"/>
                <a:gd name="connsiteY51-1532" fmla="*/ 2232087 h 2245516"/>
                <a:gd name="connsiteX0-1533" fmla="*/ 0 w 2408803"/>
                <a:gd name="connsiteY0-1534" fmla="*/ 2232087 h 2245516"/>
                <a:gd name="connsiteX1-1535" fmla="*/ 59121 w 2408803"/>
                <a:gd name="connsiteY1-1536" fmla="*/ 1834008 h 2245516"/>
                <a:gd name="connsiteX2-1537" fmla="*/ 106417 w 2408803"/>
                <a:gd name="connsiteY2-1538" fmla="*/ 1692118 h 2245516"/>
                <a:gd name="connsiteX3-1539" fmla="*/ 220717 w 2408803"/>
                <a:gd name="connsiteY3-1540" fmla="*/ 1636939 h 2245516"/>
                <a:gd name="connsiteX4-1541" fmla="*/ 855280 w 2408803"/>
                <a:gd name="connsiteY4-1542" fmla="*/ 1455635 h 2245516"/>
                <a:gd name="connsiteX5-1543" fmla="*/ 878929 w 2408803"/>
                <a:gd name="connsiteY5-1544" fmla="*/ 1400457 h 2245516"/>
                <a:gd name="connsiteX6-1545" fmla="*/ 902576 w 2408803"/>
                <a:gd name="connsiteY6-1546" fmla="*/ 1364983 h 2245516"/>
                <a:gd name="connsiteX7-1547" fmla="*/ 890752 w 2408803"/>
                <a:gd name="connsiteY7-1548" fmla="*/ 1254625 h 2245516"/>
                <a:gd name="connsiteX8-1549" fmla="*/ 827690 w 2408803"/>
                <a:gd name="connsiteY8-1550" fmla="*/ 1160032 h 2245516"/>
                <a:gd name="connsiteX9-1551" fmla="*/ 780393 w 2408803"/>
                <a:gd name="connsiteY9-1552" fmla="*/ 1053614 h 2245516"/>
                <a:gd name="connsiteX10-1553" fmla="*/ 772511 w 2408803"/>
                <a:gd name="connsiteY10-1554" fmla="*/ 970846 h 2245516"/>
                <a:gd name="connsiteX11-1555" fmla="*/ 737038 w 2408803"/>
                <a:gd name="connsiteY11-1556" fmla="*/ 939314 h 2245516"/>
                <a:gd name="connsiteX12-1557" fmla="*/ 685800 w 2408803"/>
                <a:gd name="connsiteY12-1558" fmla="*/ 852604 h 2245516"/>
                <a:gd name="connsiteX13-1559" fmla="*/ 673976 w 2408803"/>
                <a:gd name="connsiteY13-1560" fmla="*/ 742246 h 2245516"/>
                <a:gd name="connsiteX14-1561" fmla="*/ 693683 w 2408803"/>
                <a:gd name="connsiteY14-1562" fmla="*/ 687066 h 2245516"/>
                <a:gd name="connsiteX15-1563" fmla="*/ 681859 w 2408803"/>
                <a:gd name="connsiteY15-1564" fmla="*/ 596414 h 2245516"/>
                <a:gd name="connsiteX16-1565" fmla="*/ 670035 w 2408803"/>
                <a:gd name="connsiteY16-1566" fmla="*/ 501821 h 2245516"/>
                <a:gd name="connsiteX17-1567" fmla="*/ 701566 w 2408803"/>
                <a:gd name="connsiteY17-1568" fmla="*/ 332342 h 2245516"/>
                <a:gd name="connsiteX18-1569" fmla="*/ 752804 w 2408803"/>
                <a:gd name="connsiteY18-1570" fmla="*/ 210159 h 2245516"/>
                <a:gd name="connsiteX19-1571" fmla="*/ 847397 w 2408803"/>
                <a:gd name="connsiteY19-1572" fmla="*/ 127390 h 2245516"/>
                <a:gd name="connsiteX20-1573" fmla="*/ 1056290 w 2408803"/>
                <a:gd name="connsiteY20-1574" fmla="*/ 20973 h 2245516"/>
                <a:gd name="connsiteX21-1575" fmla="*/ 1269124 w 2408803"/>
                <a:gd name="connsiteY21-1576" fmla="*/ 1266 h 2245516"/>
                <a:gd name="connsiteX22-1577" fmla="*/ 1438604 w 2408803"/>
                <a:gd name="connsiteY22-1578" fmla="*/ 40680 h 2245516"/>
                <a:gd name="connsiteX23-1579" fmla="*/ 1552904 w 2408803"/>
                <a:gd name="connsiteY23-1580" fmla="*/ 99801 h 2245516"/>
                <a:gd name="connsiteX24-1581" fmla="*/ 1596259 w 2408803"/>
                <a:gd name="connsiteY24-1582" fmla="*/ 154980 h 2245516"/>
                <a:gd name="connsiteX25-1583" fmla="*/ 1608082 w 2408803"/>
                <a:gd name="connsiteY25-1584" fmla="*/ 214101 h 2245516"/>
                <a:gd name="connsiteX26-1585" fmla="*/ 1655380 w 2408803"/>
                <a:gd name="connsiteY26-1586" fmla="*/ 237749 h 2245516"/>
                <a:gd name="connsiteX27-1587" fmla="*/ 1702676 w 2408803"/>
                <a:gd name="connsiteY27-1588" fmla="*/ 308694 h 2245516"/>
                <a:gd name="connsiteX28-1589" fmla="*/ 1730266 w 2408803"/>
                <a:gd name="connsiteY28-1590" fmla="*/ 430877 h 2245516"/>
                <a:gd name="connsiteX29-1591" fmla="*/ 1742090 w 2408803"/>
                <a:gd name="connsiteY29-1592" fmla="*/ 600356 h 2245516"/>
                <a:gd name="connsiteX30-1593" fmla="*/ 1722383 w 2408803"/>
                <a:gd name="connsiteY30-1594" fmla="*/ 694949 h 2245516"/>
                <a:gd name="connsiteX31-1595" fmla="*/ 1746031 w 2408803"/>
                <a:gd name="connsiteY31-1596" fmla="*/ 758011 h 2245516"/>
                <a:gd name="connsiteX32-1597" fmla="*/ 1702676 w 2408803"/>
                <a:gd name="connsiteY32-1598" fmla="*/ 899901 h 2245516"/>
                <a:gd name="connsiteX33-1599" fmla="*/ 1651438 w 2408803"/>
                <a:gd name="connsiteY33-1600" fmla="*/ 966904 h 2245516"/>
                <a:gd name="connsiteX34-1601" fmla="*/ 1651438 w 2408803"/>
                <a:gd name="connsiteY34-1602" fmla="*/ 966904 h 2245516"/>
                <a:gd name="connsiteX35-1603" fmla="*/ 1627790 w 2408803"/>
                <a:gd name="connsiteY35-1604" fmla="*/ 986611 h 2245516"/>
                <a:gd name="connsiteX36-1605" fmla="*/ 1604142 w 2408803"/>
                <a:gd name="connsiteY36-1606" fmla="*/ 1128501 h 2245516"/>
                <a:gd name="connsiteX37-1607" fmla="*/ 1533197 w 2408803"/>
                <a:gd name="connsiteY37-1608" fmla="*/ 1258566 h 2245516"/>
                <a:gd name="connsiteX38-1609" fmla="*/ 1509548 w 2408803"/>
                <a:gd name="connsiteY38-1610" fmla="*/ 1309804 h 2245516"/>
                <a:gd name="connsiteX39-1611" fmla="*/ 1525314 w 2408803"/>
                <a:gd name="connsiteY39-1612" fmla="*/ 1408339 h 2245516"/>
                <a:gd name="connsiteX40-1613" fmla="*/ 1560786 w 2408803"/>
                <a:gd name="connsiteY40-1614" fmla="*/ 1424106 h 2245516"/>
                <a:gd name="connsiteX41-1615" fmla="*/ 1600199 w 2408803"/>
                <a:gd name="connsiteY41-1616" fmla="*/ 1479284 h 2245516"/>
                <a:gd name="connsiteX42-1617" fmla="*/ 1848507 w 2408803"/>
                <a:gd name="connsiteY42-1618" fmla="*/ 1550228 h 2245516"/>
                <a:gd name="connsiteX43-1619" fmla="*/ 2077107 w 2408803"/>
                <a:gd name="connsiteY43-1620" fmla="*/ 1609349 h 2245516"/>
                <a:gd name="connsiteX44-1621" fmla="*/ 2211114 w 2408803"/>
                <a:gd name="connsiteY44-1622" fmla="*/ 1652704 h 2245516"/>
                <a:gd name="connsiteX45-1623" fmla="*/ 2325414 w 2408803"/>
                <a:gd name="connsiteY45-1624" fmla="*/ 1696059 h 2245516"/>
                <a:gd name="connsiteX46-1625" fmla="*/ 2360886 w 2408803"/>
                <a:gd name="connsiteY46-1626" fmla="*/ 1849773 h 2245516"/>
                <a:gd name="connsiteX47-1627" fmla="*/ 2388476 w 2408803"/>
                <a:gd name="connsiteY47-1628" fmla="*/ 2050783 h 2245516"/>
                <a:gd name="connsiteX48-1629" fmla="*/ 2408183 w 2408803"/>
                <a:gd name="connsiteY48-1630" fmla="*/ 2232087 h 2245516"/>
                <a:gd name="connsiteX49-1631" fmla="*/ 2404242 w 2408803"/>
                <a:gd name="connsiteY49-1632" fmla="*/ 2232087 h 2245516"/>
                <a:gd name="connsiteX50-1633" fmla="*/ 1229711 w 2408803"/>
                <a:gd name="connsiteY50-1634" fmla="*/ 2236027 h 2245516"/>
                <a:gd name="connsiteX51-1635" fmla="*/ 0 w 2408803"/>
                <a:gd name="connsiteY51-1636" fmla="*/ 2232087 h 224551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 ang="0">
                  <a:pos x="connsiteX34-69" y="connsiteY34-70"/>
                </a:cxn>
                <a:cxn ang="0">
                  <a:pos x="connsiteX35-71" y="connsiteY35-72"/>
                </a:cxn>
                <a:cxn ang="0">
                  <a:pos x="connsiteX36-73" y="connsiteY36-74"/>
                </a:cxn>
                <a:cxn ang="0">
                  <a:pos x="connsiteX37-75" y="connsiteY37-76"/>
                </a:cxn>
                <a:cxn ang="0">
                  <a:pos x="connsiteX38-77" y="connsiteY38-78"/>
                </a:cxn>
                <a:cxn ang="0">
                  <a:pos x="connsiteX39-79" y="connsiteY39-80"/>
                </a:cxn>
                <a:cxn ang="0">
                  <a:pos x="connsiteX40-81" y="connsiteY40-82"/>
                </a:cxn>
                <a:cxn ang="0">
                  <a:pos x="connsiteX41-83" y="connsiteY41-84"/>
                </a:cxn>
                <a:cxn ang="0">
                  <a:pos x="connsiteX42-85" y="connsiteY42-86"/>
                </a:cxn>
                <a:cxn ang="0">
                  <a:pos x="connsiteX43-87" y="connsiteY43-88"/>
                </a:cxn>
                <a:cxn ang="0">
                  <a:pos x="connsiteX44-89" y="connsiteY44-90"/>
                </a:cxn>
                <a:cxn ang="0">
                  <a:pos x="connsiteX45-91" y="connsiteY45-92"/>
                </a:cxn>
                <a:cxn ang="0">
                  <a:pos x="connsiteX46-93" y="connsiteY46-94"/>
                </a:cxn>
                <a:cxn ang="0">
                  <a:pos x="connsiteX47-95" y="connsiteY47-96"/>
                </a:cxn>
                <a:cxn ang="0">
                  <a:pos x="connsiteX48-97" y="connsiteY48-98"/>
                </a:cxn>
                <a:cxn ang="0">
                  <a:pos x="connsiteX49-99" y="connsiteY49-100"/>
                </a:cxn>
                <a:cxn ang="0">
                  <a:pos x="connsiteX50-101" y="connsiteY50-102"/>
                </a:cxn>
                <a:cxn ang="0">
                  <a:pos x="connsiteX51-1531" y="connsiteY51-1532"/>
                </a:cxn>
              </a:cxnLst>
              <a:rect l="l" t="t" r="r" b="b"/>
              <a:pathLst>
                <a:path w="2408803" h="2245516">
                  <a:moveTo>
                    <a:pt x="0" y="2232087"/>
                  </a:moveTo>
                  <a:cubicBezTo>
                    <a:pt x="1971" y="2188732"/>
                    <a:pt x="41385" y="1924003"/>
                    <a:pt x="59121" y="1834008"/>
                  </a:cubicBezTo>
                  <a:cubicBezTo>
                    <a:pt x="76857" y="1744013"/>
                    <a:pt x="79484" y="1724963"/>
                    <a:pt x="106417" y="1692118"/>
                  </a:cubicBezTo>
                  <a:cubicBezTo>
                    <a:pt x="133350" y="1659273"/>
                    <a:pt x="95907" y="1676353"/>
                    <a:pt x="220717" y="1636939"/>
                  </a:cubicBezTo>
                  <a:cubicBezTo>
                    <a:pt x="345527" y="1597525"/>
                    <a:pt x="844112" y="1463518"/>
                    <a:pt x="855280" y="1455635"/>
                  </a:cubicBezTo>
                  <a:cubicBezTo>
                    <a:pt x="866448" y="1447752"/>
                    <a:pt x="871046" y="1415566"/>
                    <a:pt x="878929" y="1400457"/>
                  </a:cubicBezTo>
                  <a:cubicBezTo>
                    <a:pt x="886812" y="1385348"/>
                    <a:pt x="900606" y="1389288"/>
                    <a:pt x="902576" y="1364983"/>
                  </a:cubicBezTo>
                  <a:cubicBezTo>
                    <a:pt x="904546" y="1340678"/>
                    <a:pt x="903233" y="1288783"/>
                    <a:pt x="890752" y="1254625"/>
                  </a:cubicBezTo>
                  <a:cubicBezTo>
                    <a:pt x="878271" y="1220467"/>
                    <a:pt x="846083" y="1193534"/>
                    <a:pt x="827690" y="1160032"/>
                  </a:cubicBezTo>
                  <a:cubicBezTo>
                    <a:pt x="809297" y="1126530"/>
                    <a:pt x="789589" y="1085145"/>
                    <a:pt x="780393" y="1053614"/>
                  </a:cubicBezTo>
                  <a:cubicBezTo>
                    <a:pt x="771197" y="1022083"/>
                    <a:pt x="779737" y="989896"/>
                    <a:pt x="772511" y="970846"/>
                  </a:cubicBezTo>
                  <a:cubicBezTo>
                    <a:pt x="765285" y="951796"/>
                    <a:pt x="751490" y="959021"/>
                    <a:pt x="737038" y="939314"/>
                  </a:cubicBezTo>
                  <a:cubicBezTo>
                    <a:pt x="722586" y="919607"/>
                    <a:pt x="696310" y="885449"/>
                    <a:pt x="685800" y="852604"/>
                  </a:cubicBezTo>
                  <a:cubicBezTo>
                    <a:pt x="675290" y="819759"/>
                    <a:pt x="672662" y="769836"/>
                    <a:pt x="673976" y="742246"/>
                  </a:cubicBezTo>
                  <a:cubicBezTo>
                    <a:pt x="675290" y="714656"/>
                    <a:pt x="692369" y="711371"/>
                    <a:pt x="693683" y="687066"/>
                  </a:cubicBezTo>
                  <a:cubicBezTo>
                    <a:pt x="694997" y="662761"/>
                    <a:pt x="685800" y="627288"/>
                    <a:pt x="681859" y="596414"/>
                  </a:cubicBezTo>
                  <a:cubicBezTo>
                    <a:pt x="677918" y="565540"/>
                    <a:pt x="666751" y="545833"/>
                    <a:pt x="670035" y="501821"/>
                  </a:cubicBezTo>
                  <a:cubicBezTo>
                    <a:pt x="673319" y="457809"/>
                    <a:pt x="687771" y="380952"/>
                    <a:pt x="701566" y="332342"/>
                  </a:cubicBezTo>
                  <a:cubicBezTo>
                    <a:pt x="715361" y="283732"/>
                    <a:pt x="728499" y="244318"/>
                    <a:pt x="752804" y="210159"/>
                  </a:cubicBezTo>
                  <a:cubicBezTo>
                    <a:pt x="777109" y="176000"/>
                    <a:pt x="796816" y="158921"/>
                    <a:pt x="847397" y="127390"/>
                  </a:cubicBezTo>
                  <a:cubicBezTo>
                    <a:pt x="897978" y="95859"/>
                    <a:pt x="986002" y="41994"/>
                    <a:pt x="1056290" y="20973"/>
                  </a:cubicBezTo>
                  <a:cubicBezTo>
                    <a:pt x="1126578" y="-48"/>
                    <a:pt x="1205405" y="-2019"/>
                    <a:pt x="1269124" y="1266"/>
                  </a:cubicBezTo>
                  <a:cubicBezTo>
                    <a:pt x="1332843" y="4550"/>
                    <a:pt x="1391307" y="24257"/>
                    <a:pt x="1438604" y="40680"/>
                  </a:cubicBezTo>
                  <a:cubicBezTo>
                    <a:pt x="1485901" y="57102"/>
                    <a:pt x="1526628" y="80751"/>
                    <a:pt x="1552904" y="99801"/>
                  </a:cubicBezTo>
                  <a:cubicBezTo>
                    <a:pt x="1579180" y="118851"/>
                    <a:pt x="1587063" y="135930"/>
                    <a:pt x="1596259" y="154980"/>
                  </a:cubicBezTo>
                  <a:cubicBezTo>
                    <a:pt x="1605455" y="174030"/>
                    <a:pt x="1598229" y="200306"/>
                    <a:pt x="1608082" y="214101"/>
                  </a:cubicBezTo>
                  <a:cubicBezTo>
                    <a:pt x="1617935" y="227896"/>
                    <a:pt x="1639614" y="221984"/>
                    <a:pt x="1655380" y="237749"/>
                  </a:cubicBezTo>
                  <a:cubicBezTo>
                    <a:pt x="1671146" y="253514"/>
                    <a:pt x="1690195" y="276506"/>
                    <a:pt x="1702676" y="308694"/>
                  </a:cubicBezTo>
                  <a:cubicBezTo>
                    <a:pt x="1715157" y="340882"/>
                    <a:pt x="1723697" y="382267"/>
                    <a:pt x="1730266" y="430877"/>
                  </a:cubicBezTo>
                  <a:cubicBezTo>
                    <a:pt x="1736835" y="479487"/>
                    <a:pt x="1743404" y="556344"/>
                    <a:pt x="1742090" y="600356"/>
                  </a:cubicBezTo>
                  <a:cubicBezTo>
                    <a:pt x="1740776" y="644368"/>
                    <a:pt x="1721726" y="668673"/>
                    <a:pt x="1722383" y="694949"/>
                  </a:cubicBezTo>
                  <a:cubicBezTo>
                    <a:pt x="1723040" y="721225"/>
                    <a:pt x="1749315" y="723852"/>
                    <a:pt x="1746031" y="758011"/>
                  </a:cubicBezTo>
                  <a:cubicBezTo>
                    <a:pt x="1742747" y="792170"/>
                    <a:pt x="1718441" y="865086"/>
                    <a:pt x="1702676" y="899901"/>
                  </a:cubicBezTo>
                  <a:cubicBezTo>
                    <a:pt x="1686911" y="934716"/>
                    <a:pt x="1651438" y="966904"/>
                    <a:pt x="1651438" y="966904"/>
                  </a:cubicBezTo>
                  <a:lnTo>
                    <a:pt x="1651438" y="966904"/>
                  </a:lnTo>
                  <a:cubicBezTo>
                    <a:pt x="1647497" y="970188"/>
                    <a:pt x="1635673" y="959678"/>
                    <a:pt x="1627790" y="986611"/>
                  </a:cubicBezTo>
                  <a:cubicBezTo>
                    <a:pt x="1619907" y="1013544"/>
                    <a:pt x="1619907" y="1083175"/>
                    <a:pt x="1604142" y="1128501"/>
                  </a:cubicBezTo>
                  <a:cubicBezTo>
                    <a:pt x="1588377" y="1173827"/>
                    <a:pt x="1548963" y="1228349"/>
                    <a:pt x="1533197" y="1258566"/>
                  </a:cubicBezTo>
                  <a:cubicBezTo>
                    <a:pt x="1517431" y="1288783"/>
                    <a:pt x="1510862" y="1284842"/>
                    <a:pt x="1509548" y="1309804"/>
                  </a:cubicBezTo>
                  <a:cubicBezTo>
                    <a:pt x="1508234" y="1334766"/>
                    <a:pt x="1516774" y="1389289"/>
                    <a:pt x="1525314" y="1408339"/>
                  </a:cubicBezTo>
                  <a:cubicBezTo>
                    <a:pt x="1533854" y="1427389"/>
                    <a:pt x="1549619" y="1410311"/>
                    <a:pt x="1560786" y="1424106"/>
                  </a:cubicBezTo>
                  <a:cubicBezTo>
                    <a:pt x="1571953" y="1437901"/>
                    <a:pt x="1552245" y="1458264"/>
                    <a:pt x="1600199" y="1479284"/>
                  </a:cubicBezTo>
                  <a:cubicBezTo>
                    <a:pt x="1648153" y="1500304"/>
                    <a:pt x="1769022" y="1528551"/>
                    <a:pt x="1848507" y="1550228"/>
                  </a:cubicBezTo>
                  <a:cubicBezTo>
                    <a:pt x="1927992" y="1571906"/>
                    <a:pt x="2018673" y="1592270"/>
                    <a:pt x="2077107" y="1609349"/>
                  </a:cubicBezTo>
                  <a:cubicBezTo>
                    <a:pt x="2137542" y="1626428"/>
                    <a:pt x="2169729" y="1638252"/>
                    <a:pt x="2211114" y="1652704"/>
                  </a:cubicBezTo>
                  <a:cubicBezTo>
                    <a:pt x="2252499" y="1667156"/>
                    <a:pt x="2300452" y="1663214"/>
                    <a:pt x="2325414" y="1696059"/>
                  </a:cubicBezTo>
                  <a:cubicBezTo>
                    <a:pt x="2350376" y="1728904"/>
                    <a:pt x="2350376" y="1790652"/>
                    <a:pt x="2360886" y="1849773"/>
                  </a:cubicBezTo>
                  <a:cubicBezTo>
                    <a:pt x="2371396" y="1908894"/>
                    <a:pt x="2380593" y="1987064"/>
                    <a:pt x="2388476" y="2050783"/>
                  </a:cubicBezTo>
                  <a:cubicBezTo>
                    <a:pt x="2396359" y="2114502"/>
                    <a:pt x="2405555" y="2201870"/>
                    <a:pt x="2408183" y="2232087"/>
                  </a:cubicBezTo>
                  <a:cubicBezTo>
                    <a:pt x="2410811" y="2262304"/>
                    <a:pt x="2404242" y="2232087"/>
                    <a:pt x="2404242" y="2232087"/>
                  </a:cubicBezTo>
                  <a:lnTo>
                    <a:pt x="1229711" y="2236027"/>
                  </a:lnTo>
                  <a:cubicBezTo>
                    <a:pt x="951187" y="2243253"/>
                    <a:pt x="614855" y="2234057"/>
                    <a:pt x="0" y="223208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sp>
          <p:nvSpPr>
            <p:cNvPr id="121" name="Freeform 120"/>
            <p:cNvSpPr/>
            <p:nvPr/>
          </p:nvSpPr>
          <p:spPr>
            <a:xfrm>
              <a:off x="5824980" y="5025839"/>
              <a:ext cx="172407" cy="61697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35428" h="616976">
                  <a:moveTo>
                    <a:pt x="957" y="0"/>
                  </a:moveTo>
                  <a:cubicBezTo>
                    <a:pt x="36815" y="65555"/>
                    <a:pt x="45781" y="66115"/>
                    <a:pt x="95087" y="90768"/>
                  </a:cubicBezTo>
                  <a:cubicBezTo>
                    <a:pt x="104052" y="145676"/>
                    <a:pt x="101810" y="183217"/>
                    <a:pt x="135428" y="208429"/>
                  </a:cubicBezTo>
                  <a:cubicBezTo>
                    <a:pt x="132066" y="277905"/>
                    <a:pt x="111896" y="504826"/>
                    <a:pt x="95087" y="564777"/>
                  </a:cubicBezTo>
                  <a:cubicBezTo>
                    <a:pt x="78278" y="624728"/>
                    <a:pt x="81080" y="647139"/>
                    <a:pt x="64831" y="554691"/>
                  </a:cubicBezTo>
                  <a:cubicBezTo>
                    <a:pt x="48582" y="462243"/>
                    <a:pt x="-8008" y="75640"/>
                    <a:pt x="957"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sp>
          <p:nvSpPr>
            <p:cNvPr id="122" name="Freeform 121"/>
            <p:cNvSpPr/>
            <p:nvPr/>
          </p:nvSpPr>
          <p:spPr>
            <a:xfrm flipH="1">
              <a:off x="6084434" y="5005568"/>
              <a:ext cx="176497" cy="608216"/>
            </a:xfrm>
            <a:custGeom>
              <a:avLst/>
              <a:gdLst>
                <a:gd name="connsiteX0" fmla="*/ 1212 w 152735"/>
                <a:gd name="connsiteY0" fmla="*/ 21993 h 633872"/>
                <a:gd name="connsiteX1" fmla="*/ 105427 w 152735"/>
                <a:gd name="connsiteY1" fmla="*/ 112761 h 633872"/>
                <a:gd name="connsiteX2" fmla="*/ 115512 w 152735"/>
                <a:gd name="connsiteY2" fmla="*/ 169911 h 633872"/>
                <a:gd name="connsiteX3" fmla="*/ 152492 w 152735"/>
                <a:gd name="connsiteY3" fmla="*/ 206890 h 633872"/>
                <a:gd name="connsiteX4" fmla="*/ 95342 w 152735"/>
                <a:gd name="connsiteY4" fmla="*/ 586770 h 633872"/>
                <a:gd name="connsiteX5" fmla="*/ 51639 w 152735"/>
                <a:gd name="connsiteY5" fmla="*/ 566599 h 633872"/>
                <a:gd name="connsiteX6" fmla="*/ 1212 w 152735"/>
                <a:gd name="connsiteY6" fmla="*/ 21993 h 633872"/>
                <a:gd name="connsiteX0-1" fmla="*/ 1212 w 152735"/>
                <a:gd name="connsiteY0-2" fmla="*/ 21993 h 633872"/>
                <a:gd name="connsiteX1-3" fmla="*/ 105427 w 152735"/>
                <a:gd name="connsiteY1-4" fmla="*/ 112761 h 633872"/>
                <a:gd name="connsiteX2-5" fmla="*/ 115512 w 152735"/>
                <a:gd name="connsiteY2-6" fmla="*/ 169911 h 633872"/>
                <a:gd name="connsiteX3-7" fmla="*/ 152492 w 152735"/>
                <a:gd name="connsiteY3-8" fmla="*/ 206890 h 633872"/>
                <a:gd name="connsiteX4-9" fmla="*/ 95342 w 152735"/>
                <a:gd name="connsiteY4-10" fmla="*/ 586770 h 633872"/>
                <a:gd name="connsiteX5-11" fmla="*/ 51639 w 152735"/>
                <a:gd name="connsiteY5-12" fmla="*/ 566599 h 633872"/>
                <a:gd name="connsiteX6-13" fmla="*/ 1212 w 152735"/>
                <a:gd name="connsiteY6-14" fmla="*/ 21993 h 633872"/>
                <a:gd name="connsiteX0-15" fmla="*/ 1212 w 152492"/>
                <a:gd name="connsiteY0-16" fmla="*/ 21993 h 633872"/>
                <a:gd name="connsiteX1-17" fmla="*/ 105427 w 152492"/>
                <a:gd name="connsiteY1-18" fmla="*/ 112761 h 633872"/>
                <a:gd name="connsiteX2-19" fmla="*/ 115512 w 152492"/>
                <a:gd name="connsiteY2-20" fmla="*/ 169911 h 633872"/>
                <a:gd name="connsiteX3-21" fmla="*/ 152492 w 152492"/>
                <a:gd name="connsiteY3-22" fmla="*/ 206890 h 633872"/>
                <a:gd name="connsiteX4-23" fmla="*/ 95342 w 152492"/>
                <a:gd name="connsiteY4-24" fmla="*/ 586770 h 633872"/>
                <a:gd name="connsiteX5-25" fmla="*/ 51639 w 152492"/>
                <a:gd name="connsiteY5-26" fmla="*/ 566599 h 633872"/>
                <a:gd name="connsiteX6-27" fmla="*/ 1212 w 152492"/>
                <a:gd name="connsiteY6-28" fmla="*/ 21993 h 633872"/>
                <a:gd name="connsiteX0-29" fmla="*/ 1212 w 152492"/>
                <a:gd name="connsiteY0-30" fmla="*/ 21993 h 633872"/>
                <a:gd name="connsiteX1-31" fmla="*/ 105427 w 152492"/>
                <a:gd name="connsiteY1-32" fmla="*/ 112761 h 633872"/>
                <a:gd name="connsiteX2-33" fmla="*/ 115512 w 152492"/>
                <a:gd name="connsiteY2-34" fmla="*/ 169911 h 633872"/>
                <a:gd name="connsiteX3-35" fmla="*/ 152492 w 152492"/>
                <a:gd name="connsiteY3-36" fmla="*/ 206890 h 633872"/>
                <a:gd name="connsiteX4-37" fmla="*/ 95342 w 152492"/>
                <a:gd name="connsiteY4-38" fmla="*/ 586770 h 633872"/>
                <a:gd name="connsiteX5-39" fmla="*/ 51639 w 152492"/>
                <a:gd name="connsiteY5-40" fmla="*/ 566599 h 633872"/>
                <a:gd name="connsiteX6-41" fmla="*/ 1212 w 152492"/>
                <a:gd name="connsiteY6-42" fmla="*/ 21993 h 633872"/>
                <a:gd name="connsiteX0-43" fmla="*/ 1212 w 152492"/>
                <a:gd name="connsiteY0-44" fmla="*/ 21993 h 633872"/>
                <a:gd name="connsiteX1-45" fmla="*/ 105427 w 152492"/>
                <a:gd name="connsiteY1-46" fmla="*/ 112761 h 633872"/>
                <a:gd name="connsiteX2-47" fmla="*/ 115512 w 152492"/>
                <a:gd name="connsiteY2-48" fmla="*/ 169911 h 633872"/>
                <a:gd name="connsiteX3-49" fmla="*/ 152492 w 152492"/>
                <a:gd name="connsiteY3-50" fmla="*/ 206890 h 633872"/>
                <a:gd name="connsiteX4-51" fmla="*/ 95342 w 152492"/>
                <a:gd name="connsiteY4-52" fmla="*/ 586770 h 633872"/>
                <a:gd name="connsiteX5-53" fmla="*/ 51639 w 152492"/>
                <a:gd name="connsiteY5-54" fmla="*/ 566599 h 633872"/>
                <a:gd name="connsiteX6-55" fmla="*/ 1212 w 152492"/>
                <a:gd name="connsiteY6-56" fmla="*/ 21993 h 633872"/>
                <a:gd name="connsiteX0-57" fmla="*/ 1212 w 152492"/>
                <a:gd name="connsiteY0-58" fmla="*/ 21993 h 633872"/>
                <a:gd name="connsiteX1-59" fmla="*/ 105427 w 152492"/>
                <a:gd name="connsiteY1-60" fmla="*/ 112761 h 633872"/>
                <a:gd name="connsiteX2-61" fmla="*/ 108789 w 152492"/>
                <a:gd name="connsiteY2-62" fmla="*/ 179996 h 633872"/>
                <a:gd name="connsiteX3-63" fmla="*/ 152492 w 152492"/>
                <a:gd name="connsiteY3-64" fmla="*/ 206890 h 633872"/>
                <a:gd name="connsiteX4-65" fmla="*/ 95342 w 152492"/>
                <a:gd name="connsiteY4-66" fmla="*/ 586770 h 633872"/>
                <a:gd name="connsiteX5-67" fmla="*/ 51639 w 152492"/>
                <a:gd name="connsiteY5-68" fmla="*/ 566599 h 633872"/>
                <a:gd name="connsiteX6-69" fmla="*/ 1212 w 152492"/>
                <a:gd name="connsiteY6-70" fmla="*/ 21993 h 633872"/>
                <a:gd name="connsiteX0-71" fmla="*/ 1212 w 152492"/>
                <a:gd name="connsiteY0-72" fmla="*/ 21993 h 633872"/>
                <a:gd name="connsiteX1-73" fmla="*/ 105427 w 152492"/>
                <a:gd name="connsiteY1-74" fmla="*/ 112761 h 633872"/>
                <a:gd name="connsiteX2-75" fmla="*/ 108789 w 152492"/>
                <a:gd name="connsiteY2-76" fmla="*/ 179996 h 633872"/>
                <a:gd name="connsiteX3-77" fmla="*/ 152492 w 152492"/>
                <a:gd name="connsiteY3-78" fmla="*/ 206890 h 633872"/>
                <a:gd name="connsiteX4-79" fmla="*/ 95342 w 152492"/>
                <a:gd name="connsiteY4-80" fmla="*/ 586770 h 633872"/>
                <a:gd name="connsiteX5-81" fmla="*/ 51639 w 152492"/>
                <a:gd name="connsiteY5-82" fmla="*/ 566599 h 633872"/>
                <a:gd name="connsiteX6-83" fmla="*/ 1212 w 152492"/>
                <a:gd name="connsiteY6-84" fmla="*/ 21993 h 633872"/>
                <a:gd name="connsiteX0-85" fmla="*/ 1212 w 152492"/>
                <a:gd name="connsiteY0-86" fmla="*/ 0 h 611879"/>
                <a:gd name="connsiteX1-87" fmla="*/ 105427 w 152492"/>
                <a:gd name="connsiteY1-88" fmla="*/ 90768 h 611879"/>
                <a:gd name="connsiteX2-89" fmla="*/ 108789 w 152492"/>
                <a:gd name="connsiteY2-90" fmla="*/ 158003 h 611879"/>
                <a:gd name="connsiteX3-91" fmla="*/ 152492 w 152492"/>
                <a:gd name="connsiteY3-92" fmla="*/ 184897 h 611879"/>
                <a:gd name="connsiteX4-93" fmla="*/ 95342 w 152492"/>
                <a:gd name="connsiteY4-94" fmla="*/ 564777 h 611879"/>
                <a:gd name="connsiteX5-95" fmla="*/ 51639 w 152492"/>
                <a:gd name="connsiteY5-96" fmla="*/ 544606 h 611879"/>
                <a:gd name="connsiteX6-97" fmla="*/ 1212 w 152492"/>
                <a:gd name="connsiteY6-98" fmla="*/ 0 h 611879"/>
                <a:gd name="connsiteX0-99" fmla="*/ 1212 w 152492"/>
                <a:gd name="connsiteY0-100" fmla="*/ 0 h 611879"/>
                <a:gd name="connsiteX1-101" fmla="*/ 95342 w 152492"/>
                <a:gd name="connsiteY1-102" fmla="*/ 90768 h 611879"/>
                <a:gd name="connsiteX2-103" fmla="*/ 108789 w 152492"/>
                <a:gd name="connsiteY2-104" fmla="*/ 158003 h 611879"/>
                <a:gd name="connsiteX3-105" fmla="*/ 152492 w 152492"/>
                <a:gd name="connsiteY3-106" fmla="*/ 184897 h 611879"/>
                <a:gd name="connsiteX4-107" fmla="*/ 95342 w 152492"/>
                <a:gd name="connsiteY4-108" fmla="*/ 564777 h 611879"/>
                <a:gd name="connsiteX5-109" fmla="*/ 51639 w 152492"/>
                <a:gd name="connsiteY5-110" fmla="*/ 544606 h 611879"/>
                <a:gd name="connsiteX6-111" fmla="*/ 1212 w 152492"/>
                <a:gd name="connsiteY6-112" fmla="*/ 0 h 611879"/>
                <a:gd name="connsiteX0-113" fmla="*/ 1212 w 152492"/>
                <a:gd name="connsiteY0-114" fmla="*/ 0 h 611879"/>
                <a:gd name="connsiteX1-115" fmla="*/ 95342 w 152492"/>
                <a:gd name="connsiteY1-116" fmla="*/ 90768 h 611879"/>
                <a:gd name="connsiteX2-117" fmla="*/ 108789 w 152492"/>
                <a:gd name="connsiteY2-118" fmla="*/ 158003 h 611879"/>
                <a:gd name="connsiteX3-119" fmla="*/ 152492 w 152492"/>
                <a:gd name="connsiteY3-120" fmla="*/ 184897 h 611879"/>
                <a:gd name="connsiteX4-121" fmla="*/ 95342 w 152492"/>
                <a:gd name="connsiteY4-122" fmla="*/ 564777 h 611879"/>
                <a:gd name="connsiteX5-123" fmla="*/ 51639 w 152492"/>
                <a:gd name="connsiteY5-124" fmla="*/ 544606 h 611879"/>
                <a:gd name="connsiteX6-125" fmla="*/ 1212 w 152492"/>
                <a:gd name="connsiteY6-126" fmla="*/ 0 h 611879"/>
                <a:gd name="connsiteX0-127" fmla="*/ 1212 w 152492"/>
                <a:gd name="connsiteY0-128" fmla="*/ 0 h 611879"/>
                <a:gd name="connsiteX1-129" fmla="*/ 95342 w 152492"/>
                <a:gd name="connsiteY1-130" fmla="*/ 90768 h 611879"/>
                <a:gd name="connsiteX2-131" fmla="*/ 108789 w 152492"/>
                <a:gd name="connsiteY2-132" fmla="*/ 158003 h 611879"/>
                <a:gd name="connsiteX3-133" fmla="*/ 152492 w 152492"/>
                <a:gd name="connsiteY3-134" fmla="*/ 184897 h 611879"/>
                <a:gd name="connsiteX4-135" fmla="*/ 95342 w 152492"/>
                <a:gd name="connsiteY4-136" fmla="*/ 564777 h 611879"/>
                <a:gd name="connsiteX5-137" fmla="*/ 51639 w 152492"/>
                <a:gd name="connsiteY5-138" fmla="*/ 544606 h 611879"/>
                <a:gd name="connsiteX6-139" fmla="*/ 1212 w 152492"/>
                <a:gd name="connsiteY6-140" fmla="*/ 0 h 611879"/>
                <a:gd name="connsiteX0-141" fmla="*/ 957 w 152237"/>
                <a:gd name="connsiteY0-142" fmla="*/ 0 h 616976"/>
                <a:gd name="connsiteX1-143" fmla="*/ 95087 w 152237"/>
                <a:gd name="connsiteY1-144" fmla="*/ 90768 h 616976"/>
                <a:gd name="connsiteX2-145" fmla="*/ 108534 w 152237"/>
                <a:gd name="connsiteY2-146" fmla="*/ 158003 h 616976"/>
                <a:gd name="connsiteX3-147" fmla="*/ 152237 w 152237"/>
                <a:gd name="connsiteY3-148" fmla="*/ 184897 h 616976"/>
                <a:gd name="connsiteX4-149" fmla="*/ 95087 w 152237"/>
                <a:gd name="connsiteY4-150" fmla="*/ 564777 h 616976"/>
                <a:gd name="connsiteX5-151" fmla="*/ 64831 w 152237"/>
                <a:gd name="connsiteY5-152" fmla="*/ 554691 h 616976"/>
                <a:gd name="connsiteX6-153" fmla="*/ 957 w 152237"/>
                <a:gd name="connsiteY6-154" fmla="*/ 0 h 616976"/>
                <a:gd name="connsiteX0-155" fmla="*/ 957 w 135428"/>
                <a:gd name="connsiteY0-156" fmla="*/ 0 h 616976"/>
                <a:gd name="connsiteX1-157" fmla="*/ 95087 w 135428"/>
                <a:gd name="connsiteY1-158" fmla="*/ 90768 h 616976"/>
                <a:gd name="connsiteX2-159" fmla="*/ 108534 w 135428"/>
                <a:gd name="connsiteY2-160" fmla="*/ 158003 h 616976"/>
                <a:gd name="connsiteX3-161" fmla="*/ 135428 w 135428"/>
                <a:gd name="connsiteY3-162" fmla="*/ 208429 h 616976"/>
                <a:gd name="connsiteX4-163" fmla="*/ 95087 w 135428"/>
                <a:gd name="connsiteY4-164" fmla="*/ 564777 h 616976"/>
                <a:gd name="connsiteX5-165" fmla="*/ 64831 w 135428"/>
                <a:gd name="connsiteY5-166" fmla="*/ 554691 h 616976"/>
                <a:gd name="connsiteX6-167" fmla="*/ 957 w 135428"/>
                <a:gd name="connsiteY6-168" fmla="*/ 0 h 616976"/>
                <a:gd name="connsiteX0-169" fmla="*/ 957 w 135428"/>
                <a:gd name="connsiteY0-170" fmla="*/ 0 h 616976"/>
                <a:gd name="connsiteX1-171" fmla="*/ 95087 w 135428"/>
                <a:gd name="connsiteY1-172" fmla="*/ 90768 h 616976"/>
                <a:gd name="connsiteX2-173" fmla="*/ 108534 w 135428"/>
                <a:gd name="connsiteY2-174" fmla="*/ 158003 h 616976"/>
                <a:gd name="connsiteX3-175" fmla="*/ 135428 w 135428"/>
                <a:gd name="connsiteY3-176" fmla="*/ 208429 h 616976"/>
                <a:gd name="connsiteX4-177" fmla="*/ 95087 w 135428"/>
                <a:gd name="connsiteY4-178" fmla="*/ 564777 h 616976"/>
                <a:gd name="connsiteX5-179" fmla="*/ 64831 w 135428"/>
                <a:gd name="connsiteY5-180" fmla="*/ 554691 h 616976"/>
                <a:gd name="connsiteX6-181" fmla="*/ 957 w 135428"/>
                <a:gd name="connsiteY6-182" fmla="*/ 0 h 616976"/>
                <a:gd name="connsiteX0-183" fmla="*/ 957 w 135428"/>
                <a:gd name="connsiteY0-184" fmla="*/ 0 h 616976"/>
                <a:gd name="connsiteX1-185" fmla="*/ 95087 w 135428"/>
                <a:gd name="connsiteY1-186" fmla="*/ 90768 h 616976"/>
                <a:gd name="connsiteX2-187" fmla="*/ 135428 w 135428"/>
                <a:gd name="connsiteY2-188" fmla="*/ 208429 h 616976"/>
                <a:gd name="connsiteX3-189" fmla="*/ 95087 w 135428"/>
                <a:gd name="connsiteY3-190" fmla="*/ 564777 h 616976"/>
                <a:gd name="connsiteX4-191" fmla="*/ 64831 w 135428"/>
                <a:gd name="connsiteY4-192" fmla="*/ 554691 h 616976"/>
                <a:gd name="connsiteX5-193" fmla="*/ 957 w 135428"/>
                <a:gd name="connsiteY5-194" fmla="*/ 0 h 616976"/>
                <a:gd name="connsiteX0-195" fmla="*/ 957 w 135428"/>
                <a:gd name="connsiteY0-196" fmla="*/ 0 h 616976"/>
                <a:gd name="connsiteX1-197" fmla="*/ 95087 w 135428"/>
                <a:gd name="connsiteY1-198" fmla="*/ 90768 h 616976"/>
                <a:gd name="connsiteX2-199" fmla="*/ 135428 w 135428"/>
                <a:gd name="connsiteY2-200" fmla="*/ 208429 h 616976"/>
                <a:gd name="connsiteX3-201" fmla="*/ 95087 w 135428"/>
                <a:gd name="connsiteY3-202" fmla="*/ 564777 h 616976"/>
                <a:gd name="connsiteX4-203" fmla="*/ 64831 w 135428"/>
                <a:gd name="connsiteY4-204" fmla="*/ 554691 h 616976"/>
                <a:gd name="connsiteX5-205" fmla="*/ 957 w 135428"/>
                <a:gd name="connsiteY5-206" fmla="*/ 0 h 616976"/>
                <a:gd name="connsiteX0-207" fmla="*/ 957 w 135428"/>
                <a:gd name="connsiteY0-208" fmla="*/ 0 h 616976"/>
                <a:gd name="connsiteX1-209" fmla="*/ 95087 w 135428"/>
                <a:gd name="connsiteY1-210" fmla="*/ 90768 h 616976"/>
                <a:gd name="connsiteX2-211" fmla="*/ 135428 w 135428"/>
                <a:gd name="connsiteY2-212" fmla="*/ 208429 h 616976"/>
                <a:gd name="connsiteX3-213" fmla="*/ 95087 w 135428"/>
                <a:gd name="connsiteY3-214" fmla="*/ 564777 h 616976"/>
                <a:gd name="connsiteX4-215" fmla="*/ 64831 w 135428"/>
                <a:gd name="connsiteY4-216" fmla="*/ 554691 h 616976"/>
                <a:gd name="connsiteX5-217" fmla="*/ 957 w 135428"/>
                <a:gd name="connsiteY5-218" fmla="*/ 0 h 616976"/>
                <a:gd name="connsiteX0-219" fmla="*/ 957 w 135428"/>
                <a:gd name="connsiteY0-220" fmla="*/ 0 h 616976"/>
                <a:gd name="connsiteX1-221" fmla="*/ 85052 w 135428"/>
                <a:gd name="connsiteY1-222" fmla="*/ 94129 h 616976"/>
                <a:gd name="connsiteX2-223" fmla="*/ 135428 w 135428"/>
                <a:gd name="connsiteY2-224" fmla="*/ 208429 h 616976"/>
                <a:gd name="connsiteX3-225" fmla="*/ 95087 w 135428"/>
                <a:gd name="connsiteY3-226" fmla="*/ 564777 h 616976"/>
                <a:gd name="connsiteX4-227" fmla="*/ 64831 w 135428"/>
                <a:gd name="connsiteY4-228" fmla="*/ 554691 h 616976"/>
                <a:gd name="connsiteX5-229" fmla="*/ 957 w 135428"/>
                <a:gd name="connsiteY5-230" fmla="*/ 0 h 616976"/>
                <a:gd name="connsiteX0-231" fmla="*/ 680 w 165258"/>
                <a:gd name="connsiteY0-232" fmla="*/ 0 h 631958"/>
                <a:gd name="connsiteX1-233" fmla="*/ 114882 w 165258"/>
                <a:gd name="connsiteY1-234" fmla="*/ 107576 h 631958"/>
                <a:gd name="connsiteX2-235" fmla="*/ 165258 w 165258"/>
                <a:gd name="connsiteY2-236" fmla="*/ 221876 h 631958"/>
                <a:gd name="connsiteX3-237" fmla="*/ 124917 w 165258"/>
                <a:gd name="connsiteY3-238" fmla="*/ 578224 h 631958"/>
                <a:gd name="connsiteX4-239" fmla="*/ 94661 w 165258"/>
                <a:gd name="connsiteY4-240" fmla="*/ 568138 h 631958"/>
                <a:gd name="connsiteX5-241" fmla="*/ 680 w 165258"/>
                <a:gd name="connsiteY5-242" fmla="*/ 0 h 631958"/>
                <a:gd name="connsiteX0-243" fmla="*/ 1069 w 165647"/>
                <a:gd name="connsiteY0-244" fmla="*/ 0 h 641425"/>
                <a:gd name="connsiteX1-245" fmla="*/ 115271 w 165647"/>
                <a:gd name="connsiteY1-246" fmla="*/ 107576 h 641425"/>
                <a:gd name="connsiteX2-247" fmla="*/ 165647 w 165647"/>
                <a:gd name="connsiteY2-248" fmla="*/ 221876 h 641425"/>
                <a:gd name="connsiteX3-249" fmla="*/ 125306 w 165647"/>
                <a:gd name="connsiteY3-250" fmla="*/ 578224 h 641425"/>
                <a:gd name="connsiteX4-251" fmla="*/ 95050 w 165647"/>
                <a:gd name="connsiteY4-252" fmla="*/ 568138 h 641425"/>
                <a:gd name="connsiteX5-253" fmla="*/ 1069 w 165647"/>
                <a:gd name="connsiteY5-254" fmla="*/ 0 h 641425"/>
                <a:gd name="connsiteX0-255" fmla="*/ 1069 w 165647"/>
                <a:gd name="connsiteY0-256" fmla="*/ 0 h 641425"/>
                <a:gd name="connsiteX1-257" fmla="*/ 115271 w 165647"/>
                <a:gd name="connsiteY1-258" fmla="*/ 107576 h 641425"/>
                <a:gd name="connsiteX2-259" fmla="*/ 165647 w 165647"/>
                <a:gd name="connsiteY2-260" fmla="*/ 221876 h 641425"/>
                <a:gd name="connsiteX3-261" fmla="*/ 125306 w 165647"/>
                <a:gd name="connsiteY3-262" fmla="*/ 578224 h 641425"/>
                <a:gd name="connsiteX4-263" fmla="*/ 95050 w 165647"/>
                <a:gd name="connsiteY4-264" fmla="*/ 568138 h 641425"/>
                <a:gd name="connsiteX5-265" fmla="*/ 1069 w 165647"/>
                <a:gd name="connsiteY5-266" fmla="*/ 0 h 641425"/>
                <a:gd name="connsiteX0-267" fmla="*/ 1069 w 165647"/>
                <a:gd name="connsiteY0-268" fmla="*/ 0 h 641425"/>
                <a:gd name="connsiteX1-269" fmla="*/ 115271 w 165647"/>
                <a:gd name="connsiteY1-270" fmla="*/ 107576 h 641425"/>
                <a:gd name="connsiteX2-271" fmla="*/ 165647 w 165647"/>
                <a:gd name="connsiteY2-272" fmla="*/ 221876 h 641425"/>
                <a:gd name="connsiteX3-273" fmla="*/ 125306 w 165647"/>
                <a:gd name="connsiteY3-274" fmla="*/ 578224 h 641425"/>
                <a:gd name="connsiteX4-275" fmla="*/ 95050 w 165647"/>
                <a:gd name="connsiteY4-276" fmla="*/ 568138 h 641425"/>
                <a:gd name="connsiteX5-277" fmla="*/ 1069 w 165647"/>
                <a:gd name="connsiteY5-278" fmla="*/ 0 h 641425"/>
                <a:gd name="connsiteX0-279" fmla="*/ 1069 w 166511"/>
                <a:gd name="connsiteY0-280" fmla="*/ 0 h 630644"/>
                <a:gd name="connsiteX1-281" fmla="*/ 115271 w 166511"/>
                <a:gd name="connsiteY1-282" fmla="*/ 107576 h 630644"/>
                <a:gd name="connsiteX2-283" fmla="*/ 165647 w 166511"/>
                <a:gd name="connsiteY2-284" fmla="*/ 221876 h 630644"/>
                <a:gd name="connsiteX3-285" fmla="*/ 143686 w 166511"/>
                <a:gd name="connsiteY3-286" fmla="*/ 416005 h 630644"/>
                <a:gd name="connsiteX4-287" fmla="*/ 125306 w 166511"/>
                <a:gd name="connsiteY4-288" fmla="*/ 578224 h 630644"/>
                <a:gd name="connsiteX5-289" fmla="*/ 95050 w 166511"/>
                <a:gd name="connsiteY5-290" fmla="*/ 568138 h 630644"/>
                <a:gd name="connsiteX6-291" fmla="*/ 1069 w 166511"/>
                <a:gd name="connsiteY6-292" fmla="*/ 0 h 630644"/>
                <a:gd name="connsiteX0-293" fmla="*/ 5716 w 171158"/>
                <a:gd name="connsiteY0-294" fmla="*/ 0 h 601393"/>
                <a:gd name="connsiteX1-295" fmla="*/ 119918 w 171158"/>
                <a:gd name="connsiteY1-296" fmla="*/ 107576 h 601393"/>
                <a:gd name="connsiteX2-297" fmla="*/ 170294 w 171158"/>
                <a:gd name="connsiteY2-298" fmla="*/ 221876 h 601393"/>
                <a:gd name="connsiteX3-299" fmla="*/ 148333 w 171158"/>
                <a:gd name="connsiteY3-300" fmla="*/ 416005 h 601393"/>
                <a:gd name="connsiteX4-301" fmla="*/ 129953 w 171158"/>
                <a:gd name="connsiteY4-302" fmla="*/ 578224 h 601393"/>
                <a:gd name="connsiteX5-303" fmla="*/ 99697 w 171158"/>
                <a:gd name="connsiteY5-304" fmla="*/ 568138 h 601393"/>
                <a:gd name="connsiteX6-305" fmla="*/ 22713 w 171158"/>
                <a:gd name="connsiteY6-306" fmla="*/ 276115 h 601393"/>
                <a:gd name="connsiteX7" fmla="*/ 5716 w 171158"/>
                <a:gd name="connsiteY7" fmla="*/ 0 h 601393"/>
                <a:gd name="connsiteX0-307" fmla="*/ 4248 w 179875"/>
                <a:gd name="connsiteY0-308" fmla="*/ 0 h 608216"/>
                <a:gd name="connsiteX1-309" fmla="*/ 128635 w 179875"/>
                <a:gd name="connsiteY1-310" fmla="*/ 114399 h 608216"/>
                <a:gd name="connsiteX2-311" fmla="*/ 179011 w 179875"/>
                <a:gd name="connsiteY2-312" fmla="*/ 228699 h 608216"/>
                <a:gd name="connsiteX3-313" fmla="*/ 157050 w 179875"/>
                <a:gd name="connsiteY3-314" fmla="*/ 422828 h 608216"/>
                <a:gd name="connsiteX4-315" fmla="*/ 138670 w 179875"/>
                <a:gd name="connsiteY4-316" fmla="*/ 585047 h 608216"/>
                <a:gd name="connsiteX5-317" fmla="*/ 108414 w 179875"/>
                <a:gd name="connsiteY5-318" fmla="*/ 574961 h 608216"/>
                <a:gd name="connsiteX6-319" fmla="*/ 31430 w 179875"/>
                <a:gd name="connsiteY6-320" fmla="*/ 282938 h 608216"/>
                <a:gd name="connsiteX7-321" fmla="*/ 4248 w 179875"/>
                <a:gd name="connsiteY7-322" fmla="*/ 0 h 608216"/>
                <a:gd name="connsiteX0-323" fmla="*/ 0 w 175627"/>
                <a:gd name="connsiteY0-324" fmla="*/ 0 h 608216"/>
                <a:gd name="connsiteX1-325" fmla="*/ 124387 w 175627"/>
                <a:gd name="connsiteY1-326" fmla="*/ 114399 h 608216"/>
                <a:gd name="connsiteX2-327" fmla="*/ 174763 w 175627"/>
                <a:gd name="connsiteY2-328" fmla="*/ 228699 h 608216"/>
                <a:gd name="connsiteX3-329" fmla="*/ 152802 w 175627"/>
                <a:gd name="connsiteY3-330" fmla="*/ 422828 h 608216"/>
                <a:gd name="connsiteX4-331" fmla="*/ 134422 w 175627"/>
                <a:gd name="connsiteY4-332" fmla="*/ 585047 h 608216"/>
                <a:gd name="connsiteX5-333" fmla="*/ 104166 w 175627"/>
                <a:gd name="connsiteY5-334" fmla="*/ 574961 h 608216"/>
                <a:gd name="connsiteX6-335" fmla="*/ 27182 w 175627"/>
                <a:gd name="connsiteY6-336" fmla="*/ 282938 h 608216"/>
                <a:gd name="connsiteX7-337" fmla="*/ 0 w 175627"/>
                <a:gd name="connsiteY7-338" fmla="*/ 0 h 608216"/>
                <a:gd name="connsiteX0-339" fmla="*/ 0 w 175627"/>
                <a:gd name="connsiteY0-340" fmla="*/ 0 h 608216"/>
                <a:gd name="connsiteX1-341" fmla="*/ 124387 w 175627"/>
                <a:gd name="connsiteY1-342" fmla="*/ 114399 h 608216"/>
                <a:gd name="connsiteX2-343" fmla="*/ 129035 w 175627"/>
                <a:gd name="connsiteY2-344" fmla="*/ 173757 h 608216"/>
                <a:gd name="connsiteX3-345" fmla="*/ 174763 w 175627"/>
                <a:gd name="connsiteY3-346" fmla="*/ 228699 h 608216"/>
                <a:gd name="connsiteX4-347" fmla="*/ 152802 w 175627"/>
                <a:gd name="connsiteY4-348" fmla="*/ 422828 h 608216"/>
                <a:gd name="connsiteX5-349" fmla="*/ 134422 w 175627"/>
                <a:gd name="connsiteY5-350" fmla="*/ 585047 h 608216"/>
                <a:gd name="connsiteX6-351" fmla="*/ 104166 w 175627"/>
                <a:gd name="connsiteY6-352" fmla="*/ 574961 h 608216"/>
                <a:gd name="connsiteX7-353" fmla="*/ 27182 w 175627"/>
                <a:gd name="connsiteY7-354" fmla="*/ 282938 h 608216"/>
                <a:gd name="connsiteX8" fmla="*/ 0 w 175627"/>
                <a:gd name="connsiteY8" fmla="*/ 0 h 608216"/>
                <a:gd name="connsiteX0-355" fmla="*/ 0 w 175627"/>
                <a:gd name="connsiteY0-356" fmla="*/ 0 h 608216"/>
                <a:gd name="connsiteX1-357" fmla="*/ 124387 w 175627"/>
                <a:gd name="connsiteY1-358" fmla="*/ 114399 h 608216"/>
                <a:gd name="connsiteX2-359" fmla="*/ 129035 w 175627"/>
                <a:gd name="connsiteY2-360" fmla="*/ 173757 h 608216"/>
                <a:gd name="connsiteX3-361" fmla="*/ 174763 w 175627"/>
                <a:gd name="connsiteY3-362" fmla="*/ 228699 h 608216"/>
                <a:gd name="connsiteX4-363" fmla="*/ 152802 w 175627"/>
                <a:gd name="connsiteY4-364" fmla="*/ 422828 h 608216"/>
                <a:gd name="connsiteX5-365" fmla="*/ 134422 w 175627"/>
                <a:gd name="connsiteY5-366" fmla="*/ 585047 h 608216"/>
                <a:gd name="connsiteX6-367" fmla="*/ 104166 w 175627"/>
                <a:gd name="connsiteY6-368" fmla="*/ 574961 h 608216"/>
                <a:gd name="connsiteX7-369" fmla="*/ 27182 w 175627"/>
                <a:gd name="connsiteY7-370" fmla="*/ 282938 h 608216"/>
                <a:gd name="connsiteX8-371" fmla="*/ 0 w 175627"/>
                <a:gd name="connsiteY8-372" fmla="*/ 0 h 608216"/>
                <a:gd name="connsiteX0-373" fmla="*/ 0 w 175627"/>
                <a:gd name="connsiteY0-374" fmla="*/ 0 h 608216"/>
                <a:gd name="connsiteX1-375" fmla="*/ 124387 w 175627"/>
                <a:gd name="connsiteY1-376" fmla="*/ 114399 h 608216"/>
                <a:gd name="connsiteX2-377" fmla="*/ 129035 w 175627"/>
                <a:gd name="connsiteY2-378" fmla="*/ 173757 h 608216"/>
                <a:gd name="connsiteX3-379" fmla="*/ 174763 w 175627"/>
                <a:gd name="connsiteY3-380" fmla="*/ 228699 h 608216"/>
                <a:gd name="connsiteX4-381" fmla="*/ 152802 w 175627"/>
                <a:gd name="connsiteY4-382" fmla="*/ 422828 h 608216"/>
                <a:gd name="connsiteX5-383" fmla="*/ 134422 w 175627"/>
                <a:gd name="connsiteY5-384" fmla="*/ 585047 h 608216"/>
                <a:gd name="connsiteX6-385" fmla="*/ 104166 w 175627"/>
                <a:gd name="connsiteY6-386" fmla="*/ 574961 h 608216"/>
                <a:gd name="connsiteX7-387" fmla="*/ 27182 w 175627"/>
                <a:gd name="connsiteY7-388" fmla="*/ 282938 h 608216"/>
                <a:gd name="connsiteX8-389" fmla="*/ 0 w 175627"/>
                <a:gd name="connsiteY8-390" fmla="*/ 0 h 608216"/>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321" y="connsiteY7-322"/>
                </a:cxn>
                <a:cxn ang="0">
                  <a:pos x="connsiteX8-371" y="connsiteY8-372"/>
                </a:cxn>
              </a:cxnLst>
              <a:rect l="l" t="t" r="r" b="b"/>
              <a:pathLst>
                <a:path w="175627" h="608216">
                  <a:moveTo>
                    <a:pt x="0" y="0"/>
                  </a:moveTo>
                  <a:cubicBezTo>
                    <a:pt x="35858" y="65555"/>
                    <a:pt x="98847" y="86334"/>
                    <a:pt x="124387" y="114399"/>
                  </a:cubicBezTo>
                  <a:cubicBezTo>
                    <a:pt x="120428" y="142221"/>
                    <a:pt x="120639" y="154707"/>
                    <a:pt x="129035" y="173757"/>
                  </a:cubicBezTo>
                  <a:cubicBezTo>
                    <a:pt x="137431" y="192807"/>
                    <a:pt x="152129" y="206522"/>
                    <a:pt x="174763" y="228699"/>
                  </a:cubicBezTo>
                  <a:cubicBezTo>
                    <a:pt x="180065" y="280673"/>
                    <a:pt x="159526" y="363437"/>
                    <a:pt x="152802" y="422828"/>
                  </a:cubicBezTo>
                  <a:cubicBezTo>
                    <a:pt x="146079" y="482219"/>
                    <a:pt x="143094" y="560260"/>
                    <a:pt x="134422" y="585047"/>
                  </a:cubicBezTo>
                  <a:cubicBezTo>
                    <a:pt x="125750" y="609834"/>
                    <a:pt x="122039" y="625312"/>
                    <a:pt x="104166" y="574961"/>
                  </a:cubicBezTo>
                  <a:cubicBezTo>
                    <a:pt x="86293" y="524610"/>
                    <a:pt x="42845" y="377628"/>
                    <a:pt x="27182" y="282938"/>
                  </a:cubicBezTo>
                  <a:cubicBezTo>
                    <a:pt x="11519" y="188248"/>
                    <a:pt x="9262" y="68464"/>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20000"/>
                </a:lnSpc>
              </a:pPr>
              <a:endParaRPr lang="en-US" sz="760">
                <a:cs typeface="+mn-ea"/>
                <a:sym typeface="+mn-lt"/>
              </a:endParaRPr>
            </a:p>
          </p:txBody>
        </p:sp>
      </p:grpSp>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randombar(horizontal)">
                                      <p:cBhvr>
                                        <p:cTn id="7" dur="500"/>
                                        <p:tgtEl>
                                          <p:spTgt spid="14"/>
                                        </p:tgtEl>
                                      </p:cBhvr>
                                    </p:animEffect>
                                  </p:childTnLst>
                                </p:cTn>
                              </p:par>
                            </p:childTnLst>
                          </p:cTn>
                        </p:par>
                        <p:par>
                          <p:cTn id="8" fill="hold">
                            <p:stCondLst>
                              <p:cond delay="500"/>
                            </p:stCondLst>
                            <p:childTnLst>
                              <p:par>
                                <p:cTn id="9" presetID="18" presetClass="entr" presetSubtype="3" fill="hold" grpId="0" nodeType="afterEffect">
                                  <p:stCondLst>
                                    <p:cond delay="0"/>
                                  </p:stCondLst>
                                  <p:childTnLst>
                                    <p:set>
                                      <p:cBhvr>
                                        <p:cTn id="10" dur="1" fill="hold">
                                          <p:stCondLst>
                                            <p:cond delay="0"/>
                                          </p:stCondLst>
                                        </p:cTn>
                                        <p:tgtEl>
                                          <p:spTgt spid="41"/>
                                        </p:tgtEl>
                                        <p:attrNameLst>
                                          <p:attrName>style.visibility</p:attrName>
                                        </p:attrNameLst>
                                      </p:cBhvr>
                                      <p:to>
                                        <p:strVal val="visible"/>
                                      </p:to>
                                    </p:set>
                                    <p:animEffect transition="in" filter="strips(upRight)">
                                      <p:cBhvr>
                                        <p:cTn id="11" dur="500"/>
                                        <p:tgtEl>
                                          <p:spTgt spid="41"/>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randombar(horizontal)">
                                      <p:cBhvr>
                                        <p:cTn id="15" dur="500"/>
                                        <p:tgtEl>
                                          <p:spTgt spid="12"/>
                                        </p:tgtEl>
                                      </p:cBhvr>
                                    </p:animEffect>
                                  </p:childTnLst>
                                </p:cTn>
                              </p:par>
                            </p:childTnLst>
                          </p:cTn>
                        </p:par>
                        <p:par>
                          <p:cTn id="16" fill="hold">
                            <p:stCondLst>
                              <p:cond delay="1500"/>
                            </p:stCondLst>
                            <p:childTnLst>
                              <p:par>
                                <p:cTn id="17" presetID="18" presetClass="entr" presetSubtype="9" fill="hold" grpId="0"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strips(upLeft)">
                                      <p:cBhvr>
                                        <p:cTn id="19" dur="500"/>
                                        <p:tgtEl>
                                          <p:spTgt spid="42"/>
                                        </p:tgtEl>
                                      </p:cBhvr>
                                    </p:animEffect>
                                  </p:childTnLst>
                                </p:cTn>
                              </p:par>
                            </p:childTnLst>
                          </p:cTn>
                        </p:par>
                        <p:par>
                          <p:cTn id="20" fill="hold">
                            <p:stCondLst>
                              <p:cond delay="2000"/>
                            </p:stCondLst>
                            <p:childTnLst>
                              <p:par>
                                <p:cTn id="21" presetID="14" presetClass="entr" presetSubtype="1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randombar(horizontal)">
                                      <p:cBhvr>
                                        <p:cTn id="23" dur="500"/>
                                        <p:tgtEl>
                                          <p:spTgt spid="11"/>
                                        </p:tgtEl>
                                      </p:cBhvr>
                                    </p:animEffect>
                                  </p:childTnLst>
                                </p:cTn>
                              </p:par>
                            </p:childTnLst>
                          </p:cTn>
                        </p:par>
                        <p:par>
                          <p:cTn id="24" fill="hold">
                            <p:stCondLst>
                              <p:cond delay="2500"/>
                            </p:stCondLst>
                            <p:childTnLst>
                              <p:par>
                                <p:cTn id="25" presetID="18" presetClass="entr" presetSubtype="3"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strips(upRight)">
                                      <p:cBhvr>
                                        <p:cTn id="27" dur="500"/>
                                        <p:tgtEl>
                                          <p:spTgt spid="4"/>
                                        </p:tgtEl>
                                      </p:cBhvr>
                                    </p:animEffect>
                                  </p:childTnLst>
                                </p:cTn>
                              </p:par>
                              <p:par>
                                <p:cTn id="28" presetID="18" presetClass="entr" presetSubtype="3" fill="hold" grpId="0"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strips(upRight)">
                                      <p:cBhvr>
                                        <p:cTn id="30" dur="500"/>
                                        <p:tgtEl>
                                          <p:spTgt spid="44"/>
                                        </p:tgtEl>
                                      </p:cBhvr>
                                    </p:animEffect>
                                  </p:childTnLst>
                                </p:cTn>
                              </p:par>
                            </p:childTnLst>
                          </p:cTn>
                        </p:par>
                        <p:par>
                          <p:cTn id="31" fill="hold">
                            <p:stCondLst>
                              <p:cond delay="3000"/>
                            </p:stCondLst>
                            <p:childTnLst>
                              <p:par>
                                <p:cTn id="32" presetID="14" presetClass="entr" presetSubtype="10"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randombar(horizontal)">
                                      <p:cBhvr>
                                        <p:cTn id="34" dur="500"/>
                                        <p:tgtEl>
                                          <p:spTgt spid="7"/>
                                        </p:tgtEl>
                                      </p:cBhvr>
                                    </p:animEffect>
                                  </p:childTnLst>
                                </p:cTn>
                              </p:par>
                            </p:childTnLst>
                          </p:cTn>
                        </p:par>
                        <p:par>
                          <p:cTn id="35" fill="hold">
                            <p:stCondLst>
                              <p:cond delay="3500"/>
                            </p:stCondLst>
                            <p:childTnLst>
                              <p:par>
                                <p:cTn id="36" presetID="18" presetClass="entr" presetSubtype="9" fill="hold"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strips(upLeft)">
                                      <p:cBhvr>
                                        <p:cTn id="38" dur="500"/>
                                        <p:tgtEl>
                                          <p:spTgt spid="5"/>
                                        </p:tgtEl>
                                      </p:cBhvr>
                                    </p:animEffect>
                                  </p:childTnLst>
                                </p:cTn>
                              </p:par>
                              <p:par>
                                <p:cTn id="39" presetID="18" presetClass="entr" presetSubtype="9" fill="hold" grpId="0" nodeType="withEffect">
                                  <p:stCondLst>
                                    <p:cond delay="0"/>
                                  </p:stCondLst>
                                  <p:childTnLst>
                                    <p:set>
                                      <p:cBhvr>
                                        <p:cTn id="40" dur="1" fill="hold">
                                          <p:stCondLst>
                                            <p:cond delay="0"/>
                                          </p:stCondLst>
                                        </p:cTn>
                                        <p:tgtEl>
                                          <p:spTgt spid="43"/>
                                        </p:tgtEl>
                                        <p:attrNameLst>
                                          <p:attrName>style.visibility</p:attrName>
                                        </p:attrNameLst>
                                      </p:cBhvr>
                                      <p:to>
                                        <p:strVal val="visible"/>
                                      </p:to>
                                    </p:set>
                                    <p:animEffect transition="in" filter="strips(upLeft)">
                                      <p:cBhvr>
                                        <p:cTn id="41" dur="500"/>
                                        <p:tgtEl>
                                          <p:spTgt spid="43"/>
                                        </p:tgtEl>
                                      </p:cBhvr>
                                    </p:animEffect>
                                  </p:childTnLst>
                                </p:cTn>
                              </p:par>
                            </p:childTnLst>
                          </p:cTn>
                        </p:par>
                        <p:par>
                          <p:cTn id="42" fill="hold">
                            <p:stCondLst>
                              <p:cond delay="4000"/>
                            </p:stCondLst>
                            <p:childTnLst>
                              <p:par>
                                <p:cTn id="43" presetID="14" presetClass="entr" presetSubtype="10" fill="hold"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randombar(horizontal)">
                                      <p:cBhvr>
                                        <p:cTn id="45" dur="500"/>
                                        <p:tgtEl>
                                          <p:spTgt spid="9"/>
                                        </p:tgtEl>
                                      </p:cBhvr>
                                    </p:animEffect>
                                  </p:childTnLst>
                                </p:cTn>
                              </p:par>
                            </p:childTnLst>
                          </p:cTn>
                        </p:par>
                        <p:par>
                          <p:cTn id="46" fill="hold">
                            <p:stCondLst>
                              <p:cond delay="4500"/>
                            </p:stCondLst>
                            <p:childTnLst>
                              <p:par>
                                <p:cTn id="47" presetID="18" presetClass="entr" presetSubtype="9" fill="hold" grpId="0" nodeType="after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strips(upLeft)">
                                      <p:cBhvr>
                                        <p:cTn id="49" dur="500"/>
                                        <p:tgtEl>
                                          <p:spTgt spid="64"/>
                                        </p:tgtEl>
                                      </p:cBhvr>
                                    </p:animEffect>
                                  </p:childTnLst>
                                </p:cTn>
                              </p:par>
                              <p:par>
                                <p:cTn id="50" presetID="18" presetClass="entr" presetSubtype="9" fill="hold" nodeType="with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strips(upLeft)">
                                      <p:cBhvr>
                                        <p:cTn id="52" dur="500"/>
                                        <p:tgtEl>
                                          <p:spTgt spid="6"/>
                                        </p:tgtEl>
                                      </p:cBhvr>
                                    </p:animEffect>
                                  </p:childTnLst>
                                </p:cTn>
                              </p:par>
                            </p:childTnLst>
                          </p:cTn>
                        </p:par>
                        <p:par>
                          <p:cTn id="53" fill="hold">
                            <p:stCondLst>
                              <p:cond delay="5000"/>
                            </p:stCondLst>
                            <p:childTnLst>
                              <p:par>
                                <p:cTn id="54" presetID="12" presetClass="entr" presetSubtype="4" fill="hold" grpId="0" nodeType="afterEffect">
                                  <p:stCondLst>
                                    <p:cond delay="0"/>
                                  </p:stCondLst>
                                  <p:childTnLst>
                                    <p:set>
                                      <p:cBhvr>
                                        <p:cTn id="55" dur="1" fill="hold">
                                          <p:stCondLst>
                                            <p:cond delay="0"/>
                                          </p:stCondLst>
                                        </p:cTn>
                                        <p:tgtEl>
                                          <p:spTgt spid="86"/>
                                        </p:tgtEl>
                                        <p:attrNameLst>
                                          <p:attrName>style.visibility</p:attrName>
                                        </p:attrNameLst>
                                      </p:cBhvr>
                                      <p:to>
                                        <p:strVal val="visible"/>
                                      </p:to>
                                    </p:set>
                                    <p:anim calcmode="lin" valueType="num">
                                      <p:cBhvr additive="base">
                                        <p:cTn id="56" dur="500"/>
                                        <p:tgtEl>
                                          <p:spTgt spid="86"/>
                                        </p:tgtEl>
                                        <p:attrNameLst>
                                          <p:attrName>ppt_y</p:attrName>
                                        </p:attrNameLst>
                                      </p:cBhvr>
                                      <p:tavLst>
                                        <p:tav tm="0">
                                          <p:val>
                                            <p:strVal val="#ppt_y+#ppt_h*1.125000"/>
                                          </p:val>
                                        </p:tav>
                                        <p:tav tm="100000">
                                          <p:val>
                                            <p:strVal val="#ppt_y"/>
                                          </p:val>
                                        </p:tav>
                                      </p:tavLst>
                                    </p:anim>
                                    <p:animEffect transition="in" filter="wipe(up)">
                                      <p:cBhvr>
                                        <p:cTn id="57" dur="500"/>
                                        <p:tgtEl>
                                          <p:spTgt spid="86"/>
                                        </p:tgtEl>
                                      </p:cBhvr>
                                    </p:animEffect>
                                  </p:childTnLst>
                                </p:cTn>
                              </p:par>
                              <p:par>
                                <p:cTn id="58" presetID="12" presetClass="entr" presetSubtype="4" fill="hold" grpId="0" nodeType="withEffect">
                                  <p:stCondLst>
                                    <p:cond delay="0"/>
                                  </p:stCondLst>
                                  <p:childTnLst>
                                    <p:set>
                                      <p:cBhvr>
                                        <p:cTn id="59" dur="1" fill="hold">
                                          <p:stCondLst>
                                            <p:cond delay="0"/>
                                          </p:stCondLst>
                                        </p:cTn>
                                        <p:tgtEl>
                                          <p:spTgt spid="87"/>
                                        </p:tgtEl>
                                        <p:attrNameLst>
                                          <p:attrName>style.visibility</p:attrName>
                                        </p:attrNameLst>
                                      </p:cBhvr>
                                      <p:to>
                                        <p:strVal val="visible"/>
                                      </p:to>
                                    </p:set>
                                    <p:anim calcmode="lin" valueType="num">
                                      <p:cBhvr additive="base">
                                        <p:cTn id="60" dur="500"/>
                                        <p:tgtEl>
                                          <p:spTgt spid="87"/>
                                        </p:tgtEl>
                                        <p:attrNameLst>
                                          <p:attrName>ppt_y</p:attrName>
                                        </p:attrNameLst>
                                      </p:cBhvr>
                                      <p:tavLst>
                                        <p:tav tm="0">
                                          <p:val>
                                            <p:strVal val="#ppt_y+#ppt_h*1.125000"/>
                                          </p:val>
                                        </p:tav>
                                        <p:tav tm="100000">
                                          <p:val>
                                            <p:strVal val="#ppt_y"/>
                                          </p:val>
                                        </p:tav>
                                      </p:tavLst>
                                    </p:anim>
                                    <p:animEffect transition="in" filter="wipe(up)">
                                      <p:cBhvr>
                                        <p:cTn id="61" dur="500"/>
                                        <p:tgtEl>
                                          <p:spTgt spid="87"/>
                                        </p:tgtEl>
                                      </p:cBhvr>
                                    </p:animEffect>
                                  </p:childTnLst>
                                </p:cTn>
                              </p:par>
                              <p:par>
                                <p:cTn id="62" presetID="12" presetClass="entr" presetSubtype="4" fill="hold" grpId="0" nodeType="withEffect">
                                  <p:stCondLst>
                                    <p:cond delay="0"/>
                                  </p:stCondLst>
                                  <p:childTnLst>
                                    <p:set>
                                      <p:cBhvr>
                                        <p:cTn id="63" dur="1" fill="hold">
                                          <p:stCondLst>
                                            <p:cond delay="0"/>
                                          </p:stCondLst>
                                        </p:cTn>
                                        <p:tgtEl>
                                          <p:spTgt spid="89"/>
                                        </p:tgtEl>
                                        <p:attrNameLst>
                                          <p:attrName>style.visibility</p:attrName>
                                        </p:attrNameLst>
                                      </p:cBhvr>
                                      <p:to>
                                        <p:strVal val="visible"/>
                                      </p:to>
                                    </p:set>
                                    <p:anim calcmode="lin" valueType="num">
                                      <p:cBhvr additive="base">
                                        <p:cTn id="64" dur="500"/>
                                        <p:tgtEl>
                                          <p:spTgt spid="89"/>
                                        </p:tgtEl>
                                        <p:attrNameLst>
                                          <p:attrName>ppt_y</p:attrName>
                                        </p:attrNameLst>
                                      </p:cBhvr>
                                      <p:tavLst>
                                        <p:tav tm="0">
                                          <p:val>
                                            <p:strVal val="#ppt_y+#ppt_h*1.125000"/>
                                          </p:val>
                                        </p:tav>
                                        <p:tav tm="100000">
                                          <p:val>
                                            <p:strVal val="#ppt_y"/>
                                          </p:val>
                                        </p:tav>
                                      </p:tavLst>
                                    </p:anim>
                                    <p:animEffect transition="in" filter="wipe(up)">
                                      <p:cBhvr>
                                        <p:cTn id="65" dur="500"/>
                                        <p:tgtEl>
                                          <p:spTgt spid="89"/>
                                        </p:tgtEl>
                                      </p:cBhvr>
                                    </p:animEffect>
                                  </p:childTnLst>
                                </p:cTn>
                              </p:par>
                              <p:par>
                                <p:cTn id="66" presetID="12" presetClass="entr" presetSubtype="4" fill="hold" grpId="0" nodeType="withEffect">
                                  <p:stCondLst>
                                    <p:cond delay="0"/>
                                  </p:stCondLst>
                                  <p:childTnLst>
                                    <p:set>
                                      <p:cBhvr>
                                        <p:cTn id="67" dur="1" fill="hold">
                                          <p:stCondLst>
                                            <p:cond delay="0"/>
                                          </p:stCondLst>
                                        </p:cTn>
                                        <p:tgtEl>
                                          <p:spTgt spid="90"/>
                                        </p:tgtEl>
                                        <p:attrNameLst>
                                          <p:attrName>style.visibility</p:attrName>
                                        </p:attrNameLst>
                                      </p:cBhvr>
                                      <p:to>
                                        <p:strVal val="visible"/>
                                      </p:to>
                                    </p:set>
                                    <p:anim calcmode="lin" valueType="num">
                                      <p:cBhvr additive="base">
                                        <p:cTn id="68" dur="500"/>
                                        <p:tgtEl>
                                          <p:spTgt spid="90"/>
                                        </p:tgtEl>
                                        <p:attrNameLst>
                                          <p:attrName>ppt_y</p:attrName>
                                        </p:attrNameLst>
                                      </p:cBhvr>
                                      <p:tavLst>
                                        <p:tav tm="0">
                                          <p:val>
                                            <p:strVal val="#ppt_y+#ppt_h*1.125000"/>
                                          </p:val>
                                        </p:tav>
                                        <p:tav tm="100000">
                                          <p:val>
                                            <p:strVal val="#ppt_y"/>
                                          </p:val>
                                        </p:tav>
                                      </p:tavLst>
                                    </p:anim>
                                    <p:animEffect transition="in" filter="wipe(up)">
                                      <p:cBhvr>
                                        <p:cTn id="69" dur="500"/>
                                        <p:tgtEl>
                                          <p:spTgt spid="90"/>
                                        </p:tgtEl>
                                      </p:cBhvr>
                                    </p:animEffect>
                                  </p:childTnLst>
                                </p:cTn>
                              </p:par>
                              <p:par>
                                <p:cTn id="70" presetID="12" presetClass="entr" presetSubtype="4" fill="hold" grpId="0" nodeType="withEffect">
                                  <p:stCondLst>
                                    <p:cond delay="0"/>
                                  </p:stCondLst>
                                  <p:childTnLst>
                                    <p:set>
                                      <p:cBhvr>
                                        <p:cTn id="71" dur="1" fill="hold">
                                          <p:stCondLst>
                                            <p:cond delay="0"/>
                                          </p:stCondLst>
                                        </p:cTn>
                                        <p:tgtEl>
                                          <p:spTgt spid="92"/>
                                        </p:tgtEl>
                                        <p:attrNameLst>
                                          <p:attrName>style.visibility</p:attrName>
                                        </p:attrNameLst>
                                      </p:cBhvr>
                                      <p:to>
                                        <p:strVal val="visible"/>
                                      </p:to>
                                    </p:set>
                                    <p:anim calcmode="lin" valueType="num">
                                      <p:cBhvr additive="base">
                                        <p:cTn id="72" dur="500"/>
                                        <p:tgtEl>
                                          <p:spTgt spid="92"/>
                                        </p:tgtEl>
                                        <p:attrNameLst>
                                          <p:attrName>ppt_y</p:attrName>
                                        </p:attrNameLst>
                                      </p:cBhvr>
                                      <p:tavLst>
                                        <p:tav tm="0">
                                          <p:val>
                                            <p:strVal val="#ppt_y+#ppt_h*1.125000"/>
                                          </p:val>
                                        </p:tav>
                                        <p:tav tm="100000">
                                          <p:val>
                                            <p:strVal val="#ppt_y"/>
                                          </p:val>
                                        </p:tav>
                                      </p:tavLst>
                                    </p:anim>
                                    <p:animEffect transition="in" filter="wipe(up)">
                                      <p:cBhvr>
                                        <p:cTn id="73" dur="500"/>
                                        <p:tgtEl>
                                          <p:spTgt spid="92"/>
                                        </p:tgtEl>
                                      </p:cBhvr>
                                    </p:animEffect>
                                  </p:childTnLst>
                                </p:cTn>
                              </p:par>
                              <p:par>
                                <p:cTn id="74" presetID="12" presetClass="entr" presetSubtype="4" fill="hold" grpId="0" nodeType="withEffect">
                                  <p:stCondLst>
                                    <p:cond delay="0"/>
                                  </p:stCondLst>
                                  <p:childTnLst>
                                    <p:set>
                                      <p:cBhvr>
                                        <p:cTn id="75" dur="1" fill="hold">
                                          <p:stCondLst>
                                            <p:cond delay="0"/>
                                          </p:stCondLst>
                                        </p:cTn>
                                        <p:tgtEl>
                                          <p:spTgt spid="93"/>
                                        </p:tgtEl>
                                        <p:attrNameLst>
                                          <p:attrName>style.visibility</p:attrName>
                                        </p:attrNameLst>
                                      </p:cBhvr>
                                      <p:to>
                                        <p:strVal val="visible"/>
                                      </p:to>
                                    </p:set>
                                    <p:anim calcmode="lin" valueType="num">
                                      <p:cBhvr additive="base">
                                        <p:cTn id="76" dur="500"/>
                                        <p:tgtEl>
                                          <p:spTgt spid="93"/>
                                        </p:tgtEl>
                                        <p:attrNameLst>
                                          <p:attrName>ppt_y</p:attrName>
                                        </p:attrNameLst>
                                      </p:cBhvr>
                                      <p:tavLst>
                                        <p:tav tm="0">
                                          <p:val>
                                            <p:strVal val="#ppt_y+#ppt_h*1.125000"/>
                                          </p:val>
                                        </p:tav>
                                        <p:tav tm="100000">
                                          <p:val>
                                            <p:strVal val="#ppt_y"/>
                                          </p:val>
                                        </p:tav>
                                      </p:tavLst>
                                    </p:anim>
                                    <p:animEffect transition="in" filter="wipe(up)">
                                      <p:cBhvr>
                                        <p:cTn id="77" dur="500"/>
                                        <p:tgtEl>
                                          <p:spTgt spid="93"/>
                                        </p:tgtEl>
                                      </p:cBhvr>
                                    </p:animEffect>
                                  </p:childTnLst>
                                </p:cTn>
                              </p:par>
                              <p:par>
                                <p:cTn id="78" presetID="12" presetClass="entr" presetSubtype="4" fill="hold" grpId="0" nodeType="withEffect">
                                  <p:stCondLst>
                                    <p:cond delay="0"/>
                                  </p:stCondLst>
                                  <p:childTnLst>
                                    <p:set>
                                      <p:cBhvr>
                                        <p:cTn id="79" dur="1" fill="hold">
                                          <p:stCondLst>
                                            <p:cond delay="0"/>
                                          </p:stCondLst>
                                        </p:cTn>
                                        <p:tgtEl>
                                          <p:spTgt spid="95"/>
                                        </p:tgtEl>
                                        <p:attrNameLst>
                                          <p:attrName>style.visibility</p:attrName>
                                        </p:attrNameLst>
                                      </p:cBhvr>
                                      <p:to>
                                        <p:strVal val="visible"/>
                                      </p:to>
                                    </p:set>
                                    <p:anim calcmode="lin" valueType="num">
                                      <p:cBhvr additive="base">
                                        <p:cTn id="80" dur="500"/>
                                        <p:tgtEl>
                                          <p:spTgt spid="95"/>
                                        </p:tgtEl>
                                        <p:attrNameLst>
                                          <p:attrName>ppt_y</p:attrName>
                                        </p:attrNameLst>
                                      </p:cBhvr>
                                      <p:tavLst>
                                        <p:tav tm="0">
                                          <p:val>
                                            <p:strVal val="#ppt_y+#ppt_h*1.125000"/>
                                          </p:val>
                                        </p:tav>
                                        <p:tav tm="100000">
                                          <p:val>
                                            <p:strVal val="#ppt_y"/>
                                          </p:val>
                                        </p:tav>
                                      </p:tavLst>
                                    </p:anim>
                                    <p:animEffect transition="in" filter="wipe(up)">
                                      <p:cBhvr>
                                        <p:cTn id="81" dur="500"/>
                                        <p:tgtEl>
                                          <p:spTgt spid="95"/>
                                        </p:tgtEl>
                                      </p:cBhvr>
                                    </p:animEffect>
                                  </p:childTnLst>
                                </p:cTn>
                              </p:par>
                              <p:par>
                                <p:cTn id="82" presetID="12" presetClass="entr" presetSubtype="4" fill="hold" grpId="0" nodeType="withEffect">
                                  <p:stCondLst>
                                    <p:cond delay="0"/>
                                  </p:stCondLst>
                                  <p:childTnLst>
                                    <p:set>
                                      <p:cBhvr>
                                        <p:cTn id="83" dur="1" fill="hold">
                                          <p:stCondLst>
                                            <p:cond delay="0"/>
                                          </p:stCondLst>
                                        </p:cTn>
                                        <p:tgtEl>
                                          <p:spTgt spid="96"/>
                                        </p:tgtEl>
                                        <p:attrNameLst>
                                          <p:attrName>style.visibility</p:attrName>
                                        </p:attrNameLst>
                                      </p:cBhvr>
                                      <p:to>
                                        <p:strVal val="visible"/>
                                      </p:to>
                                    </p:set>
                                    <p:anim calcmode="lin" valueType="num">
                                      <p:cBhvr additive="base">
                                        <p:cTn id="84" dur="500"/>
                                        <p:tgtEl>
                                          <p:spTgt spid="96"/>
                                        </p:tgtEl>
                                        <p:attrNameLst>
                                          <p:attrName>ppt_y</p:attrName>
                                        </p:attrNameLst>
                                      </p:cBhvr>
                                      <p:tavLst>
                                        <p:tav tm="0">
                                          <p:val>
                                            <p:strVal val="#ppt_y+#ppt_h*1.125000"/>
                                          </p:val>
                                        </p:tav>
                                        <p:tav tm="100000">
                                          <p:val>
                                            <p:strVal val="#ppt_y"/>
                                          </p:val>
                                        </p:tav>
                                      </p:tavLst>
                                    </p:anim>
                                    <p:animEffect transition="in" filter="wipe(up)">
                                      <p:cBhvr>
                                        <p:cTn id="85" dur="500"/>
                                        <p:tgtEl>
                                          <p:spTgt spid="96"/>
                                        </p:tgtEl>
                                      </p:cBhvr>
                                    </p:animEffect>
                                  </p:childTnLst>
                                </p:cTn>
                              </p:par>
                              <p:par>
                                <p:cTn id="86" presetID="12" presetClass="entr" presetSubtype="4" fill="hold" grpId="0" nodeType="withEffect">
                                  <p:stCondLst>
                                    <p:cond delay="0"/>
                                  </p:stCondLst>
                                  <p:childTnLst>
                                    <p:set>
                                      <p:cBhvr>
                                        <p:cTn id="87" dur="1" fill="hold">
                                          <p:stCondLst>
                                            <p:cond delay="0"/>
                                          </p:stCondLst>
                                        </p:cTn>
                                        <p:tgtEl>
                                          <p:spTgt spid="98"/>
                                        </p:tgtEl>
                                        <p:attrNameLst>
                                          <p:attrName>style.visibility</p:attrName>
                                        </p:attrNameLst>
                                      </p:cBhvr>
                                      <p:to>
                                        <p:strVal val="visible"/>
                                      </p:to>
                                    </p:set>
                                    <p:anim calcmode="lin" valueType="num">
                                      <p:cBhvr additive="base">
                                        <p:cTn id="88" dur="500"/>
                                        <p:tgtEl>
                                          <p:spTgt spid="98"/>
                                        </p:tgtEl>
                                        <p:attrNameLst>
                                          <p:attrName>ppt_y</p:attrName>
                                        </p:attrNameLst>
                                      </p:cBhvr>
                                      <p:tavLst>
                                        <p:tav tm="0">
                                          <p:val>
                                            <p:strVal val="#ppt_y+#ppt_h*1.125000"/>
                                          </p:val>
                                        </p:tav>
                                        <p:tav tm="100000">
                                          <p:val>
                                            <p:strVal val="#ppt_y"/>
                                          </p:val>
                                        </p:tav>
                                      </p:tavLst>
                                    </p:anim>
                                    <p:animEffect transition="in" filter="wipe(up)">
                                      <p:cBhvr>
                                        <p:cTn id="89" dur="500"/>
                                        <p:tgtEl>
                                          <p:spTgt spid="98"/>
                                        </p:tgtEl>
                                      </p:cBhvr>
                                    </p:animEffect>
                                  </p:childTnLst>
                                </p:cTn>
                              </p:par>
                              <p:par>
                                <p:cTn id="90" presetID="12" presetClass="entr" presetSubtype="4"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additive="base">
                                        <p:cTn id="92" dur="500"/>
                                        <p:tgtEl>
                                          <p:spTgt spid="99"/>
                                        </p:tgtEl>
                                        <p:attrNameLst>
                                          <p:attrName>ppt_y</p:attrName>
                                        </p:attrNameLst>
                                      </p:cBhvr>
                                      <p:tavLst>
                                        <p:tav tm="0">
                                          <p:val>
                                            <p:strVal val="#ppt_y+#ppt_h*1.125000"/>
                                          </p:val>
                                        </p:tav>
                                        <p:tav tm="100000">
                                          <p:val>
                                            <p:strVal val="#ppt_y"/>
                                          </p:val>
                                        </p:tav>
                                      </p:tavLst>
                                    </p:anim>
                                    <p:animEffect transition="in" filter="wipe(up)">
                                      <p:cBhvr>
                                        <p:cTn id="93"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64" grpId="0" animBg="1"/>
      <p:bldP spid="86" grpId="0" animBg="1"/>
      <p:bldP spid="87" grpId="0"/>
      <p:bldP spid="89" grpId="0" animBg="1"/>
      <p:bldP spid="90" grpId="0"/>
      <p:bldP spid="92" grpId="0" animBg="1"/>
      <p:bldP spid="93" grpId="0"/>
      <p:bldP spid="95" grpId="0" animBg="1"/>
      <p:bldP spid="96" grpId="0"/>
      <p:bldP spid="98" grpId="0" animBg="1"/>
      <p:bldP spid="9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69"/>
          <p:cNvSpPr>
            <a:spLocks noChangeArrowheads="1"/>
          </p:cNvSpPr>
          <p:nvPr/>
        </p:nvSpPr>
        <p:spPr bwMode="auto">
          <a:xfrm>
            <a:off x="3317412" y="2258460"/>
            <a:ext cx="5376597" cy="1118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r>
              <a:rPr lang="zh-CN" altLang="en-US" sz="6665" dirty="0" smtClean="0">
                <a:solidFill>
                  <a:srgbClr val="82B864"/>
                </a:solidFill>
                <a:latin typeface="+mn-lt"/>
                <a:ea typeface="+mn-ea"/>
                <a:cs typeface="+mn-ea"/>
                <a:sym typeface="+mn-lt"/>
              </a:rPr>
              <a:t>添加标题内容</a:t>
            </a:r>
            <a:endParaRPr lang="en-US" altLang="zh-CN" sz="6665" dirty="0">
              <a:solidFill>
                <a:srgbClr val="82B864"/>
              </a:solidFill>
              <a:latin typeface="+mn-lt"/>
              <a:ea typeface="+mn-ea"/>
              <a:cs typeface="+mn-ea"/>
              <a:sym typeface="+mn-lt"/>
            </a:endParaRPr>
          </a:p>
        </p:txBody>
      </p:sp>
      <p:sp>
        <p:nvSpPr>
          <p:cNvPr id="10" name="矩形 70"/>
          <p:cNvSpPr>
            <a:spLocks noChangeArrowheads="1"/>
          </p:cNvSpPr>
          <p:nvPr/>
        </p:nvSpPr>
        <p:spPr bwMode="auto">
          <a:xfrm>
            <a:off x="3557438" y="3376779"/>
            <a:ext cx="4896544" cy="31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zh-CN" altLang="en-US" sz="1465" dirty="0">
                <a:solidFill>
                  <a:srgbClr val="82B864"/>
                </a:solidFill>
                <a:latin typeface="+mn-lt"/>
                <a:ea typeface="+mn-ea"/>
                <a:cs typeface="+mn-ea"/>
                <a:sym typeface="+mn-lt"/>
              </a:rPr>
              <a:t>在此处添加文字，在此处添加文字，在此处添加文字</a:t>
            </a:r>
          </a:p>
        </p:txBody>
      </p:sp>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6240" y="656692"/>
            <a:ext cx="2918940" cy="1445877"/>
          </a:xfrm>
          <a:prstGeom prst="rect">
            <a:avLst/>
          </a:prstGeom>
        </p:spPr>
      </p:pic>
    </p:spTree>
  </p:cSld>
  <p:clrMapOvr>
    <a:masterClrMapping/>
  </p:clrMapOvr>
  <p:transition spd="slow" advClick="0" advTm="3000">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31"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熊猫办公PP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2.xml><?xml version="1.0" encoding="utf-8"?>
<p:tagLst xmlns:a="http://schemas.openxmlformats.org/drawingml/2006/main" xmlns:r="http://schemas.openxmlformats.org/officeDocument/2006/relationships" xmlns:p="http://schemas.openxmlformats.org/presentationml/2006/main">
  <p:tag name="PA" val="v3.0.0"/>
</p:tagLst>
</file>

<file path=ppt/tags/tag23.xml><?xml version="1.0" encoding="utf-8"?>
<p:tagLst xmlns:a="http://schemas.openxmlformats.org/drawingml/2006/main" xmlns:r="http://schemas.openxmlformats.org/officeDocument/2006/relationships" xmlns:p="http://schemas.openxmlformats.org/presentationml/2006/main">
  <p:tag name="PA" val="v3.0.0"/>
</p:tagLst>
</file>

<file path=ppt/tags/tag24.xml><?xml version="1.0" encoding="utf-8"?>
<p:tagLst xmlns:a="http://schemas.openxmlformats.org/drawingml/2006/main" xmlns:r="http://schemas.openxmlformats.org/officeDocument/2006/relationships" xmlns:p="http://schemas.openxmlformats.org/presentationml/2006/main">
  <p:tag name="PA" val="v3.0.0"/>
</p:tagLst>
</file>

<file path=ppt/tags/tag25.xml><?xml version="1.0" encoding="utf-8"?>
<p:tagLst xmlns:a="http://schemas.openxmlformats.org/drawingml/2006/main" xmlns:r="http://schemas.openxmlformats.org/officeDocument/2006/relationships" xmlns:p="http://schemas.openxmlformats.org/presentationml/2006/main">
  <p:tag name="PA" val="v3.0.0"/>
</p:tagLst>
</file>

<file path=ppt/tags/tag26.xml><?xml version="1.0" encoding="utf-8"?>
<p:tagLst xmlns:a="http://schemas.openxmlformats.org/drawingml/2006/main" xmlns:r="http://schemas.openxmlformats.org/officeDocument/2006/relationships" xmlns:p="http://schemas.openxmlformats.org/presentationml/2006/main">
  <p:tag name="PA" val="v3.0.0"/>
</p:tagLst>
</file>

<file path=ppt/tags/tag27.xml><?xml version="1.0" encoding="utf-8"?>
<p:tagLst xmlns:a="http://schemas.openxmlformats.org/drawingml/2006/main" xmlns:r="http://schemas.openxmlformats.org/officeDocument/2006/relationships" xmlns:p="http://schemas.openxmlformats.org/presentationml/2006/main">
  <p:tag name="PA" val="v3.0.0"/>
</p:tagLst>
</file>

<file path=ppt/tags/tag28.xml><?xml version="1.0" encoding="utf-8"?>
<p:tagLst xmlns:a="http://schemas.openxmlformats.org/drawingml/2006/main" xmlns:r="http://schemas.openxmlformats.org/officeDocument/2006/relationships" xmlns:p="http://schemas.openxmlformats.org/presentationml/2006/main">
  <p:tag name="PA" val="v3.0.0"/>
</p:tagLst>
</file>

<file path=ppt/tags/tag29.xml><?xml version="1.0" encoding="utf-8"?>
<p:tagLst xmlns:a="http://schemas.openxmlformats.org/drawingml/2006/main" xmlns:r="http://schemas.openxmlformats.org/officeDocument/2006/relationships" xmlns:p="http://schemas.openxmlformats.org/presentationml/2006/main">
  <p:tag name="PA" val="v3.0.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0.xml><?xml version="1.0" encoding="utf-8"?>
<p:tagLst xmlns:a="http://schemas.openxmlformats.org/drawingml/2006/main" xmlns:r="http://schemas.openxmlformats.org/officeDocument/2006/relationships" xmlns:p="http://schemas.openxmlformats.org/presentationml/2006/main">
  <p:tag name="PA" val="v3.0.0"/>
</p:tagLst>
</file>

<file path=ppt/tags/tag31.xml><?xml version="1.0" encoding="utf-8"?>
<p:tagLst xmlns:a="http://schemas.openxmlformats.org/drawingml/2006/main" xmlns:r="http://schemas.openxmlformats.org/officeDocument/2006/relationships" xmlns:p="http://schemas.openxmlformats.org/presentationml/2006/main">
  <p:tag name="PA" val="v3.0.0"/>
</p:tagLst>
</file>

<file path=ppt/tags/tag32.xml><?xml version="1.0" encoding="utf-8"?>
<p:tagLst xmlns:a="http://schemas.openxmlformats.org/drawingml/2006/main" xmlns:r="http://schemas.openxmlformats.org/officeDocument/2006/relationships" xmlns:p="http://schemas.openxmlformats.org/presentationml/2006/main">
  <p:tag name="PA" val="v3.0.0"/>
</p:tagLst>
</file>

<file path=ppt/tags/tag33.xml><?xml version="1.0" encoding="utf-8"?>
<p:tagLst xmlns:a="http://schemas.openxmlformats.org/drawingml/2006/main" xmlns:r="http://schemas.openxmlformats.org/officeDocument/2006/relationships" xmlns:p="http://schemas.openxmlformats.org/presentationml/2006/main">
  <p:tag name="PA" val="v3.0.0"/>
</p:tagLst>
</file>

<file path=ppt/tags/tag34.xml><?xml version="1.0" encoding="utf-8"?>
<p:tagLst xmlns:a="http://schemas.openxmlformats.org/drawingml/2006/main" xmlns:r="http://schemas.openxmlformats.org/officeDocument/2006/relationships" xmlns:p="http://schemas.openxmlformats.org/presentationml/2006/main">
  <p:tag name="PA" val="v3.0.0"/>
</p:tagLst>
</file>

<file path=ppt/tags/tag35.xml><?xml version="1.0" encoding="utf-8"?>
<p:tagLst xmlns:a="http://schemas.openxmlformats.org/drawingml/2006/main" xmlns:r="http://schemas.openxmlformats.org/officeDocument/2006/relationships" xmlns:p="http://schemas.openxmlformats.org/presentationml/2006/main">
  <p:tag name="PA" val="v3.0.0"/>
</p:tagLst>
</file>

<file path=ppt/tags/tag36.xml><?xml version="1.0" encoding="utf-8"?>
<p:tagLst xmlns:a="http://schemas.openxmlformats.org/drawingml/2006/main" xmlns:r="http://schemas.openxmlformats.org/officeDocument/2006/relationships" xmlns:p="http://schemas.openxmlformats.org/presentationml/2006/main">
  <p:tag name="PA" val="v3.0.0"/>
</p:tagLst>
</file>

<file path=ppt/tags/tag37.xml><?xml version="1.0" encoding="utf-8"?>
<p:tagLst xmlns:a="http://schemas.openxmlformats.org/drawingml/2006/main" xmlns:r="http://schemas.openxmlformats.org/officeDocument/2006/relationships" xmlns:p="http://schemas.openxmlformats.org/presentationml/2006/main">
  <p:tag name="PA" val="v3.0.0"/>
</p:tagLst>
</file>

<file path=ppt/tags/tag38.xml><?xml version="1.0" encoding="utf-8"?>
<p:tagLst xmlns:a="http://schemas.openxmlformats.org/drawingml/2006/main" xmlns:r="http://schemas.openxmlformats.org/officeDocument/2006/relationships" xmlns:p="http://schemas.openxmlformats.org/presentationml/2006/main">
  <p:tag name="PA" val="v3.0.1"/>
</p:tagLst>
</file>

<file path=ppt/tags/tag39.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40.xml><?xml version="1.0" encoding="utf-8"?>
<p:tagLst xmlns:a="http://schemas.openxmlformats.org/drawingml/2006/main" xmlns:r="http://schemas.openxmlformats.org/officeDocument/2006/relationships" xmlns:p="http://schemas.openxmlformats.org/presentationml/2006/main">
  <p:tag name="PA" val="v3.0.1"/>
</p:tagLst>
</file>

<file path=ppt/tags/tag41.xml><?xml version="1.0" encoding="utf-8"?>
<p:tagLst xmlns:a="http://schemas.openxmlformats.org/drawingml/2006/main" xmlns:r="http://schemas.openxmlformats.org/officeDocument/2006/relationships" xmlns:p="http://schemas.openxmlformats.org/presentationml/2006/main">
  <p:tag name="PA" val="v3.0.1"/>
</p:tagLst>
</file>

<file path=ppt/tags/tag42.xml><?xml version="1.0" encoding="utf-8"?>
<p:tagLst xmlns:a="http://schemas.openxmlformats.org/drawingml/2006/main" xmlns:r="http://schemas.openxmlformats.org/officeDocument/2006/relationships" xmlns:p="http://schemas.openxmlformats.org/presentationml/2006/main">
  <p:tag name="PA" val="v3.0.1"/>
</p:tagLst>
</file>

<file path=ppt/tags/tag43.xml><?xml version="1.0" encoding="utf-8"?>
<p:tagLst xmlns:a="http://schemas.openxmlformats.org/drawingml/2006/main" xmlns:r="http://schemas.openxmlformats.org/officeDocument/2006/relationships" xmlns:p="http://schemas.openxmlformats.org/presentationml/2006/main">
  <p:tag name="PA" val="v3.0.1"/>
</p:tagLst>
</file>

<file path=ppt/tags/tag44.xml><?xml version="1.0" encoding="utf-8"?>
<p:tagLst xmlns:a="http://schemas.openxmlformats.org/drawingml/2006/main" xmlns:r="http://schemas.openxmlformats.org/officeDocument/2006/relationships" xmlns:p="http://schemas.openxmlformats.org/presentationml/2006/main">
  <p:tag name="PA" val="v3.0.1"/>
</p:tagLst>
</file>

<file path=ppt/tags/tag45.xml><?xml version="1.0" encoding="utf-8"?>
<p:tagLst xmlns:a="http://schemas.openxmlformats.org/drawingml/2006/main" xmlns:r="http://schemas.openxmlformats.org/officeDocument/2006/relationships" xmlns:p="http://schemas.openxmlformats.org/presentationml/2006/main">
  <p:tag name="PA" val="v3.0.1"/>
</p:tagLst>
</file>

<file path=ppt/tags/tag46.xml><?xml version="1.0" encoding="utf-8"?>
<p:tagLst xmlns:a="http://schemas.openxmlformats.org/drawingml/2006/main" xmlns:r="http://schemas.openxmlformats.org/officeDocument/2006/relationships" xmlns:p="http://schemas.openxmlformats.org/presentationml/2006/main">
  <p:tag name="PA" val="v3.0.1"/>
</p:tagLst>
</file>

<file path=ppt/tags/tag47.xml><?xml version="1.0" encoding="utf-8"?>
<p:tagLst xmlns:a="http://schemas.openxmlformats.org/drawingml/2006/main" xmlns:r="http://schemas.openxmlformats.org/officeDocument/2006/relationships" xmlns:p="http://schemas.openxmlformats.org/presentationml/2006/main">
  <p:tag name="PA" val="v3.0.1"/>
</p:tagLst>
</file>

<file path=ppt/tags/tag48.xml><?xml version="1.0" encoding="utf-8"?>
<p:tagLst xmlns:a="http://schemas.openxmlformats.org/drawingml/2006/main" xmlns:r="http://schemas.openxmlformats.org/officeDocument/2006/relationships" xmlns:p="http://schemas.openxmlformats.org/presentationml/2006/main">
  <p:tag name="PA" val="v3.0.1"/>
</p:tagLst>
</file>

<file path=ppt/tags/tag49.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50.xml><?xml version="1.0" encoding="utf-8"?>
<p:tagLst xmlns:a="http://schemas.openxmlformats.org/drawingml/2006/main" xmlns:r="http://schemas.openxmlformats.org/officeDocument/2006/relationships" xmlns:p="http://schemas.openxmlformats.org/presentationml/2006/main">
  <p:tag name="PA" val="v3.0.1"/>
</p:tagLst>
</file>

<file path=ppt/tags/tag51.xml><?xml version="1.0" encoding="utf-8"?>
<p:tagLst xmlns:a="http://schemas.openxmlformats.org/drawingml/2006/main" xmlns:r="http://schemas.openxmlformats.org/officeDocument/2006/relationships" xmlns:p="http://schemas.openxmlformats.org/presentationml/2006/main">
  <p:tag name="PA" val="v3.0.1"/>
</p:tagLst>
</file>

<file path=ppt/tags/tag52.xml><?xml version="1.0" encoding="utf-8"?>
<p:tagLst xmlns:a="http://schemas.openxmlformats.org/drawingml/2006/main" xmlns:r="http://schemas.openxmlformats.org/officeDocument/2006/relationships" xmlns:p="http://schemas.openxmlformats.org/presentationml/2006/main">
  <p:tag name="PA" val="v3.0.1"/>
</p:tagLst>
</file>

<file path=ppt/tags/tag53.xml><?xml version="1.0" encoding="utf-8"?>
<p:tagLst xmlns:a="http://schemas.openxmlformats.org/drawingml/2006/main" xmlns:r="http://schemas.openxmlformats.org/officeDocument/2006/relationships" xmlns:p="http://schemas.openxmlformats.org/presentationml/2006/main">
  <p:tag name="PA" val="v3.0.1"/>
</p:tagLst>
</file>

<file path=ppt/tags/tag54.xml><?xml version="1.0" encoding="utf-8"?>
<p:tagLst xmlns:a="http://schemas.openxmlformats.org/drawingml/2006/main" xmlns:r="http://schemas.openxmlformats.org/officeDocument/2006/relationships" xmlns:p="http://schemas.openxmlformats.org/presentationml/2006/main">
  <p:tag name="PA" val="v3.0.1"/>
</p:tagLst>
</file>

<file path=ppt/tags/tag55.xml><?xml version="1.0" encoding="utf-8"?>
<p:tagLst xmlns:a="http://schemas.openxmlformats.org/drawingml/2006/main" xmlns:r="http://schemas.openxmlformats.org/officeDocument/2006/relationships" xmlns:p="http://schemas.openxmlformats.org/presentationml/2006/main">
  <p:tag name="PA" val="v3.0.1"/>
</p:tagLst>
</file>

<file path=ppt/tags/tag56.xml><?xml version="1.0" encoding="utf-8"?>
<p:tagLst xmlns:a="http://schemas.openxmlformats.org/drawingml/2006/main" xmlns:r="http://schemas.openxmlformats.org/officeDocument/2006/relationships" xmlns:p="http://schemas.openxmlformats.org/presentationml/2006/main">
  <p:tag name="PA" val="v3.0.1"/>
</p:tagLst>
</file>

<file path=ppt/tags/tag57.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www.2ppt.com">
  <a:themeElements>
    <a:clrScheme name="自定义 1101">
      <a:dk1>
        <a:sysClr val="windowText" lastClr="000000"/>
      </a:dk1>
      <a:lt1>
        <a:sysClr val="window" lastClr="FFFFFF"/>
      </a:lt1>
      <a:dk2>
        <a:srgbClr val="1F497D"/>
      </a:dk2>
      <a:lt2>
        <a:srgbClr val="EEECE1"/>
      </a:lt2>
      <a:accent1>
        <a:srgbClr val="4F8C26"/>
      </a:accent1>
      <a:accent2>
        <a:srgbClr val="84AB35"/>
      </a:accent2>
      <a:accent3>
        <a:srgbClr val="4F8C26"/>
      </a:accent3>
      <a:accent4>
        <a:srgbClr val="84AB35"/>
      </a:accent4>
      <a:accent5>
        <a:srgbClr val="4F8C26"/>
      </a:accent5>
      <a:accent6>
        <a:srgbClr val="84AB35"/>
      </a:accent6>
      <a:hlink>
        <a:srgbClr val="0000FF"/>
      </a:hlink>
      <a:folHlink>
        <a:srgbClr val="800080"/>
      </a:folHlink>
    </a:clrScheme>
    <a:fontScheme name="dmsyoosw">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944</Words>
  <Application>Microsoft Office PowerPoint</Application>
  <PresentationFormat>自定义</PresentationFormat>
  <Paragraphs>200</Paragraphs>
  <Slides>25</Slides>
  <Notes>25</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25</vt:i4>
      </vt:variant>
    </vt:vector>
  </HeadingPairs>
  <TitlesOfParts>
    <vt:vector size="31" baseType="lpstr">
      <vt:lpstr>宋体</vt:lpstr>
      <vt:lpstr>微软雅黑</vt:lpstr>
      <vt:lpstr>微软雅黑</vt:lpstr>
      <vt:lpstr>Arial</vt:lpstr>
      <vt:lpstr>Calibri</vt:lpstr>
      <vt:lpstr>www.2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www.ppt818.com</dc:creator>
  <dc:description>www.ppt818.com-提供资源下载</dc:description>
  <cp:lastModifiedBy>Windows 用户</cp:lastModifiedBy>
  <cp:revision>1</cp:revision>
  <dcterms:created xsi:type="dcterms:W3CDTF">2017-06-18T09:47:00Z</dcterms:created>
  <dcterms:modified xsi:type="dcterms:W3CDTF">2023-01-10T06:3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BDE1FC0C22AB4878AC3DE88540A51C28</vt:lpwstr>
  </property>
  <property fmtid="{D5CDD505-2E9C-101B-9397-08002B2CF9AE}" pid="3" name="KSOProductBuildVer">
    <vt:lpwstr>2052-11.1.0.11194</vt:lpwstr>
  </property>
  <property fmtid="{A09F084E-AD41-489F-8076-AA5BE3082BCA}" pid="100">
    <vt:ui4>5</vt:ui4>
  </property>
  <property fmtid="{64440492-4C8B-11D1-8B70-080036B11A03}" pid="11">
    <vt:lpwstr>www.2ppt.com-爱PPT提供资源下载</vt:lpwstr>
  </property>
</Properties>
</file>